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Masters/slideMaster45.xml" ContentType="application/vnd.openxmlformats-officedocument.presentationml.slideMaster+xml"/>
  <Override PartName="/ppt/slideMasters/slideMaster46.xml" ContentType="application/vnd.openxmlformats-officedocument.presentationml.slideMaster+xml"/>
  <Override PartName="/ppt/slideMasters/slideMaster47.xml" ContentType="application/vnd.openxmlformats-officedocument.presentationml.slideMaster+xml"/>
  <Override PartName="/ppt/slideMasters/slideMaster48.xml" ContentType="application/vnd.openxmlformats-officedocument.presentationml.slideMaster+xml"/>
  <Override PartName="/ppt/slideMasters/slideMaster49.xml" ContentType="application/vnd.openxmlformats-officedocument.presentationml.slideMaster+xml"/>
  <Override PartName="/ppt/slideMasters/slideMaster50.xml" ContentType="application/vnd.openxmlformats-officedocument.presentationml.slideMaster+xml"/>
  <Override PartName="/ppt/slideMasters/slideMaster51.xml" ContentType="application/vnd.openxmlformats-officedocument.presentationml.slideMaster+xml"/>
  <Override PartName="/ppt/slideMasters/slideMaster52.xml" ContentType="application/vnd.openxmlformats-officedocument.presentationml.slideMaster+xml"/>
  <Override PartName="/ppt/slideMasters/slideMaster53.xml" ContentType="application/vnd.openxmlformats-officedocument.presentationml.slideMaster+xml"/>
  <Override PartName="/ppt/slideMasters/slideMaster54.xml" ContentType="application/vnd.openxmlformats-officedocument.presentationml.slideMaster+xml"/>
  <Override PartName="/ppt/slideMasters/slideMaster55.xml" ContentType="application/vnd.openxmlformats-officedocument.presentationml.slideMaster+xml"/>
  <Override PartName="/ppt/slideMasters/slideMaster56.xml" ContentType="application/vnd.openxmlformats-officedocument.presentationml.slideMaster+xml"/>
  <Override PartName="/ppt/slideMasters/slideMaster57.xml" ContentType="application/vnd.openxmlformats-officedocument.presentationml.slideMaster+xml"/>
  <Override PartName="/ppt/slideMasters/slideMaster58.xml" ContentType="application/vnd.openxmlformats-officedocument.presentationml.slideMaster+xml"/>
  <Override PartName="/ppt/slideMasters/slideMaster5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5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6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7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8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9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10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11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12.xml" ContentType="application/vnd.openxmlformats-officedocument.theme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13.xml" ContentType="application/vnd.openxmlformats-officedocument.theme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14.xml" ContentType="application/vnd.openxmlformats-officedocument.theme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15.xml" ContentType="application/vnd.openxmlformats-officedocument.theme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16.xml" ContentType="application/vnd.openxmlformats-officedocument.theme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17.xml" ContentType="application/vnd.openxmlformats-officedocument.theme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heme/theme18.xml" ContentType="application/vnd.openxmlformats-officedocument.theme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heme/theme19.xml" ContentType="application/vnd.openxmlformats-officedocument.theme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theme/theme20.xml" ContentType="application/vnd.openxmlformats-officedocument.theme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theme/theme21.xml" ContentType="application/vnd.openxmlformats-officedocument.theme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theme/theme22.xml" ContentType="application/vnd.openxmlformats-officedocument.theme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theme/theme23.xml" ContentType="application/vnd.openxmlformats-officedocument.theme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theme/theme24.xml" ContentType="application/vnd.openxmlformats-officedocument.theme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theme/theme2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theme/theme26.xml" ContentType="application/vnd.openxmlformats-officedocument.theme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theme/theme27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theme/theme28.xml" ContentType="application/vnd.openxmlformats-officedocument.theme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theme/theme29.xml" ContentType="application/vnd.openxmlformats-officedocument.theme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theme/theme30.xml" ContentType="application/vnd.openxmlformats-officedocument.theme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theme/theme31.xml" ContentType="application/vnd.openxmlformats-officedocument.theme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theme/theme32.xml" ContentType="application/vnd.openxmlformats-officedocument.theme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theme/theme33.xml" ContentType="application/vnd.openxmlformats-officedocument.theme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theme/theme34.xml" ContentType="application/vnd.openxmlformats-officedocument.theme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theme/theme35.xml" ContentType="application/vnd.openxmlformats-officedocument.theme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theme/theme36.xml" ContentType="application/vnd.openxmlformats-officedocument.theme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theme/theme37.xml" ContentType="application/vnd.openxmlformats-officedocument.theme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theme/theme38.xml" ContentType="application/vnd.openxmlformats-officedocument.theme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theme/theme39.xml" ContentType="application/vnd.openxmlformats-officedocument.theme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theme/theme40.xml" ContentType="application/vnd.openxmlformats-officedocument.theme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theme/theme41.xml" ContentType="application/vnd.openxmlformats-officedocument.theme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theme/theme42.xml" ContentType="application/vnd.openxmlformats-officedocument.theme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theme/theme43.xml" ContentType="application/vnd.openxmlformats-officedocument.theme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theme/theme44.xml" ContentType="application/vnd.openxmlformats-officedocument.theme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theme/theme45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theme/theme46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theme/theme47.xml" ContentType="application/vnd.openxmlformats-officedocument.theme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theme/theme48.xml" ContentType="application/vnd.openxmlformats-officedocument.theme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theme/theme49.xml" ContentType="application/vnd.openxmlformats-officedocument.theme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theme/theme50.xml" ContentType="application/vnd.openxmlformats-officedocument.theme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theme/theme51.xml" ContentType="application/vnd.openxmlformats-officedocument.theme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theme/theme52.xml" ContentType="application/vnd.openxmlformats-officedocument.theme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theme/theme53.xml" ContentType="application/vnd.openxmlformats-officedocument.theme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theme/theme54.xml" ContentType="application/vnd.openxmlformats-officedocument.theme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theme/theme55.xml" ContentType="application/vnd.openxmlformats-officedocument.theme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theme/theme56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theme/theme57.xml" ContentType="application/vnd.openxmlformats-officedocument.theme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theme/theme58.xml" ContentType="application/vnd.openxmlformats-officedocument.theme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theme/theme59.xml" ContentType="application/vnd.openxmlformats-officedocument.theme+xml"/>
  <Override PartName="/ppt/theme/theme60.xml" ContentType="application/vnd.openxmlformats-officedocument.theme+xml"/>
  <Override PartName="/ppt/theme/theme6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5" r:id="rId4"/>
    <p:sldMasterId id="2147483767" r:id="rId5"/>
    <p:sldMasterId id="2147483777" r:id="rId6"/>
    <p:sldMasterId id="2147483784" r:id="rId7"/>
    <p:sldMasterId id="2147483793" r:id="rId8"/>
    <p:sldMasterId id="2147483800" r:id="rId9"/>
    <p:sldMasterId id="2147483816" r:id="rId10"/>
    <p:sldMasterId id="2147483833" r:id="rId11"/>
    <p:sldMasterId id="2147483847" r:id="rId12"/>
    <p:sldMasterId id="2147483860" r:id="rId13"/>
    <p:sldMasterId id="2147483867" r:id="rId14"/>
    <p:sldMasterId id="2147483874" r:id="rId15"/>
    <p:sldMasterId id="2147483881" r:id="rId16"/>
    <p:sldMasterId id="2147483910" r:id="rId17"/>
    <p:sldMasterId id="2147483922" r:id="rId18"/>
    <p:sldMasterId id="2147483934" r:id="rId19"/>
    <p:sldMasterId id="2147483946" r:id="rId20"/>
    <p:sldMasterId id="2147483958" r:id="rId21"/>
    <p:sldMasterId id="2147483998" r:id="rId22"/>
    <p:sldMasterId id="2147484005" r:id="rId23"/>
    <p:sldMasterId id="2147484021" r:id="rId24"/>
    <p:sldMasterId id="2147484031" r:id="rId25"/>
    <p:sldMasterId id="2147484043" r:id="rId26"/>
    <p:sldMasterId id="2147484055" r:id="rId27"/>
    <p:sldMasterId id="2147484070" r:id="rId28"/>
    <p:sldMasterId id="2147484081" r:id="rId29"/>
    <p:sldMasterId id="2147484094" r:id="rId30"/>
    <p:sldMasterId id="2147484105" r:id="rId31"/>
    <p:sldMasterId id="2147484115" r:id="rId32"/>
    <p:sldMasterId id="2147484125" r:id="rId33"/>
    <p:sldMasterId id="2147484135" r:id="rId34"/>
    <p:sldMasterId id="2147484145" r:id="rId35"/>
    <p:sldMasterId id="2147484152" r:id="rId36"/>
    <p:sldMasterId id="2147484162" r:id="rId37"/>
    <p:sldMasterId id="2147484187" r:id="rId38"/>
    <p:sldMasterId id="2147484192" r:id="rId39"/>
    <p:sldMasterId id="2147484202" r:id="rId40"/>
    <p:sldMasterId id="2147484212" r:id="rId41"/>
    <p:sldMasterId id="2147484222" r:id="rId42"/>
    <p:sldMasterId id="2147484234" r:id="rId43"/>
    <p:sldMasterId id="2147484251" r:id="rId44"/>
    <p:sldMasterId id="2147484261" r:id="rId45"/>
    <p:sldMasterId id="2147484900" r:id="rId46"/>
    <p:sldMasterId id="2147485541" r:id="rId47"/>
    <p:sldMasterId id="2147485570" r:id="rId48"/>
    <p:sldMasterId id="2147485580" r:id="rId49"/>
    <p:sldMasterId id="2147485593" r:id="rId50"/>
    <p:sldMasterId id="2147485608" r:id="rId51"/>
    <p:sldMasterId id="2147485615" r:id="rId52"/>
    <p:sldMasterId id="2147485621" r:id="rId53"/>
    <p:sldMasterId id="2147486405" r:id="rId54"/>
    <p:sldMasterId id="2147488036" r:id="rId55"/>
    <p:sldMasterId id="2147488051" r:id="rId56"/>
    <p:sldMasterId id="2147488078" r:id="rId57"/>
    <p:sldMasterId id="2147488093" r:id="rId58"/>
    <p:sldMasterId id="2147491659" r:id="rId59"/>
    <p:sldMasterId id="2147491669" r:id="rId60"/>
    <p:sldMasterId id="2147491678" r:id="rId61"/>
    <p:sldMasterId id="2147491684" r:id="rId62"/>
  </p:sldMasterIdLst>
  <p:notesMasterIdLst>
    <p:notesMasterId r:id="rId71"/>
  </p:notesMasterIdLst>
  <p:handoutMasterIdLst>
    <p:handoutMasterId r:id="rId72"/>
  </p:handoutMasterIdLst>
  <p:sldIdLst>
    <p:sldId id="396" r:id="rId63"/>
    <p:sldId id="408" r:id="rId64"/>
    <p:sldId id="414" r:id="rId65"/>
    <p:sldId id="426" r:id="rId66"/>
    <p:sldId id="428" r:id="rId67"/>
    <p:sldId id="403" r:id="rId68"/>
    <p:sldId id="435" r:id="rId69"/>
    <p:sldId id="348" r:id="rId70"/>
  </p:sldIdLst>
  <p:sldSz cx="9144000" cy="5143500" type="screen16x9"/>
  <p:notesSz cx="6810375" cy="9942513"/>
  <p:custDataLst>
    <p:tags r:id="rId73"/>
  </p:custDataLst>
  <p:defaultTextStyle>
    <a:defPPr>
      <a:defRPr lang="en-GB"/>
    </a:defPPr>
    <a:lvl1pPr algn="l" defTabSz="711200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Helvetica 75"/>
        <a:ea typeface="MS PGothic" pitchFamily="34" charset="-128"/>
        <a:cs typeface="Arial" pitchFamily="34" charset="0"/>
      </a:defRPr>
    </a:lvl1pPr>
    <a:lvl2pPr marL="354013" indent="100013" algn="l" defTabSz="711200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Helvetica 75"/>
        <a:ea typeface="MS PGothic" pitchFamily="34" charset="-128"/>
        <a:cs typeface="Arial" pitchFamily="34" charset="0"/>
      </a:defRPr>
    </a:lvl2pPr>
    <a:lvl3pPr marL="711200" indent="200025" algn="l" defTabSz="711200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Helvetica 75"/>
        <a:ea typeface="MS PGothic" pitchFamily="34" charset="-128"/>
        <a:cs typeface="Arial" pitchFamily="34" charset="0"/>
      </a:defRPr>
    </a:lvl3pPr>
    <a:lvl4pPr marL="1066800" indent="301625" algn="l" defTabSz="711200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Helvetica 75"/>
        <a:ea typeface="MS PGothic" pitchFamily="34" charset="-128"/>
        <a:cs typeface="Arial" pitchFamily="34" charset="0"/>
      </a:defRPr>
    </a:lvl4pPr>
    <a:lvl5pPr marL="1423988" indent="401638" algn="l" defTabSz="711200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Helvetica 75"/>
        <a:ea typeface="MS PGothic" pitchFamily="34" charset="-128"/>
        <a:cs typeface="Arial" pitchFamily="34" charset="0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Helvetica 75"/>
        <a:ea typeface="MS PGothic" pitchFamily="34" charset="-128"/>
        <a:cs typeface="Arial" pitchFamily="34" charset="0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Helvetica 75"/>
        <a:ea typeface="MS PGothic" pitchFamily="34" charset="-128"/>
        <a:cs typeface="Arial" pitchFamily="34" charset="0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Helvetica 75"/>
        <a:ea typeface="MS PGothic" pitchFamily="34" charset="-128"/>
        <a:cs typeface="Arial" pitchFamily="34" charset="0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Helvetica 75"/>
        <a:ea typeface="MS PGothic" pitchFamily="34" charset="-128"/>
        <a:cs typeface="Arial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4BB4E6"/>
    <a:srgbClr val="50BE87"/>
    <a:srgbClr val="FFDC00"/>
    <a:srgbClr val="FFB4E6"/>
    <a:srgbClr val="AC8ADA"/>
    <a:srgbClr val="9164CD"/>
    <a:srgbClr val="33333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726" autoAdjust="0"/>
    <p:restoredTop sz="94671" autoAdjust="0"/>
  </p:normalViewPr>
  <p:slideViewPr>
    <p:cSldViewPr>
      <p:cViewPr>
        <p:scale>
          <a:sx n="130" d="100"/>
          <a:sy n="130" d="100"/>
        </p:scale>
        <p:origin x="-384" y="-636"/>
      </p:cViewPr>
      <p:guideLst>
        <p:guide orient="horz" pos="3029"/>
        <p:guide orient="horz" pos="2603"/>
        <p:guide orient="horz" pos="2816"/>
        <p:guide orient="horz" pos="607"/>
        <p:guide orient="horz" pos="822"/>
        <p:guide orient="horz" pos="2394"/>
        <p:guide orient="horz" pos="1723"/>
        <p:guide orient="horz" pos="1935"/>
        <p:guide pos="5550"/>
        <p:guide pos="214"/>
        <p:guide pos="2775"/>
        <p:guide pos="2985"/>
        <p:guide pos="3888"/>
        <p:guide pos="4100"/>
        <p:guide pos="1877"/>
        <p:guide pos="1662"/>
      </p:guideLst>
    </p:cSldViewPr>
  </p:slideViewPr>
  <p:outlineViewPr>
    <p:cViewPr>
      <p:scale>
        <a:sx n="33" d="100"/>
        <a:sy n="33" d="100"/>
      </p:scale>
      <p:origin x="0" y="883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57" d="100"/>
          <a:sy n="57" d="100"/>
        </p:scale>
        <p:origin x="-1843" y="-101"/>
      </p:cViewPr>
      <p:guideLst>
        <p:guide orient="horz" pos="3132"/>
        <p:guide pos="214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Master" Target="slideMasters/slideMaster23.xml"/><Relationship Id="rId39" Type="http://schemas.openxmlformats.org/officeDocument/2006/relationships/slideMaster" Target="slideMasters/slideMaster36.xml"/><Relationship Id="rId21" Type="http://schemas.openxmlformats.org/officeDocument/2006/relationships/slideMaster" Target="slideMasters/slideMaster18.xml"/><Relationship Id="rId34" Type="http://schemas.openxmlformats.org/officeDocument/2006/relationships/slideMaster" Target="slideMasters/slideMaster31.xml"/><Relationship Id="rId42" Type="http://schemas.openxmlformats.org/officeDocument/2006/relationships/slideMaster" Target="slideMasters/slideMaster39.xml"/><Relationship Id="rId47" Type="http://schemas.openxmlformats.org/officeDocument/2006/relationships/slideMaster" Target="slideMasters/slideMaster44.xml"/><Relationship Id="rId50" Type="http://schemas.openxmlformats.org/officeDocument/2006/relationships/slideMaster" Target="slideMasters/slideMaster47.xml"/><Relationship Id="rId55" Type="http://schemas.openxmlformats.org/officeDocument/2006/relationships/slideMaster" Target="slideMasters/slideMaster52.xml"/><Relationship Id="rId63" Type="http://schemas.openxmlformats.org/officeDocument/2006/relationships/slide" Target="slides/slide1.xml"/><Relationship Id="rId68" Type="http://schemas.openxmlformats.org/officeDocument/2006/relationships/slide" Target="slides/slide6.xml"/><Relationship Id="rId76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71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9" Type="http://schemas.openxmlformats.org/officeDocument/2006/relationships/slideMaster" Target="slideMasters/slideMaster26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slideMaster" Target="slideMasters/slideMaster29.xml"/><Relationship Id="rId37" Type="http://schemas.openxmlformats.org/officeDocument/2006/relationships/slideMaster" Target="slideMasters/slideMaster34.xml"/><Relationship Id="rId40" Type="http://schemas.openxmlformats.org/officeDocument/2006/relationships/slideMaster" Target="slideMasters/slideMaster37.xml"/><Relationship Id="rId45" Type="http://schemas.openxmlformats.org/officeDocument/2006/relationships/slideMaster" Target="slideMasters/slideMaster42.xml"/><Relationship Id="rId53" Type="http://schemas.openxmlformats.org/officeDocument/2006/relationships/slideMaster" Target="slideMasters/slideMaster50.xml"/><Relationship Id="rId58" Type="http://schemas.openxmlformats.org/officeDocument/2006/relationships/slideMaster" Target="slideMasters/slideMaster55.xml"/><Relationship Id="rId66" Type="http://schemas.openxmlformats.org/officeDocument/2006/relationships/slide" Target="slides/slide4.xml"/><Relationship Id="rId7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Master" Target="slideMasters/slideMaster25.xml"/><Relationship Id="rId36" Type="http://schemas.openxmlformats.org/officeDocument/2006/relationships/slideMaster" Target="slideMasters/slideMaster33.xml"/><Relationship Id="rId49" Type="http://schemas.openxmlformats.org/officeDocument/2006/relationships/slideMaster" Target="slideMasters/slideMaster46.xml"/><Relationship Id="rId57" Type="http://schemas.openxmlformats.org/officeDocument/2006/relationships/slideMaster" Target="slideMasters/slideMaster54.xml"/><Relationship Id="rId61" Type="http://schemas.openxmlformats.org/officeDocument/2006/relationships/slideMaster" Target="slideMasters/slideMaster58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Master" Target="slideMasters/slideMaster28.xml"/><Relationship Id="rId44" Type="http://schemas.openxmlformats.org/officeDocument/2006/relationships/slideMaster" Target="slideMasters/slideMaster41.xml"/><Relationship Id="rId52" Type="http://schemas.openxmlformats.org/officeDocument/2006/relationships/slideMaster" Target="slideMasters/slideMaster49.xml"/><Relationship Id="rId60" Type="http://schemas.openxmlformats.org/officeDocument/2006/relationships/slideMaster" Target="slideMasters/slideMaster57.xml"/><Relationship Id="rId65" Type="http://schemas.openxmlformats.org/officeDocument/2006/relationships/slide" Target="slides/slide3.xml"/><Relationship Id="rId73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Master" Target="slideMasters/slideMaster24.xml"/><Relationship Id="rId30" Type="http://schemas.openxmlformats.org/officeDocument/2006/relationships/slideMaster" Target="slideMasters/slideMaster27.xml"/><Relationship Id="rId35" Type="http://schemas.openxmlformats.org/officeDocument/2006/relationships/slideMaster" Target="slideMasters/slideMaster32.xml"/><Relationship Id="rId43" Type="http://schemas.openxmlformats.org/officeDocument/2006/relationships/slideMaster" Target="slideMasters/slideMaster40.xml"/><Relationship Id="rId48" Type="http://schemas.openxmlformats.org/officeDocument/2006/relationships/slideMaster" Target="slideMasters/slideMaster45.xml"/><Relationship Id="rId56" Type="http://schemas.openxmlformats.org/officeDocument/2006/relationships/slideMaster" Target="slideMasters/slideMaster53.xml"/><Relationship Id="rId64" Type="http://schemas.openxmlformats.org/officeDocument/2006/relationships/slide" Target="slides/slide2.xml"/><Relationship Id="rId69" Type="http://schemas.openxmlformats.org/officeDocument/2006/relationships/slide" Target="slides/slide7.xml"/><Relationship Id="rId77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51" Type="http://schemas.openxmlformats.org/officeDocument/2006/relationships/slideMaster" Target="slideMasters/slideMaster48.xml"/><Relationship Id="rId72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Master" Target="slideMasters/slideMaster22.xml"/><Relationship Id="rId33" Type="http://schemas.openxmlformats.org/officeDocument/2006/relationships/slideMaster" Target="slideMasters/slideMaster30.xml"/><Relationship Id="rId38" Type="http://schemas.openxmlformats.org/officeDocument/2006/relationships/slideMaster" Target="slideMasters/slideMaster35.xml"/><Relationship Id="rId46" Type="http://schemas.openxmlformats.org/officeDocument/2006/relationships/slideMaster" Target="slideMasters/slideMaster43.xml"/><Relationship Id="rId59" Type="http://schemas.openxmlformats.org/officeDocument/2006/relationships/slideMaster" Target="slideMasters/slideMaster56.xml"/><Relationship Id="rId67" Type="http://schemas.openxmlformats.org/officeDocument/2006/relationships/slide" Target="slides/slide5.xml"/><Relationship Id="rId20" Type="http://schemas.openxmlformats.org/officeDocument/2006/relationships/slideMaster" Target="slideMasters/slideMaster17.xml"/><Relationship Id="rId41" Type="http://schemas.openxmlformats.org/officeDocument/2006/relationships/slideMaster" Target="slideMasters/slideMaster38.xml"/><Relationship Id="rId54" Type="http://schemas.openxmlformats.org/officeDocument/2006/relationships/slideMaster" Target="slideMasters/slideMaster51.xml"/><Relationship Id="rId62" Type="http://schemas.openxmlformats.org/officeDocument/2006/relationships/slideMaster" Target="slideMasters/slideMaster59.xml"/><Relationship Id="rId70" Type="http://schemas.openxmlformats.org/officeDocument/2006/relationships/slide" Target="slides/slide8.xml"/><Relationship Id="rId75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6888"/>
          </a:xfrm>
          <a:prstGeom prst="rect">
            <a:avLst/>
          </a:prstGeom>
        </p:spPr>
        <p:txBody>
          <a:bodyPr vert="horz" lIns="91431" tIns="45716" rIns="91431" bIns="45716" rtlCol="0"/>
          <a:lstStyle>
            <a:lvl1pPr algn="l" defTabSz="712744">
              <a:defRPr sz="1200">
                <a:latin typeface="Helvetica 75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7625" y="0"/>
            <a:ext cx="2951163" cy="496888"/>
          </a:xfrm>
          <a:prstGeom prst="rect">
            <a:avLst/>
          </a:prstGeom>
        </p:spPr>
        <p:txBody>
          <a:bodyPr vert="horz" lIns="91431" tIns="45716" rIns="91431" bIns="45716" rtlCol="0"/>
          <a:lstStyle>
            <a:lvl1pPr algn="r" defTabSz="712744">
              <a:defRPr sz="1200">
                <a:latin typeface="Helvetica 75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0F9F99F6-D275-4EFF-A97B-C3F639BF8D53}" type="datetimeFigureOut">
              <a:rPr lang="en-GB"/>
              <a:pPr>
                <a:defRPr/>
              </a:pPr>
              <a:t>19/02/2019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4038"/>
            <a:ext cx="2951163" cy="496887"/>
          </a:xfrm>
          <a:prstGeom prst="rect">
            <a:avLst/>
          </a:prstGeom>
        </p:spPr>
        <p:txBody>
          <a:bodyPr vert="horz" lIns="91431" tIns="45716" rIns="91431" bIns="45716" rtlCol="0" anchor="b"/>
          <a:lstStyle>
            <a:lvl1pPr algn="l" defTabSz="712744">
              <a:defRPr sz="1200">
                <a:latin typeface="Helvetica 75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7625" y="9444038"/>
            <a:ext cx="2951163" cy="496887"/>
          </a:xfrm>
          <a:prstGeom prst="rect">
            <a:avLst/>
          </a:prstGeom>
        </p:spPr>
        <p:txBody>
          <a:bodyPr vert="horz" lIns="91431" tIns="45716" rIns="91431" bIns="45716" rtlCol="0" anchor="b"/>
          <a:lstStyle>
            <a:lvl1pPr algn="r" defTabSz="712744">
              <a:defRPr sz="1200">
                <a:latin typeface="Helvetica 75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6D6CD8D8-AD41-4943-81A8-440E1DBFE2EE}" type="slidenum">
              <a:rPr lang="en-GB"/>
              <a:pPr>
                <a:defRPr/>
              </a:pPr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15664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5825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6" rIns="91431" bIns="45716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038" y="4784725"/>
            <a:ext cx="5448300" cy="391477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noProof="0" dirty="0" smtClean="0"/>
              <a:t>Click to edit Master text styles</a:t>
            </a:r>
          </a:p>
          <a:p>
            <a:pPr lvl="1"/>
            <a:r>
              <a:rPr lang="en-GB" altLang="en-US" noProof="0" dirty="0" smtClean="0"/>
              <a:t>Second level</a:t>
            </a:r>
          </a:p>
          <a:p>
            <a:pPr lvl="2"/>
            <a:r>
              <a:rPr lang="en-GB" altLang="en-US" noProof="0" dirty="0" smtClean="0"/>
              <a:t>Third level</a:t>
            </a:r>
          </a:p>
          <a:p>
            <a:pPr lvl="3"/>
            <a:r>
              <a:rPr lang="en-GB" altLang="en-US" noProof="0" dirty="0" smtClean="0"/>
              <a:t>Fourth level</a:t>
            </a:r>
          </a:p>
          <a:p>
            <a:pPr lvl="4"/>
            <a:r>
              <a:rPr lang="en-GB" alt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3907292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711200" rtl="0" eaLnBrk="0" fontAlgn="base" hangingPunct="0">
      <a:spcBef>
        <a:spcPct val="30000"/>
      </a:spcBef>
      <a:spcAft>
        <a:spcPct val="0"/>
      </a:spcAft>
      <a:buFont typeface="Wingdings" pitchFamily="2" charset="2"/>
      <a:defRPr sz="900" kern="1200">
        <a:solidFill>
          <a:schemeClr val="tx1"/>
        </a:solidFill>
        <a:latin typeface="Helvetica 75 Bold" panose="020B0804020202020204" pitchFamily="34" charset="0"/>
        <a:ea typeface="MS PGothic" pitchFamily="34" charset="-128"/>
        <a:cs typeface="+mn-cs"/>
      </a:defRPr>
    </a:lvl1pPr>
    <a:lvl2pPr marL="112713" indent="-112713" algn="l" defTabSz="711200" rtl="0" eaLnBrk="0" fontAlgn="base" hangingPunct="0">
      <a:spcBef>
        <a:spcPct val="30000"/>
      </a:spcBef>
      <a:spcAft>
        <a:spcPct val="0"/>
      </a:spcAft>
      <a:buFont typeface="Helvetica 75"/>
      <a:buChar char="−"/>
      <a:defRPr sz="900" kern="1200">
        <a:solidFill>
          <a:schemeClr val="tx1"/>
        </a:solidFill>
        <a:latin typeface="Helvetica 55 Roman" panose="020B0604020202020204" pitchFamily="34" charset="0"/>
        <a:ea typeface="MS PGothic" pitchFamily="34" charset="-128"/>
        <a:cs typeface="+mn-cs"/>
      </a:defRPr>
    </a:lvl2pPr>
    <a:lvl3pPr marL="228600" indent="-114300" algn="l" defTabSz="711200" rtl="0" eaLnBrk="0" fontAlgn="base" hangingPunct="0">
      <a:spcBef>
        <a:spcPct val="30000"/>
      </a:spcBef>
      <a:spcAft>
        <a:spcPct val="0"/>
      </a:spcAft>
      <a:buFont typeface="Helvetica 75"/>
      <a:buChar char="−"/>
      <a:defRPr sz="900" kern="1200">
        <a:solidFill>
          <a:schemeClr val="tx1"/>
        </a:solidFill>
        <a:latin typeface="Helvetica 55 Roman" panose="020B0604020202020204" pitchFamily="34" charset="0"/>
        <a:ea typeface="MS PGothic" pitchFamily="34" charset="-128"/>
        <a:cs typeface="+mn-cs"/>
      </a:defRPr>
    </a:lvl3pPr>
    <a:lvl4pPr marL="341313" indent="-111125" algn="l" defTabSz="711200" rtl="0" eaLnBrk="0" fontAlgn="base" hangingPunct="0">
      <a:spcBef>
        <a:spcPct val="30000"/>
      </a:spcBef>
      <a:spcAft>
        <a:spcPct val="0"/>
      </a:spcAft>
      <a:buFont typeface="Helvetica 75"/>
      <a:buChar char="−"/>
      <a:defRPr sz="900" kern="1200">
        <a:solidFill>
          <a:schemeClr val="tx1"/>
        </a:solidFill>
        <a:latin typeface="Helvetica 55 Roman" panose="020B0604020202020204" pitchFamily="34" charset="0"/>
        <a:ea typeface="MS PGothic" pitchFamily="34" charset="-128"/>
        <a:cs typeface="+mn-cs"/>
      </a:defRPr>
    </a:lvl4pPr>
    <a:lvl5pPr marL="455613" indent="-112713" algn="l" defTabSz="711200" rtl="0" eaLnBrk="0" fontAlgn="base" hangingPunct="0">
      <a:spcBef>
        <a:spcPct val="30000"/>
      </a:spcBef>
      <a:spcAft>
        <a:spcPct val="0"/>
      </a:spcAft>
      <a:buFont typeface="Helvetica 75"/>
      <a:buChar char="−"/>
      <a:defRPr sz="900" kern="1200">
        <a:solidFill>
          <a:schemeClr val="tx1"/>
        </a:solidFill>
        <a:latin typeface="Helvetica 55 Roman" panose="020B0604020202020204" pitchFamily="34" charset="0"/>
        <a:ea typeface="MS PGothic" pitchFamily="34" charset="-128"/>
        <a:cs typeface="+mn-cs"/>
      </a:defRPr>
    </a:lvl5pPr>
    <a:lvl6pPr marL="1782795" algn="l" defTabSz="713117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139354" algn="l" defTabSz="713117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95912" algn="l" defTabSz="713117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852472" algn="l" defTabSz="713117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194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92195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fr-FR" altLang="fr-FR" smtClean="0"/>
              <a:t>#Charte Graphique Officielle</a:t>
            </a:r>
          </a:p>
          <a:p>
            <a:pPr eaLnBrk="1" hangingPunct="1"/>
            <a:r>
              <a:rPr lang="fr-FR" altLang="fr-FR" smtClean="0">
                <a:solidFill>
                  <a:srgbClr val="8F8F8F"/>
                </a:solidFill>
                <a:latin typeface="Helvetica 55 Roman" pitchFamily="34" charset="0"/>
              </a:rPr>
              <a:t>@Key message</a:t>
            </a:r>
            <a:endParaRPr lang="fr-FR" altLang="fr-FR" smtClean="0"/>
          </a:p>
          <a:p>
            <a:pPr eaLnBrk="1" hangingPunct="1"/>
            <a:endParaRPr lang="fr-FR" altLang="fr-FR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321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93219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fr-FR" altLang="fr-FR" smtClean="0"/>
              <a:t>#Colonnes</a:t>
            </a:r>
            <a:br>
              <a:rPr lang="fr-FR" altLang="fr-FR" smtClean="0"/>
            </a:br>
            <a:r>
              <a:rPr lang="fr-FR" altLang="fr-FR" smtClean="0"/>
              <a:t>@Lignes avec icones</a:t>
            </a:r>
          </a:p>
          <a:p>
            <a:endParaRPr lang="fr-FR" altLang="fr-FR" smtClean="0"/>
          </a:p>
          <a:p>
            <a:endParaRPr lang="fr-FR" altLang="fr-FR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4242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94243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fr-FR" altLang="fr-FR" smtClean="0"/>
              <a:t>#Charte Graphique Officielle</a:t>
            </a:r>
          </a:p>
          <a:p>
            <a:pPr eaLnBrk="1" hangingPunct="1"/>
            <a:r>
              <a:rPr lang="fr-FR" altLang="fr-FR" smtClean="0">
                <a:solidFill>
                  <a:srgbClr val="8F8F8F"/>
                </a:solidFill>
                <a:latin typeface="Helvetica 55 Roman" pitchFamily="34" charset="0"/>
              </a:rPr>
              <a:t>@Key message</a:t>
            </a:r>
            <a:endParaRPr lang="fr-FR" altLang="fr-FR" smtClean="0"/>
          </a:p>
          <a:p>
            <a:pPr eaLnBrk="1" hangingPunct="1"/>
            <a:endParaRPr lang="fr-FR" altLang="fr-FR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1410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1411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fr-FR" altLang="fr-FR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7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8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9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.bin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5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7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6.bin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7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2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0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2.xml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4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3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4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1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oleObject" Target="../embeddings/oleObject9.bin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45.xml"/></Relationships>
</file>

<file path=ppt/slideLayouts/_rels/slideLayout4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5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0.bin"/></Relationships>
</file>

<file path=ppt/slideLayouts/_rels/slideLayout4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6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2.bin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6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4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8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9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5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5.xml"/></Relationships>
</file>

<file path=ppt/slideLayouts/_rels/slideLayout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5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4.bin"/></Relationships>
</file>

<file path=ppt/slideLayouts/_rels/slideLayout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540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541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54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543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54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59.xml"/></Relationships>
</file>

<file path=ppt/slideLayouts/_rels/slideLayout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5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.bin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755303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0624266"/>
      </p:ext>
    </p:extLst>
  </p:cSld>
  <p:clrMapOvr>
    <a:masterClrMapping/>
  </p:clrMapOvr>
  <p:transition spd="med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>
            <a:spLocks noChangeArrowheads="1"/>
          </p:cNvSpPr>
          <p:nvPr userDrawn="1"/>
        </p:nvSpPr>
        <p:spPr bwMode="auto">
          <a:xfrm>
            <a:off x="107950" y="4779963"/>
            <a:ext cx="23018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7" rIns="0" bIns="45717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327">
              <a:defRPr/>
            </a:pPr>
            <a:fld id="{FD034D63-D8BD-4E85-920C-62A87BAFAC9A}" type="slidenum">
              <a:rPr lang="fr-FR" altLang="fr-FR" sz="800" smtClean="0">
                <a:solidFill>
                  <a:srgbClr val="000000"/>
                </a:solidFill>
                <a:latin typeface="Helvetica 55 Roman" panose="020B0604020202020204" pitchFamily="2" charset="0"/>
                <a:ea typeface="+mn-ea"/>
                <a:cs typeface="Arial" charset="0"/>
              </a:rPr>
              <a:pPr defTabSz="914327">
                <a:defRPr/>
              </a:pPr>
              <a:t>‹N°›</a:t>
            </a:fld>
            <a:endParaRPr lang="fr-FR" altLang="fr-FR" sz="800" dirty="0" smtClean="0">
              <a:solidFill>
                <a:srgbClr val="000000"/>
              </a:solidFill>
              <a:latin typeface="Helvetica 55 Roman" panose="020B0604020202020204" pitchFamily="2" charset="0"/>
              <a:ea typeface="+mn-ea"/>
              <a:cs typeface="Arial" charset="0"/>
            </a:endParaRPr>
          </a:p>
        </p:txBody>
      </p:sp>
      <p:sp>
        <p:nvSpPr>
          <p:cNvPr id="5" name="Rectangle 762"/>
          <p:cNvSpPr>
            <a:spLocks noChangeArrowheads="1"/>
          </p:cNvSpPr>
          <p:nvPr userDrawn="1"/>
        </p:nvSpPr>
        <p:spPr bwMode="auto">
          <a:xfrm rot="16200000">
            <a:off x="7676357" y="3601244"/>
            <a:ext cx="2795587" cy="18732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45717" rIns="0" bIns="45717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327" eaLnBrk="1" hangingPunct="1">
              <a:defRPr/>
            </a:pPr>
            <a:r>
              <a:rPr lang="en-GB" altLang="fr-FR" sz="700" dirty="0" smtClean="0">
                <a:solidFill>
                  <a:srgbClr val="7F7F7F"/>
                </a:solidFill>
                <a:latin typeface="Helvetica 55 Roman" pitchFamily="2" charset="0"/>
                <a:ea typeface="+mn-ea"/>
              </a:rPr>
              <a:t>Interne</a:t>
            </a:r>
            <a:r>
              <a:rPr lang="en-US" altLang="fr-FR" sz="700" dirty="0" smtClean="0">
                <a:solidFill>
                  <a:srgbClr val="7F7F7F"/>
                </a:solidFill>
                <a:latin typeface="Helvetica 55 Roman" pitchFamily="2" charset="0"/>
                <a:ea typeface="+mn-ea"/>
              </a:rPr>
              <a:t> Orange – DR Orange Open pro partagé 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 bwMode="gray">
          <a:xfrm>
            <a:off x="250829" y="1059583"/>
            <a:ext cx="8664575" cy="3611810"/>
          </a:xfrm>
        </p:spPr>
        <p:txBody>
          <a:bodyPr/>
          <a:lstStyle>
            <a:lvl1pPr>
              <a:buSzPct val="100000"/>
              <a:defRPr/>
            </a:lvl1pPr>
            <a:lvl3pPr>
              <a:buSzPct val="100000"/>
              <a:defRPr/>
            </a:lvl3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6817148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/>
          <p:cNvSpPr txBox="1">
            <a:spLocks noChangeArrowheads="1"/>
          </p:cNvSpPr>
          <p:nvPr/>
        </p:nvSpPr>
        <p:spPr bwMode="auto">
          <a:xfrm>
            <a:off x="250825" y="4779963"/>
            <a:ext cx="344488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7" rIns="0" bIns="45717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327">
              <a:defRPr/>
            </a:pPr>
            <a:fld id="{991962D7-D392-4EB5-94AA-EDDDFF596A06}" type="slidenum">
              <a:rPr lang="fr-FR" altLang="fr-FR" sz="1200" smtClean="0">
                <a:solidFill>
                  <a:srgbClr val="000000"/>
                </a:solidFill>
                <a:latin typeface="Helvetica 55 Roman" panose="020B0604020202020204" pitchFamily="2" charset="0"/>
                <a:ea typeface="+mn-ea"/>
                <a:cs typeface="Arial" charset="0"/>
              </a:rPr>
              <a:pPr defTabSz="914327">
                <a:defRPr/>
              </a:pPr>
              <a:t>‹N°›</a:t>
            </a:fld>
            <a:endParaRPr lang="fr-FR" altLang="fr-FR" sz="1600" dirty="0" smtClean="0">
              <a:solidFill>
                <a:srgbClr val="000000"/>
              </a:solidFill>
              <a:latin typeface="Helvetica 55 Roman" panose="020B0604020202020204" pitchFamily="2" charset="0"/>
              <a:ea typeface="+mn-ea"/>
              <a:cs typeface="Arial" charset="0"/>
            </a:endParaRPr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250828" y="228601"/>
            <a:ext cx="8683625" cy="738188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 bwMode="gray">
          <a:xfrm>
            <a:off x="250825" y="1599643"/>
            <a:ext cx="4177160" cy="3071750"/>
          </a:xfrm>
        </p:spPr>
        <p:txBody>
          <a:bodyPr/>
          <a:lstStyle>
            <a:lvl1pPr>
              <a:buSzPct val="100000"/>
              <a:defRPr/>
            </a:lvl1pPr>
            <a:lvl3pPr>
              <a:buSzPct val="100000"/>
              <a:defRPr/>
            </a:lvl3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1"/>
          </p:nvPr>
        </p:nvSpPr>
        <p:spPr>
          <a:xfrm>
            <a:off x="4758450" y="1600629"/>
            <a:ext cx="4176000" cy="307735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lang="fr-FR" dirty="0" smtClean="0"/>
            </a:lvl1pPr>
            <a:lvl2pPr>
              <a:defRPr lang="fr-FR" dirty="0" smtClean="0"/>
            </a:lvl2pPr>
            <a:lvl3pPr>
              <a:defRPr lang="fr-FR" dirty="0" smtClean="0"/>
            </a:lvl3pPr>
            <a:lvl4pPr>
              <a:defRPr lang="fr-FR" dirty="0" smtClean="0"/>
            </a:lvl4pPr>
            <a:lvl5pPr>
              <a:defRPr lang="fr-FR" dirty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250827" y="1114090"/>
            <a:ext cx="4177159" cy="37754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marL="0" indent="0">
              <a:buNone/>
              <a:defRPr lang="fr-FR" sz="2000" b="1" dirty="0" smtClean="0">
                <a:solidFill>
                  <a:schemeClr val="tx2"/>
                </a:solidFill>
                <a:latin typeface="Helvetica 75 Bold" panose="020B0804020202020204" pitchFamily="34" charset="0"/>
              </a:defRPr>
            </a:lvl1pPr>
            <a:lvl2pPr>
              <a:defRPr lang="fr-FR" dirty="0" smtClean="0"/>
            </a:lvl2pPr>
            <a:lvl3pPr>
              <a:defRPr lang="fr-FR" dirty="0" smtClean="0"/>
            </a:lvl3pPr>
            <a:lvl4pPr>
              <a:defRPr lang="fr-FR" dirty="0" smtClean="0"/>
            </a:lvl4pPr>
            <a:lvl5pPr>
              <a:defRPr lang="fr-FR" dirty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4758453" y="1114090"/>
            <a:ext cx="4177159" cy="37754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marL="0" indent="0">
              <a:buNone/>
              <a:defRPr lang="fr-FR" sz="2000" b="1" dirty="0" smtClean="0">
                <a:solidFill>
                  <a:schemeClr val="tx2"/>
                </a:solidFill>
                <a:latin typeface="Helvetica 75 Bold" panose="020B0804020202020204" pitchFamily="34" charset="0"/>
              </a:defRPr>
            </a:lvl1pPr>
            <a:lvl2pPr>
              <a:defRPr lang="fr-FR" dirty="0" smtClean="0"/>
            </a:lvl2pPr>
            <a:lvl3pPr>
              <a:defRPr lang="fr-FR" dirty="0" smtClean="0"/>
            </a:lvl3pPr>
            <a:lvl4pPr>
              <a:defRPr lang="fr-FR" dirty="0" smtClean="0"/>
            </a:lvl4pPr>
            <a:lvl5pPr>
              <a:defRPr lang="fr-FR" dirty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59017337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62"/>
          <p:cNvSpPr>
            <a:spLocks noChangeArrowheads="1"/>
          </p:cNvSpPr>
          <p:nvPr userDrawn="1"/>
        </p:nvSpPr>
        <p:spPr bwMode="auto">
          <a:xfrm rot="16200000">
            <a:off x="7676357" y="3601244"/>
            <a:ext cx="2795587" cy="18732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45717" rIns="0" bIns="45717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327" eaLnBrk="1" hangingPunct="1">
              <a:defRPr/>
            </a:pPr>
            <a:r>
              <a:rPr lang="en-GB" altLang="fr-FR" sz="700" dirty="0" smtClean="0">
                <a:solidFill>
                  <a:srgbClr val="7F7F7F"/>
                </a:solidFill>
                <a:latin typeface="Helvetica 55 Roman" pitchFamily="2" charset="0"/>
                <a:ea typeface="+mn-ea"/>
              </a:rPr>
              <a:t>Interne</a:t>
            </a:r>
            <a:r>
              <a:rPr lang="en-US" altLang="fr-FR" sz="700" dirty="0" smtClean="0">
                <a:solidFill>
                  <a:srgbClr val="7F7F7F"/>
                </a:solidFill>
                <a:latin typeface="Helvetica 55 Roman" pitchFamily="2" charset="0"/>
                <a:ea typeface="+mn-ea"/>
              </a:rPr>
              <a:t> Orange – DR Orange Open pro partagé </a:t>
            </a:r>
          </a:p>
        </p:txBody>
      </p:sp>
      <p:sp>
        <p:nvSpPr>
          <p:cNvPr id="4" name="ZoneTexte 3"/>
          <p:cNvSpPr txBox="1">
            <a:spLocks noChangeArrowheads="1"/>
          </p:cNvSpPr>
          <p:nvPr userDrawn="1"/>
        </p:nvSpPr>
        <p:spPr bwMode="auto">
          <a:xfrm>
            <a:off x="107950" y="4779963"/>
            <a:ext cx="23018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7" rIns="0" bIns="45717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327">
              <a:defRPr/>
            </a:pPr>
            <a:fld id="{006FE252-A20D-4989-B762-17EA126C4728}" type="slidenum">
              <a:rPr lang="fr-FR" altLang="fr-FR" sz="800" smtClean="0">
                <a:solidFill>
                  <a:srgbClr val="000000"/>
                </a:solidFill>
                <a:latin typeface="Helvetica 55 Roman" panose="020B0604020202020204" pitchFamily="2" charset="0"/>
                <a:ea typeface="+mn-ea"/>
                <a:cs typeface="Arial" charset="0"/>
              </a:rPr>
              <a:pPr defTabSz="914327">
                <a:defRPr/>
              </a:pPr>
              <a:t>‹N°›</a:t>
            </a:fld>
            <a:endParaRPr lang="fr-FR" altLang="fr-FR" sz="800" dirty="0" smtClean="0">
              <a:solidFill>
                <a:srgbClr val="000000"/>
              </a:solidFill>
              <a:latin typeface="Helvetica 55 Roman" panose="020B0604020202020204" pitchFamily="2" charset="0"/>
              <a:ea typeface="+mn-ea"/>
              <a:cs typeface="Arial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58497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62"/>
          <p:cNvSpPr>
            <a:spLocks noChangeArrowheads="1"/>
          </p:cNvSpPr>
          <p:nvPr userDrawn="1"/>
        </p:nvSpPr>
        <p:spPr bwMode="auto">
          <a:xfrm rot="16200000">
            <a:off x="7676357" y="3601244"/>
            <a:ext cx="2795587" cy="18732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45717" rIns="0" bIns="45717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327" eaLnBrk="1" hangingPunct="1">
              <a:defRPr/>
            </a:pPr>
            <a:r>
              <a:rPr lang="en-GB" altLang="fr-FR" sz="700" dirty="0" smtClean="0">
                <a:solidFill>
                  <a:srgbClr val="7F7F7F"/>
                </a:solidFill>
                <a:latin typeface="Helvetica 55 Roman" pitchFamily="2" charset="0"/>
                <a:ea typeface="+mn-ea"/>
              </a:rPr>
              <a:t>Interne</a:t>
            </a:r>
            <a:r>
              <a:rPr lang="en-US" altLang="fr-FR" sz="700" dirty="0" smtClean="0">
                <a:solidFill>
                  <a:srgbClr val="7F7F7F"/>
                </a:solidFill>
                <a:latin typeface="Helvetica 55 Roman" pitchFamily="2" charset="0"/>
                <a:ea typeface="+mn-ea"/>
              </a:rPr>
              <a:t> Orange – DR Orange Open pro partagé </a:t>
            </a:r>
          </a:p>
        </p:txBody>
      </p:sp>
      <p:sp>
        <p:nvSpPr>
          <p:cNvPr id="3" name="ZoneTexte 2"/>
          <p:cNvSpPr txBox="1">
            <a:spLocks noChangeArrowheads="1"/>
          </p:cNvSpPr>
          <p:nvPr userDrawn="1"/>
        </p:nvSpPr>
        <p:spPr bwMode="auto">
          <a:xfrm>
            <a:off x="107950" y="4779963"/>
            <a:ext cx="23018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7" rIns="0" bIns="45717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327">
              <a:defRPr/>
            </a:pPr>
            <a:fld id="{2913DCF8-0E46-4FB8-9AF0-F4B1821CCF5A}" type="slidenum">
              <a:rPr lang="fr-FR" altLang="fr-FR" sz="800" smtClean="0">
                <a:solidFill>
                  <a:srgbClr val="000000"/>
                </a:solidFill>
                <a:latin typeface="Helvetica 55 Roman" panose="020B0604020202020204" pitchFamily="2" charset="0"/>
                <a:ea typeface="+mn-ea"/>
                <a:cs typeface="Arial" charset="0"/>
              </a:rPr>
              <a:pPr defTabSz="914327">
                <a:defRPr/>
              </a:pPr>
              <a:t>‹N°›</a:t>
            </a:fld>
            <a:endParaRPr lang="fr-FR" altLang="fr-FR" sz="800" dirty="0" smtClean="0">
              <a:solidFill>
                <a:srgbClr val="000000"/>
              </a:solidFill>
              <a:latin typeface="Helvetica 55 Roman" panose="020B0604020202020204" pitchFamily="2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350559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EMTA8361\Documents\Divers\Logos\O BS logo bottom right_RGB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6338" y="4300538"/>
            <a:ext cx="1319212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63558" y="1597821"/>
            <a:ext cx="8474400" cy="1679178"/>
          </a:xfrm>
        </p:spPr>
        <p:txBody>
          <a:bodyPr>
            <a:spAutoFit/>
          </a:bodyPr>
          <a:lstStyle>
            <a:lvl1pPr>
              <a:defRPr sz="4400" b="0"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363557" y="2400302"/>
            <a:ext cx="8474400" cy="947952"/>
          </a:xfrm>
        </p:spPr>
        <p:txBody>
          <a:bodyPr>
            <a:spAutoFit/>
          </a:bodyPr>
          <a:lstStyle>
            <a:lvl1pPr marL="344461" indent="-344461">
              <a:buClr>
                <a:schemeClr val="bg1">
                  <a:lumMod val="50000"/>
                  <a:lumOff val="50000"/>
                </a:schemeClr>
              </a:buClr>
              <a:buSzPct val="100000"/>
              <a:buFont typeface="Helvetica 35 Thin" pitchFamily="34" charset="0"/>
              <a:buChar char="&gt;"/>
              <a:defRPr sz="2800">
                <a:solidFill>
                  <a:schemeClr val="bg1">
                    <a:lumMod val="50000"/>
                    <a:lumOff val="50000"/>
                  </a:schemeClr>
                </a:solidFill>
                <a:latin typeface="Helvetica 75 Bold" panose="020B0804020202020204" pitchFamily="34" charset="0"/>
              </a:defRPr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1"/>
          </p:nvPr>
        </p:nvSpPr>
        <p:spPr>
          <a:xfrm>
            <a:off x="363556" y="3314703"/>
            <a:ext cx="8474400" cy="236988"/>
          </a:xfrm>
        </p:spPr>
        <p:txBody>
          <a:bodyPr>
            <a:spAutoFit/>
          </a:bodyPr>
          <a:lstStyle>
            <a:lvl1pPr marL="0" indent="0">
              <a:buNone/>
              <a:defRPr sz="1400"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34108883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>
            <a:spLocks noChangeArrowheads="1"/>
          </p:cNvSpPr>
          <p:nvPr userDrawn="1"/>
        </p:nvSpPr>
        <p:spPr bwMode="auto">
          <a:xfrm>
            <a:off x="107950" y="4779963"/>
            <a:ext cx="23018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7" rIns="0" bIns="45717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327">
              <a:defRPr/>
            </a:pPr>
            <a:fld id="{69F29016-0823-40AD-B386-FA427A27378B}" type="slidenum">
              <a:rPr lang="fr-FR" altLang="fr-FR" sz="800" smtClean="0">
                <a:solidFill>
                  <a:srgbClr val="000000"/>
                </a:solidFill>
                <a:latin typeface="Helvetica 55 Roman" panose="020B0604020202020204" pitchFamily="2" charset="0"/>
                <a:ea typeface="+mn-ea"/>
                <a:cs typeface="Arial" charset="0"/>
              </a:rPr>
              <a:pPr defTabSz="914327">
                <a:defRPr/>
              </a:pPr>
              <a:t>‹N°›</a:t>
            </a:fld>
            <a:endParaRPr lang="fr-FR" altLang="fr-FR" sz="800" dirty="0" smtClean="0">
              <a:solidFill>
                <a:srgbClr val="000000"/>
              </a:solidFill>
              <a:latin typeface="Helvetica 55 Roman" panose="020B0604020202020204" pitchFamily="2" charset="0"/>
              <a:ea typeface="+mn-ea"/>
              <a:cs typeface="Arial" charset="0"/>
            </a:endParaRPr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 bwMode="gray">
          <a:xfrm>
            <a:off x="250829" y="1059583"/>
            <a:ext cx="8664575" cy="3611810"/>
          </a:xfrm>
        </p:spPr>
        <p:txBody>
          <a:bodyPr/>
          <a:lstStyle>
            <a:lvl1pPr>
              <a:buSzPct val="100000"/>
              <a:defRPr/>
            </a:lvl1pPr>
            <a:lvl3pPr>
              <a:buSzPct val="100000"/>
              <a:defRPr/>
            </a:lvl3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344153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/>
          <p:cNvSpPr txBox="1">
            <a:spLocks noChangeArrowheads="1"/>
          </p:cNvSpPr>
          <p:nvPr/>
        </p:nvSpPr>
        <p:spPr bwMode="auto">
          <a:xfrm>
            <a:off x="250825" y="4779963"/>
            <a:ext cx="344488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7" rIns="0" bIns="45717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327">
              <a:defRPr/>
            </a:pPr>
            <a:fld id="{CA28EDD4-4816-4BD7-B0E3-4906EAE97451}" type="slidenum">
              <a:rPr lang="fr-FR" altLang="fr-FR" sz="1200" smtClean="0">
                <a:solidFill>
                  <a:srgbClr val="000000"/>
                </a:solidFill>
                <a:latin typeface="Helvetica 55 Roman" panose="020B0604020202020204" pitchFamily="2" charset="0"/>
                <a:ea typeface="+mn-ea"/>
                <a:cs typeface="Arial" charset="0"/>
              </a:rPr>
              <a:pPr defTabSz="914327">
                <a:defRPr/>
              </a:pPr>
              <a:t>‹N°›</a:t>
            </a:fld>
            <a:endParaRPr lang="fr-FR" altLang="fr-FR" sz="1600" dirty="0" smtClean="0">
              <a:solidFill>
                <a:srgbClr val="000000"/>
              </a:solidFill>
              <a:latin typeface="Helvetica 55 Roman" panose="020B0604020202020204" pitchFamily="2" charset="0"/>
              <a:ea typeface="+mn-ea"/>
              <a:cs typeface="Arial" charset="0"/>
            </a:endParaRPr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250828" y="228601"/>
            <a:ext cx="8683625" cy="738188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 bwMode="gray">
          <a:xfrm>
            <a:off x="250825" y="1599643"/>
            <a:ext cx="4177160" cy="3071750"/>
          </a:xfrm>
        </p:spPr>
        <p:txBody>
          <a:bodyPr/>
          <a:lstStyle>
            <a:lvl1pPr>
              <a:buSzPct val="100000"/>
              <a:defRPr/>
            </a:lvl1pPr>
            <a:lvl3pPr>
              <a:buSzPct val="100000"/>
              <a:defRPr/>
            </a:lvl3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1"/>
          </p:nvPr>
        </p:nvSpPr>
        <p:spPr>
          <a:xfrm>
            <a:off x="4758450" y="1600629"/>
            <a:ext cx="4176000" cy="307735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lang="fr-FR" dirty="0" smtClean="0"/>
            </a:lvl1pPr>
            <a:lvl2pPr>
              <a:defRPr lang="fr-FR" dirty="0" smtClean="0"/>
            </a:lvl2pPr>
            <a:lvl3pPr>
              <a:defRPr lang="fr-FR" dirty="0" smtClean="0"/>
            </a:lvl3pPr>
            <a:lvl4pPr>
              <a:defRPr lang="fr-FR" dirty="0" smtClean="0"/>
            </a:lvl4pPr>
            <a:lvl5pPr>
              <a:defRPr lang="fr-FR" dirty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250827" y="1114090"/>
            <a:ext cx="4177159" cy="37754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marL="0" indent="0">
              <a:buNone/>
              <a:defRPr lang="fr-FR" sz="2000" b="1" dirty="0" smtClean="0">
                <a:solidFill>
                  <a:schemeClr val="tx2"/>
                </a:solidFill>
                <a:latin typeface="Helvetica 75 Bold" panose="020B0804020202020204" pitchFamily="34" charset="0"/>
              </a:defRPr>
            </a:lvl1pPr>
            <a:lvl2pPr>
              <a:defRPr lang="fr-FR" dirty="0" smtClean="0"/>
            </a:lvl2pPr>
            <a:lvl3pPr>
              <a:defRPr lang="fr-FR" dirty="0" smtClean="0"/>
            </a:lvl3pPr>
            <a:lvl4pPr>
              <a:defRPr lang="fr-FR" dirty="0" smtClean="0"/>
            </a:lvl4pPr>
            <a:lvl5pPr>
              <a:defRPr lang="fr-FR" dirty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4758453" y="1114090"/>
            <a:ext cx="4177159" cy="37754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marL="0" indent="0">
              <a:buNone/>
              <a:defRPr lang="fr-FR" sz="2000" b="1" dirty="0" smtClean="0">
                <a:solidFill>
                  <a:schemeClr val="tx2"/>
                </a:solidFill>
                <a:latin typeface="Helvetica 75 Bold" panose="020B0804020202020204" pitchFamily="34" charset="0"/>
              </a:defRPr>
            </a:lvl1pPr>
            <a:lvl2pPr>
              <a:defRPr lang="fr-FR" dirty="0" smtClean="0"/>
            </a:lvl2pPr>
            <a:lvl3pPr>
              <a:defRPr lang="fr-FR" dirty="0" smtClean="0"/>
            </a:lvl3pPr>
            <a:lvl4pPr>
              <a:defRPr lang="fr-FR" dirty="0" smtClean="0"/>
            </a:lvl4pPr>
            <a:lvl5pPr>
              <a:defRPr lang="fr-FR" dirty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12481538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62"/>
          <p:cNvSpPr>
            <a:spLocks noChangeArrowheads="1"/>
          </p:cNvSpPr>
          <p:nvPr userDrawn="1"/>
        </p:nvSpPr>
        <p:spPr bwMode="auto">
          <a:xfrm rot="16200000">
            <a:off x="7676357" y="3601244"/>
            <a:ext cx="2795587" cy="18732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45717" rIns="0" bIns="45717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327" eaLnBrk="1" hangingPunct="1">
              <a:defRPr/>
            </a:pPr>
            <a:r>
              <a:rPr lang="en-GB" altLang="fr-FR" sz="700" dirty="0" smtClean="0">
                <a:solidFill>
                  <a:srgbClr val="7F7F7F"/>
                </a:solidFill>
                <a:latin typeface="Helvetica 55 Roman" pitchFamily="2" charset="0"/>
                <a:ea typeface="+mn-ea"/>
              </a:rPr>
              <a:t>Interne</a:t>
            </a:r>
            <a:r>
              <a:rPr lang="en-US" altLang="fr-FR" sz="700" dirty="0" smtClean="0">
                <a:solidFill>
                  <a:srgbClr val="7F7F7F"/>
                </a:solidFill>
                <a:latin typeface="Helvetica 55 Roman" pitchFamily="2" charset="0"/>
                <a:ea typeface="+mn-ea"/>
              </a:rPr>
              <a:t> Orange – DR Orange Open pro partagé </a:t>
            </a:r>
          </a:p>
        </p:txBody>
      </p:sp>
      <p:sp>
        <p:nvSpPr>
          <p:cNvPr id="4" name="ZoneTexte 3"/>
          <p:cNvSpPr txBox="1">
            <a:spLocks noChangeArrowheads="1"/>
          </p:cNvSpPr>
          <p:nvPr userDrawn="1"/>
        </p:nvSpPr>
        <p:spPr bwMode="auto">
          <a:xfrm>
            <a:off x="107950" y="4779963"/>
            <a:ext cx="23018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7" rIns="0" bIns="45717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327">
              <a:defRPr/>
            </a:pPr>
            <a:fld id="{C9C8FB74-B205-4640-9716-EBC146B3D8BE}" type="slidenum">
              <a:rPr lang="fr-FR" altLang="fr-FR" sz="800" smtClean="0">
                <a:solidFill>
                  <a:srgbClr val="000000"/>
                </a:solidFill>
                <a:latin typeface="Helvetica 55 Roman" panose="020B0604020202020204" pitchFamily="2" charset="0"/>
                <a:ea typeface="+mn-ea"/>
                <a:cs typeface="Arial" charset="0"/>
              </a:rPr>
              <a:pPr defTabSz="914327">
                <a:defRPr/>
              </a:pPr>
              <a:t>‹N°›</a:t>
            </a:fld>
            <a:endParaRPr lang="fr-FR" altLang="fr-FR" sz="800" dirty="0" smtClean="0">
              <a:solidFill>
                <a:srgbClr val="000000"/>
              </a:solidFill>
              <a:latin typeface="Helvetica 55 Roman" panose="020B0604020202020204" pitchFamily="2" charset="0"/>
              <a:ea typeface="+mn-ea"/>
              <a:cs typeface="Arial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231528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62"/>
          <p:cNvSpPr>
            <a:spLocks noChangeArrowheads="1"/>
          </p:cNvSpPr>
          <p:nvPr userDrawn="1"/>
        </p:nvSpPr>
        <p:spPr bwMode="auto">
          <a:xfrm rot="16200000">
            <a:off x="7676357" y="3601244"/>
            <a:ext cx="2795587" cy="18732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45717" rIns="0" bIns="45717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327" eaLnBrk="1" hangingPunct="1">
              <a:defRPr/>
            </a:pPr>
            <a:r>
              <a:rPr lang="en-GB" altLang="fr-FR" sz="700" dirty="0" smtClean="0">
                <a:solidFill>
                  <a:srgbClr val="7F7F7F"/>
                </a:solidFill>
                <a:latin typeface="Helvetica 55 Roman" pitchFamily="2" charset="0"/>
                <a:ea typeface="+mn-ea"/>
              </a:rPr>
              <a:t>Interne</a:t>
            </a:r>
            <a:r>
              <a:rPr lang="en-US" altLang="fr-FR" sz="700" dirty="0" smtClean="0">
                <a:solidFill>
                  <a:srgbClr val="7F7F7F"/>
                </a:solidFill>
                <a:latin typeface="Helvetica 55 Roman" pitchFamily="2" charset="0"/>
                <a:ea typeface="+mn-ea"/>
              </a:rPr>
              <a:t> Orange – DR Orange Open pro partagé </a:t>
            </a:r>
          </a:p>
        </p:txBody>
      </p:sp>
      <p:sp>
        <p:nvSpPr>
          <p:cNvPr id="3" name="ZoneTexte 2"/>
          <p:cNvSpPr txBox="1">
            <a:spLocks noChangeArrowheads="1"/>
          </p:cNvSpPr>
          <p:nvPr userDrawn="1"/>
        </p:nvSpPr>
        <p:spPr bwMode="auto">
          <a:xfrm>
            <a:off x="107950" y="4779963"/>
            <a:ext cx="23018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7" rIns="0" bIns="45717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327">
              <a:defRPr/>
            </a:pPr>
            <a:fld id="{F7BCB7CD-8A2B-4498-8458-30E8C7A0BDFB}" type="slidenum">
              <a:rPr lang="fr-FR" altLang="fr-FR" sz="800" smtClean="0">
                <a:solidFill>
                  <a:srgbClr val="000000"/>
                </a:solidFill>
                <a:latin typeface="Helvetica 55 Roman" panose="020B0604020202020204" pitchFamily="2" charset="0"/>
                <a:ea typeface="+mn-ea"/>
                <a:cs typeface="Arial" charset="0"/>
              </a:rPr>
              <a:pPr defTabSz="914327">
                <a:defRPr/>
              </a:pPr>
              <a:t>‹N°›</a:t>
            </a:fld>
            <a:endParaRPr lang="fr-FR" altLang="fr-FR" sz="800" dirty="0" smtClean="0">
              <a:solidFill>
                <a:srgbClr val="000000"/>
              </a:solidFill>
              <a:latin typeface="Helvetica 55 Roman" panose="020B0604020202020204" pitchFamily="2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811642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EMTA8361\Documents\Divers\Logos\O BS logo bottom right_RGB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6338" y="4300538"/>
            <a:ext cx="1319212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63558" y="1597821"/>
            <a:ext cx="8474400" cy="1679178"/>
          </a:xfrm>
        </p:spPr>
        <p:txBody>
          <a:bodyPr>
            <a:spAutoFit/>
          </a:bodyPr>
          <a:lstStyle>
            <a:lvl1pPr>
              <a:defRPr sz="4400" b="0"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363557" y="2400302"/>
            <a:ext cx="8474400" cy="947952"/>
          </a:xfrm>
        </p:spPr>
        <p:txBody>
          <a:bodyPr>
            <a:spAutoFit/>
          </a:bodyPr>
          <a:lstStyle>
            <a:lvl1pPr marL="344461" indent="-344461">
              <a:buClr>
                <a:schemeClr val="bg1">
                  <a:lumMod val="50000"/>
                  <a:lumOff val="50000"/>
                </a:schemeClr>
              </a:buClr>
              <a:buSzPct val="100000"/>
              <a:buFont typeface="Helvetica 35 Thin" pitchFamily="34" charset="0"/>
              <a:buChar char="&gt;"/>
              <a:defRPr sz="2800">
                <a:solidFill>
                  <a:schemeClr val="bg1">
                    <a:lumMod val="50000"/>
                    <a:lumOff val="50000"/>
                  </a:schemeClr>
                </a:solidFill>
                <a:latin typeface="Helvetica 75 Bold" panose="020B0804020202020204" pitchFamily="34" charset="0"/>
              </a:defRPr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1"/>
          </p:nvPr>
        </p:nvSpPr>
        <p:spPr>
          <a:xfrm>
            <a:off x="363556" y="3314703"/>
            <a:ext cx="8474400" cy="236988"/>
          </a:xfrm>
        </p:spPr>
        <p:txBody>
          <a:bodyPr>
            <a:spAutoFit/>
          </a:bodyPr>
          <a:lstStyle>
            <a:lvl1pPr marL="0" indent="0">
              <a:buNone/>
              <a:defRPr sz="1400"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6894854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5" tIns="45713" rIns="91425" bIns="45713" anchor="ctr"/>
          <a:lstStyle/>
          <a:p>
            <a:pPr algn="ctr" defTabSz="712673">
              <a:defRPr/>
            </a:pPr>
            <a:endParaRPr lang="en-GB" dirty="0"/>
          </a:p>
        </p:txBody>
      </p:sp>
      <p:grpSp>
        <p:nvGrpSpPr>
          <p:cNvPr id="6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12813"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1pPr>
              <a:lvl2pPr defTabSz="912813"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2pPr>
              <a:lvl3pPr defTabSz="912813"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3pPr>
              <a:lvl4pPr defTabSz="912813"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4pPr>
              <a:lvl5pPr defTabSz="912813"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5pPr>
              <a:lvl6pPr marL="1881188" indent="401638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6pPr>
              <a:lvl7pPr marL="2338388" indent="401638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7pPr>
              <a:lvl8pPr marL="2795588" indent="401638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8pPr>
              <a:lvl9pPr marL="3252788" indent="401638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smtClean="0">
                <a:solidFill>
                  <a:srgbClr val="FF6600"/>
                </a:solidFill>
                <a:latin typeface="Helvetica 75 Bold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7 w 104"/>
                <a:gd name="T1" fmla="*/ 2147483647 h 122"/>
                <a:gd name="T2" fmla="*/ 2147483647 w 104"/>
                <a:gd name="T3" fmla="*/ 2147483647 h 122"/>
                <a:gd name="T4" fmla="*/ 2147483647 w 104"/>
                <a:gd name="T5" fmla="*/ 2147483647 h 122"/>
                <a:gd name="T6" fmla="*/ 2147483647 w 104"/>
                <a:gd name="T7" fmla="*/ 2147483647 h 122"/>
                <a:gd name="T8" fmla="*/ 2147483647 w 104"/>
                <a:gd name="T9" fmla="*/ 2147483647 h 122"/>
                <a:gd name="T10" fmla="*/ 2147483647 w 104"/>
                <a:gd name="T11" fmla="*/ 2147483647 h 122"/>
                <a:gd name="T12" fmla="*/ 2147483647 w 104"/>
                <a:gd name="T13" fmla="*/ 2147483647 h 122"/>
                <a:gd name="T14" fmla="*/ 0 w 104"/>
                <a:gd name="T15" fmla="*/ 2147483647 h 122"/>
                <a:gd name="T16" fmla="*/ 2147483647 w 104"/>
                <a:gd name="T17" fmla="*/ 2147483647 h 122"/>
                <a:gd name="T18" fmla="*/ 2147483647 w 104"/>
                <a:gd name="T19" fmla="*/ 2147483647 h 122"/>
                <a:gd name="T20" fmla="*/ 2147483647 w 104"/>
                <a:gd name="T21" fmla="*/ 2147483647 h 122"/>
                <a:gd name="T22" fmla="*/ 2147483647 w 104"/>
                <a:gd name="T23" fmla="*/ 2147483647 h 122"/>
                <a:gd name="T24" fmla="*/ 2147483647 w 104"/>
                <a:gd name="T25" fmla="*/ 2147483647 h 122"/>
                <a:gd name="T26" fmla="*/ 2147483647 w 104"/>
                <a:gd name="T27" fmla="*/ 0 h 122"/>
                <a:gd name="T28" fmla="*/ 2147483647 w 104"/>
                <a:gd name="T29" fmla="*/ 2147483647 h 122"/>
                <a:gd name="T30" fmla="*/ 2147483647 w 104"/>
                <a:gd name="T31" fmla="*/ 2147483647 h 122"/>
                <a:gd name="T32" fmla="*/ 2147483647 w 104"/>
                <a:gd name="T33" fmla="*/ 2147483647 h 122"/>
                <a:gd name="T34" fmla="*/ 2147483647 w 104"/>
                <a:gd name="T35" fmla="*/ 2147483647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7 h 120"/>
                <a:gd name="T2" fmla="*/ 2147483647 w 105"/>
                <a:gd name="T3" fmla="*/ 2147483647 h 120"/>
                <a:gd name="T4" fmla="*/ 2147483647 w 105"/>
                <a:gd name="T5" fmla="*/ 2147483647 h 120"/>
                <a:gd name="T6" fmla="*/ 2147483647 w 105"/>
                <a:gd name="T7" fmla="*/ 0 h 120"/>
                <a:gd name="T8" fmla="*/ 2147483647 w 105"/>
                <a:gd name="T9" fmla="*/ 2147483647 h 120"/>
                <a:gd name="T10" fmla="*/ 2147483647 w 105"/>
                <a:gd name="T11" fmla="*/ 2147483647 h 120"/>
                <a:gd name="T12" fmla="*/ 2147483647 w 105"/>
                <a:gd name="T13" fmla="*/ 2147483647 h 120"/>
                <a:gd name="T14" fmla="*/ 2147483647 w 105"/>
                <a:gd name="T15" fmla="*/ 2147483647 h 120"/>
                <a:gd name="T16" fmla="*/ 2147483647 w 105"/>
                <a:gd name="T17" fmla="*/ 2147483647 h 120"/>
                <a:gd name="T18" fmla="*/ 2147483647 w 105"/>
                <a:gd name="T19" fmla="*/ 2147483647 h 120"/>
                <a:gd name="T20" fmla="*/ 2147483647 w 105"/>
                <a:gd name="T21" fmla="*/ 2147483647 h 120"/>
                <a:gd name="T22" fmla="*/ 0 w 105"/>
                <a:gd name="T23" fmla="*/ 2147483647 h 120"/>
                <a:gd name="T24" fmla="*/ 0 w 105"/>
                <a:gd name="T25" fmla="*/ 2147483647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7 w 109"/>
                <a:gd name="T1" fmla="*/ 2147483647 h 122"/>
                <a:gd name="T2" fmla="*/ 2147483647 w 109"/>
                <a:gd name="T3" fmla="*/ 2147483647 h 122"/>
                <a:gd name="T4" fmla="*/ 2147483647 w 109"/>
                <a:gd name="T5" fmla="*/ 2147483647 h 122"/>
                <a:gd name="T6" fmla="*/ 2147483647 w 109"/>
                <a:gd name="T7" fmla="*/ 2147483647 h 122"/>
                <a:gd name="T8" fmla="*/ 2147483647 w 109"/>
                <a:gd name="T9" fmla="*/ 2147483647 h 122"/>
                <a:gd name="T10" fmla="*/ 0 w 109"/>
                <a:gd name="T11" fmla="*/ 2147483647 h 122"/>
                <a:gd name="T12" fmla="*/ 2147483647 w 109"/>
                <a:gd name="T13" fmla="*/ 0 h 122"/>
                <a:gd name="T14" fmla="*/ 2147483647 w 109"/>
                <a:gd name="T15" fmla="*/ 2147483647 h 122"/>
                <a:gd name="T16" fmla="*/ 2147483647 w 109"/>
                <a:gd name="T17" fmla="*/ 2147483647 h 122"/>
                <a:gd name="T18" fmla="*/ 2147483647 w 109"/>
                <a:gd name="T19" fmla="*/ 2147483647 h 122"/>
                <a:gd name="T20" fmla="*/ 2147483647 w 109"/>
                <a:gd name="T21" fmla="*/ 2147483647 h 122"/>
                <a:gd name="T22" fmla="*/ 2147483647 w 109"/>
                <a:gd name="T23" fmla="*/ 2147483647 h 122"/>
                <a:gd name="T24" fmla="*/ 2147483647 w 109"/>
                <a:gd name="T25" fmla="*/ 2147483647 h 122"/>
                <a:gd name="T26" fmla="*/ 2147483647 w 109"/>
                <a:gd name="T27" fmla="*/ 2147483647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7 w 116"/>
                <a:gd name="T1" fmla="*/ 2147483647 h 124"/>
                <a:gd name="T2" fmla="*/ 2147483647 w 116"/>
                <a:gd name="T3" fmla="*/ 2147483647 h 124"/>
                <a:gd name="T4" fmla="*/ 2147483647 w 116"/>
                <a:gd name="T5" fmla="*/ 2147483647 h 124"/>
                <a:gd name="T6" fmla="*/ 2147483647 w 116"/>
                <a:gd name="T7" fmla="*/ 2147483647 h 124"/>
                <a:gd name="T8" fmla="*/ 2147483647 w 116"/>
                <a:gd name="T9" fmla="*/ 2147483647 h 124"/>
                <a:gd name="T10" fmla="*/ 2147483647 w 116"/>
                <a:gd name="T11" fmla="*/ 2147483647 h 124"/>
                <a:gd name="T12" fmla="*/ 0 w 116"/>
                <a:gd name="T13" fmla="*/ 2147483647 h 124"/>
                <a:gd name="T14" fmla="*/ 2147483647 w 116"/>
                <a:gd name="T15" fmla="*/ 0 h 124"/>
                <a:gd name="T16" fmla="*/ 2147483647 w 116"/>
                <a:gd name="T17" fmla="*/ 2147483647 h 124"/>
                <a:gd name="T18" fmla="*/ 2147483647 w 116"/>
                <a:gd name="T19" fmla="*/ 2147483647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7 h 120"/>
                <a:gd name="T2" fmla="*/ 2147483647 w 66"/>
                <a:gd name="T3" fmla="*/ 2147483647 h 120"/>
                <a:gd name="T4" fmla="*/ 2147483647 w 66"/>
                <a:gd name="T5" fmla="*/ 2147483647 h 120"/>
                <a:gd name="T6" fmla="*/ 2147483647 w 66"/>
                <a:gd name="T7" fmla="*/ 0 h 120"/>
                <a:gd name="T8" fmla="*/ 2147483647 w 66"/>
                <a:gd name="T9" fmla="*/ 2147483647 h 120"/>
                <a:gd name="T10" fmla="*/ 2147483647 w 66"/>
                <a:gd name="T11" fmla="*/ 2147483647 h 120"/>
                <a:gd name="T12" fmla="*/ 2147483647 w 66"/>
                <a:gd name="T13" fmla="*/ 2147483647 h 120"/>
                <a:gd name="T14" fmla="*/ 2147483647 w 66"/>
                <a:gd name="T15" fmla="*/ 2147483647 h 120"/>
                <a:gd name="T16" fmla="*/ 2147483647 w 66"/>
                <a:gd name="T17" fmla="*/ 2147483647 h 120"/>
                <a:gd name="T18" fmla="*/ 0 w 66"/>
                <a:gd name="T19" fmla="*/ 2147483647 h 120"/>
                <a:gd name="T20" fmla="*/ 0 w 66"/>
                <a:gd name="T21" fmla="*/ 2147483647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7 w 110"/>
                <a:gd name="T1" fmla="*/ 2147483647 h 166"/>
                <a:gd name="T2" fmla="*/ 2147483647 w 110"/>
                <a:gd name="T3" fmla="*/ 2147483647 h 166"/>
                <a:gd name="T4" fmla="*/ 2147483647 w 110"/>
                <a:gd name="T5" fmla="*/ 2147483647 h 166"/>
                <a:gd name="T6" fmla="*/ 2147483647 w 110"/>
                <a:gd name="T7" fmla="*/ 2147483647 h 166"/>
                <a:gd name="T8" fmla="*/ 2147483647 w 110"/>
                <a:gd name="T9" fmla="*/ 2147483647 h 166"/>
                <a:gd name="T10" fmla="*/ 2147483647 w 110"/>
                <a:gd name="T11" fmla="*/ 2147483647 h 166"/>
                <a:gd name="T12" fmla="*/ 2147483647 w 110"/>
                <a:gd name="T13" fmla="*/ 2147483647 h 166"/>
                <a:gd name="T14" fmla="*/ 2147483647 w 110"/>
                <a:gd name="T15" fmla="*/ 2147483647 h 166"/>
                <a:gd name="T16" fmla="*/ 2147483647 w 110"/>
                <a:gd name="T17" fmla="*/ 2147483647 h 166"/>
                <a:gd name="T18" fmla="*/ 2147483647 w 110"/>
                <a:gd name="T19" fmla="*/ 2147483647 h 166"/>
                <a:gd name="T20" fmla="*/ 0 w 110"/>
                <a:gd name="T21" fmla="*/ 2147483647 h 166"/>
                <a:gd name="T22" fmla="*/ 2147483647 w 110"/>
                <a:gd name="T23" fmla="*/ 0 h 166"/>
                <a:gd name="T24" fmla="*/ 2147483647 w 110"/>
                <a:gd name="T25" fmla="*/ 2147483647 h 166"/>
                <a:gd name="T26" fmla="*/ 2147483647 w 110"/>
                <a:gd name="T27" fmla="*/ 2147483647 h 166"/>
                <a:gd name="T28" fmla="*/ 2147483647 w 110"/>
                <a:gd name="T29" fmla="*/ 2147483647 h 166"/>
                <a:gd name="T30" fmla="*/ 2147483647 w 110"/>
                <a:gd name="T31" fmla="*/ 2147483647 h 166"/>
                <a:gd name="T32" fmla="*/ 2147483647 w 110"/>
                <a:gd name="T33" fmla="*/ 2147483647 h 166"/>
                <a:gd name="T34" fmla="*/ 2147483647 w 110"/>
                <a:gd name="T35" fmla="*/ 2147483647 h 166"/>
                <a:gd name="T36" fmla="*/ 2147483647 w 110"/>
                <a:gd name="T37" fmla="*/ 2147483647 h 166"/>
                <a:gd name="T38" fmla="*/ 2147483647 w 110"/>
                <a:gd name="T39" fmla="*/ 2147483647 h 166"/>
                <a:gd name="T40" fmla="*/ 2147483647 w 110"/>
                <a:gd name="T41" fmla="*/ 2147483647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7 w 195"/>
                <a:gd name="T1" fmla="*/ 2147483647 h 92"/>
                <a:gd name="T2" fmla="*/ 2147483647 w 195"/>
                <a:gd name="T3" fmla="*/ 2147483647 h 92"/>
                <a:gd name="T4" fmla="*/ 2147483647 w 195"/>
                <a:gd name="T5" fmla="*/ 2147483647 h 92"/>
                <a:gd name="T6" fmla="*/ 2147483647 w 195"/>
                <a:gd name="T7" fmla="*/ 2147483647 h 92"/>
                <a:gd name="T8" fmla="*/ 2147483647 w 195"/>
                <a:gd name="T9" fmla="*/ 2147483647 h 92"/>
                <a:gd name="T10" fmla="*/ 2147483647 w 195"/>
                <a:gd name="T11" fmla="*/ 2147483647 h 92"/>
                <a:gd name="T12" fmla="*/ 2147483647 w 195"/>
                <a:gd name="T13" fmla="*/ 2147483647 h 92"/>
                <a:gd name="T14" fmla="*/ 2147483647 w 195"/>
                <a:gd name="T15" fmla="*/ 2147483647 h 92"/>
                <a:gd name="T16" fmla="*/ 2147483647 w 195"/>
                <a:gd name="T17" fmla="*/ 2147483647 h 92"/>
                <a:gd name="T18" fmla="*/ 2147483647 w 195"/>
                <a:gd name="T19" fmla="*/ 2147483647 h 92"/>
                <a:gd name="T20" fmla="*/ 2147483647 w 195"/>
                <a:gd name="T21" fmla="*/ 0 h 92"/>
                <a:gd name="T22" fmla="*/ 2147483647 w 195"/>
                <a:gd name="T23" fmla="*/ 0 h 92"/>
                <a:gd name="T24" fmla="*/ 2147483647 w 195"/>
                <a:gd name="T25" fmla="*/ 2147483647 h 92"/>
                <a:gd name="T26" fmla="*/ 2147483647 w 195"/>
                <a:gd name="T27" fmla="*/ 0 h 92"/>
                <a:gd name="T28" fmla="*/ 2147483647 w 195"/>
                <a:gd name="T29" fmla="*/ 0 h 92"/>
                <a:gd name="T30" fmla="*/ 2147483647 w 195"/>
                <a:gd name="T31" fmla="*/ 2147483647 h 92"/>
                <a:gd name="T32" fmla="*/ 2147483647 w 195"/>
                <a:gd name="T33" fmla="*/ 2147483647 h 92"/>
                <a:gd name="T34" fmla="*/ 2147483647 w 195"/>
                <a:gd name="T35" fmla="*/ 2147483647 h 92"/>
                <a:gd name="T36" fmla="*/ 2147483647 w 195"/>
                <a:gd name="T37" fmla="*/ 2147483647 h 92"/>
                <a:gd name="T38" fmla="*/ 2147483647 w 195"/>
                <a:gd name="T39" fmla="*/ 2147483647 h 92"/>
                <a:gd name="T40" fmla="*/ 2147483647 w 195"/>
                <a:gd name="T41" fmla="*/ 2147483647 h 92"/>
                <a:gd name="T42" fmla="*/ 0 w 195"/>
                <a:gd name="T43" fmla="*/ 2147483647 h 92"/>
                <a:gd name="T44" fmla="*/ 0 w 195"/>
                <a:gd name="T45" fmla="*/ 0 h 92"/>
                <a:gd name="T46" fmla="*/ 2147483647 w 195"/>
                <a:gd name="T47" fmla="*/ 0 h 92"/>
                <a:gd name="T48" fmla="*/ 2147483647 w 195"/>
                <a:gd name="T49" fmla="*/ 2147483647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5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4" y="339726"/>
            <a:ext cx="2301875" cy="3460750"/>
          </a:xfrm>
        </p:spPr>
        <p:txBody>
          <a:bodyPr tIns="109711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800998882"/>
      </p:ext>
    </p:extLst>
  </p:cSld>
  <p:clrMapOvr>
    <a:masterClrMapping/>
  </p:clrMapOvr>
  <p:transition spd="med">
    <p:fade/>
  </p:transition>
  <p:hf sldNum="0" hdr="0" ftr="0"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2788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6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5pPr>
              <a:lvl6pPr marL="18811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6pPr>
              <a:lvl7pPr marL="23383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7pPr>
              <a:lvl8pPr marL="27955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8pPr>
              <a:lvl9pPr marL="32527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smtClean="0">
                <a:solidFill>
                  <a:srgbClr val="FF6600"/>
                </a:solidFill>
                <a:latin typeface="Helvetica 75 Bold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7 w 104"/>
                <a:gd name="T1" fmla="*/ 2147483647 h 122"/>
                <a:gd name="T2" fmla="*/ 2147483647 w 104"/>
                <a:gd name="T3" fmla="*/ 2147483647 h 122"/>
                <a:gd name="T4" fmla="*/ 2147483647 w 104"/>
                <a:gd name="T5" fmla="*/ 2147483647 h 122"/>
                <a:gd name="T6" fmla="*/ 2147483647 w 104"/>
                <a:gd name="T7" fmla="*/ 2147483647 h 122"/>
                <a:gd name="T8" fmla="*/ 2147483647 w 104"/>
                <a:gd name="T9" fmla="*/ 2147483647 h 122"/>
                <a:gd name="T10" fmla="*/ 2147483647 w 104"/>
                <a:gd name="T11" fmla="*/ 2147483647 h 122"/>
                <a:gd name="T12" fmla="*/ 2147483647 w 104"/>
                <a:gd name="T13" fmla="*/ 2147483647 h 122"/>
                <a:gd name="T14" fmla="*/ 0 w 104"/>
                <a:gd name="T15" fmla="*/ 2147483647 h 122"/>
                <a:gd name="T16" fmla="*/ 2147483647 w 104"/>
                <a:gd name="T17" fmla="*/ 2147483647 h 122"/>
                <a:gd name="T18" fmla="*/ 2147483647 w 104"/>
                <a:gd name="T19" fmla="*/ 2147483647 h 122"/>
                <a:gd name="T20" fmla="*/ 2147483647 w 104"/>
                <a:gd name="T21" fmla="*/ 2147483647 h 122"/>
                <a:gd name="T22" fmla="*/ 2147483647 w 104"/>
                <a:gd name="T23" fmla="*/ 2147483647 h 122"/>
                <a:gd name="T24" fmla="*/ 2147483647 w 104"/>
                <a:gd name="T25" fmla="*/ 2147483647 h 122"/>
                <a:gd name="T26" fmla="*/ 2147483647 w 104"/>
                <a:gd name="T27" fmla="*/ 0 h 122"/>
                <a:gd name="T28" fmla="*/ 2147483647 w 104"/>
                <a:gd name="T29" fmla="*/ 2147483647 h 122"/>
                <a:gd name="T30" fmla="*/ 2147483647 w 104"/>
                <a:gd name="T31" fmla="*/ 2147483647 h 122"/>
                <a:gd name="T32" fmla="*/ 2147483647 w 104"/>
                <a:gd name="T33" fmla="*/ 2147483647 h 122"/>
                <a:gd name="T34" fmla="*/ 2147483647 w 104"/>
                <a:gd name="T35" fmla="*/ 2147483647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7 h 120"/>
                <a:gd name="T2" fmla="*/ 2147483647 w 105"/>
                <a:gd name="T3" fmla="*/ 2147483647 h 120"/>
                <a:gd name="T4" fmla="*/ 2147483647 w 105"/>
                <a:gd name="T5" fmla="*/ 2147483647 h 120"/>
                <a:gd name="T6" fmla="*/ 2147483647 w 105"/>
                <a:gd name="T7" fmla="*/ 0 h 120"/>
                <a:gd name="T8" fmla="*/ 2147483647 w 105"/>
                <a:gd name="T9" fmla="*/ 2147483647 h 120"/>
                <a:gd name="T10" fmla="*/ 2147483647 w 105"/>
                <a:gd name="T11" fmla="*/ 2147483647 h 120"/>
                <a:gd name="T12" fmla="*/ 2147483647 w 105"/>
                <a:gd name="T13" fmla="*/ 2147483647 h 120"/>
                <a:gd name="T14" fmla="*/ 2147483647 w 105"/>
                <a:gd name="T15" fmla="*/ 2147483647 h 120"/>
                <a:gd name="T16" fmla="*/ 2147483647 w 105"/>
                <a:gd name="T17" fmla="*/ 2147483647 h 120"/>
                <a:gd name="T18" fmla="*/ 2147483647 w 105"/>
                <a:gd name="T19" fmla="*/ 2147483647 h 120"/>
                <a:gd name="T20" fmla="*/ 2147483647 w 105"/>
                <a:gd name="T21" fmla="*/ 2147483647 h 120"/>
                <a:gd name="T22" fmla="*/ 0 w 105"/>
                <a:gd name="T23" fmla="*/ 2147483647 h 120"/>
                <a:gd name="T24" fmla="*/ 0 w 105"/>
                <a:gd name="T25" fmla="*/ 2147483647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7 w 109"/>
                <a:gd name="T1" fmla="*/ 2147483647 h 122"/>
                <a:gd name="T2" fmla="*/ 2147483647 w 109"/>
                <a:gd name="T3" fmla="*/ 2147483647 h 122"/>
                <a:gd name="T4" fmla="*/ 2147483647 w 109"/>
                <a:gd name="T5" fmla="*/ 2147483647 h 122"/>
                <a:gd name="T6" fmla="*/ 2147483647 w 109"/>
                <a:gd name="T7" fmla="*/ 2147483647 h 122"/>
                <a:gd name="T8" fmla="*/ 2147483647 w 109"/>
                <a:gd name="T9" fmla="*/ 2147483647 h 122"/>
                <a:gd name="T10" fmla="*/ 0 w 109"/>
                <a:gd name="T11" fmla="*/ 2147483647 h 122"/>
                <a:gd name="T12" fmla="*/ 2147483647 w 109"/>
                <a:gd name="T13" fmla="*/ 0 h 122"/>
                <a:gd name="T14" fmla="*/ 2147483647 w 109"/>
                <a:gd name="T15" fmla="*/ 2147483647 h 122"/>
                <a:gd name="T16" fmla="*/ 2147483647 w 109"/>
                <a:gd name="T17" fmla="*/ 2147483647 h 122"/>
                <a:gd name="T18" fmla="*/ 2147483647 w 109"/>
                <a:gd name="T19" fmla="*/ 2147483647 h 122"/>
                <a:gd name="T20" fmla="*/ 2147483647 w 109"/>
                <a:gd name="T21" fmla="*/ 2147483647 h 122"/>
                <a:gd name="T22" fmla="*/ 2147483647 w 109"/>
                <a:gd name="T23" fmla="*/ 2147483647 h 122"/>
                <a:gd name="T24" fmla="*/ 2147483647 w 109"/>
                <a:gd name="T25" fmla="*/ 2147483647 h 122"/>
                <a:gd name="T26" fmla="*/ 2147483647 w 109"/>
                <a:gd name="T27" fmla="*/ 2147483647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7 w 116"/>
                <a:gd name="T1" fmla="*/ 2147483647 h 124"/>
                <a:gd name="T2" fmla="*/ 2147483647 w 116"/>
                <a:gd name="T3" fmla="*/ 2147483647 h 124"/>
                <a:gd name="T4" fmla="*/ 2147483647 w 116"/>
                <a:gd name="T5" fmla="*/ 2147483647 h 124"/>
                <a:gd name="T6" fmla="*/ 2147483647 w 116"/>
                <a:gd name="T7" fmla="*/ 2147483647 h 124"/>
                <a:gd name="T8" fmla="*/ 2147483647 w 116"/>
                <a:gd name="T9" fmla="*/ 2147483647 h 124"/>
                <a:gd name="T10" fmla="*/ 2147483647 w 116"/>
                <a:gd name="T11" fmla="*/ 2147483647 h 124"/>
                <a:gd name="T12" fmla="*/ 0 w 116"/>
                <a:gd name="T13" fmla="*/ 2147483647 h 124"/>
                <a:gd name="T14" fmla="*/ 2147483647 w 116"/>
                <a:gd name="T15" fmla="*/ 0 h 124"/>
                <a:gd name="T16" fmla="*/ 2147483647 w 116"/>
                <a:gd name="T17" fmla="*/ 2147483647 h 124"/>
                <a:gd name="T18" fmla="*/ 2147483647 w 116"/>
                <a:gd name="T19" fmla="*/ 2147483647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7 h 120"/>
                <a:gd name="T2" fmla="*/ 2147483647 w 66"/>
                <a:gd name="T3" fmla="*/ 2147483647 h 120"/>
                <a:gd name="T4" fmla="*/ 2147483647 w 66"/>
                <a:gd name="T5" fmla="*/ 2147483647 h 120"/>
                <a:gd name="T6" fmla="*/ 2147483647 w 66"/>
                <a:gd name="T7" fmla="*/ 0 h 120"/>
                <a:gd name="T8" fmla="*/ 2147483647 w 66"/>
                <a:gd name="T9" fmla="*/ 2147483647 h 120"/>
                <a:gd name="T10" fmla="*/ 2147483647 w 66"/>
                <a:gd name="T11" fmla="*/ 2147483647 h 120"/>
                <a:gd name="T12" fmla="*/ 2147483647 w 66"/>
                <a:gd name="T13" fmla="*/ 2147483647 h 120"/>
                <a:gd name="T14" fmla="*/ 2147483647 w 66"/>
                <a:gd name="T15" fmla="*/ 2147483647 h 120"/>
                <a:gd name="T16" fmla="*/ 2147483647 w 66"/>
                <a:gd name="T17" fmla="*/ 2147483647 h 120"/>
                <a:gd name="T18" fmla="*/ 0 w 66"/>
                <a:gd name="T19" fmla="*/ 2147483647 h 120"/>
                <a:gd name="T20" fmla="*/ 0 w 66"/>
                <a:gd name="T21" fmla="*/ 2147483647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7 w 110"/>
                <a:gd name="T1" fmla="*/ 2147483647 h 166"/>
                <a:gd name="T2" fmla="*/ 2147483647 w 110"/>
                <a:gd name="T3" fmla="*/ 2147483647 h 166"/>
                <a:gd name="T4" fmla="*/ 2147483647 w 110"/>
                <a:gd name="T5" fmla="*/ 2147483647 h 166"/>
                <a:gd name="T6" fmla="*/ 2147483647 w 110"/>
                <a:gd name="T7" fmla="*/ 2147483647 h 166"/>
                <a:gd name="T8" fmla="*/ 2147483647 w 110"/>
                <a:gd name="T9" fmla="*/ 2147483647 h 166"/>
                <a:gd name="T10" fmla="*/ 2147483647 w 110"/>
                <a:gd name="T11" fmla="*/ 2147483647 h 166"/>
                <a:gd name="T12" fmla="*/ 2147483647 w 110"/>
                <a:gd name="T13" fmla="*/ 2147483647 h 166"/>
                <a:gd name="T14" fmla="*/ 2147483647 w 110"/>
                <a:gd name="T15" fmla="*/ 2147483647 h 166"/>
                <a:gd name="T16" fmla="*/ 2147483647 w 110"/>
                <a:gd name="T17" fmla="*/ 2147483647 h 166"/>
                <a:gd name="T18" fmla="*/ 2147483647 w 110"/>
                <a:gd name="T19" fmla="*/ 2147483647 h 166"/>
                <a:gd name="T20" fmla="*/ 0 w 110"/>
                <a:gd name="T21" fmla="*/ 2147483647 h 166"/>
                <a:gd name="T22" fmla="*/ 2147483647 w 110"/>
                <a:gd name="T23" fmla="*/ 0 h 166"/>
                <a:gd name="T24" fmla="*/ 2147483647 w 110"/>
                <a:gd name="T25" fmla="*/ 2147483647 h 166"/>
                <a:gd name="T26" fmla="*/ 2147483647 w 110"/>
                <a:gd name="T27" fmla="*/ 2147483647 h 166"/>
                <a:gd name="T28" fmla="*/ 2147483647 w 110"/>
                <a:gd name="T29" fmla="*/ 2147483647 h 166"/>
                <a:gd name="T30" fmla="*/ 2147483647 w 110"/>
                <a:gd name="T31" fmla="*/ 2147483647 h 166"/>
                <a:gd name="T32" fmla="*/ 2147483647 w 110"/>
                <a:gd name="T33" fmla="*/ 2147483647 h 166"/>
                <a:gd name="T34" fmla="*/ 2147483647 w 110"/>
                <a:gd name="T35" fmla="*/ 2147483647 h 166"/>
                <a:gd name="T36" fmla="*/ 2147483647 w 110"/>
                <a:gd name="T37" fmla="*/ 2147483647 h 166"/>
                <a:gd name="T38" fmla="*/ 2147483647 w 110"/>
                <a:gd name="T39" fmla="*/ 2147483647 h 166"/>
                <a:gd name="T40" fmla="*/ 2147483647 w 110"/>
                <a:gd name="T41" fmla="*/ 2147483647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7 w 195"/>
                <a:gd name="T1" fmla="*/ 2147483647 h 92"/>
                <a:gd name="T2" fmla="*/ 2147483647 w 195"/>
                <a:gd name="T3" fmla="*/ 2147483647 h 92"/>
                <a:gd name="T4" fmla="*/ 2147483647 w 195"/>
                <a:gd name="T5" fmla="*/ 2147483647 h 92"/>
                <a:gd name="T6" fmla="*/ 2147483647 w 195"/>
                <a:gd name="T7" fmla="*/ 2147483647 h 92"/>
                <a:gd name="T8" fmla="*/ 2147483647 w 195"/>
                <a:gd name="T9" fmla="*/ 2147483647 h 92"/>
                <a:gd name="T10" fmla="*/ 2147483647 w 195"/>
                <a:gd name="T11" fmla="*/ 2147483647 h 92"/>
                <a:gd name="T12" fmla="*/ 2147483647 w 195"/>
                <a:gd name="T13" fmla="*/ 2147483647 h 92"/>
                <a:gd name="T14" fmla="*/ 2147483647 w 195"/>
                <a:gd name="T15" fmla="*/ 2147483647 h 92"/>
                <a:gd name="T16" fmla="*/ 2147483647 w 195"/>
                <a:gd name="T17" fmla="*/ 2147483647 h 92"/>
                <a:gd name="T18" fmla="*/ 2147483647 w 195"/>
                <a:gd name="T19" fmla="*/ 2147483647 h 92"/>
                <a:gd name="T20" fmla="*/ 2147483647 w 195"/>
                <a:gd name="T21" fmla="*/ 0 h 92"/>
                <a:gd name="T22" fmla="*/ 2147483647 w 195"/>
                <a:gd name="T23" fmla="*/ 0 h 92"/>
                <a:gd name="T24" fmla="*/ 2147483647 w 195"/>
                <a:gd name="T25" fmla="*/ 2147483647 h 92"/>
                <a:gd name="T26" fmla="*/ 2147483647 w 195"/>
                <a:gd name="T27" fmla="*/ 0 h 92"/>
                <a:gd name="T28" fmla="*/ 2147483647 w 195"/>
                <a:gd name="T29" fmla="*/ 0 h 92"/>
                <a:gd name="T30" fmla="*/ 2147483647 w 195"/>
                <a:gd name="T31" fmla="*/ 2147483647 h 92"/>
                <a:gd name="T32" fmla="*/ 2147483647 w 195"/>
                <a:gd name="T33" fmla="*/ 2147483647 h 92"/>
                <a:gd name="T34" fmla="*/ 2147483647 w 195"/>
                <a:gd name="T35" fmla="*/ 2147483647 h 92"/>
                <a:gd name="T36" fmla="*/ 2147483647 w 195"/>
                <a:gd name="T37" fmla="*/ 2147483647 h 92"/>
                <a:gd name="T38" fmla="*/ 2147483647 w 195"/>
                <a:gd name="T39" fmla="*/ 2147483647 h 92"/>
                <a:gd name="T40" fmla="*/ 2147483647 w 195"/>
                <a:gd name="T41" fmla="*/ 2147483647 h 92"/>
                <a:gd name="T42" fmla="*/ 0 w 195"/>
                <a:gd name="T43" fmla="*/ 2147483647 h 92"/>
                <a:gd name="T44" fmla="*/ 0 w 195"/>
                <a:gd name="T45" fmla="*/ 0 h 92"/>
                <a:gd name="T46" fmla="*/ 2147483647 w 195"/>
                <a:gd name="T47" fmla="*/ 0 h 92"/>
                <a:gd name="T48" fmla="*/ 2147483647 w 195"/>
                <a:gd name="T49" fmla="*/ 2147483647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434866122"/>
      </p:ext>
    </p:extLst>
  </p:cSld>
  <p:clrMapOvr>
    <a:masterClrMapping/>
  </p:clrMapOvr>
  <p:transition spd="med">
    <p:fade/>
  </p:transition>
  <p:hf sldNum="0" hdr="0" ftr="0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indent="-401638">
              <a:lnSpc>
                <a:spcPct val="85000"/>
              </a:lnSpc>
              <a:spcAft>
                <a:spcPts val="0"/>
              </a:spcAft>
              <a:buFont typeface="+mj-lt"/>
              <a:buAutoNum type="arabicPeriod"/>
              <a:defRPr sz="30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7708500"/>
      </p:ext>
    </p:extLst>
  </p:cSld>
  <p:clrMapOvr>
    <a:masterClrMapping/>
  </p:clrMapOvr>
  <p:transition spd="med"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818464977"/>
      </p:ext>
    </p:extLst>
  </p:cSld>
  <p:clrMapOvr>
    <a:masterClrMapping/>
  </p:clrMapOvr>
  <p:transition spd="med"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4142660"/>
      </p:ext>
    </p:extLst>
  </p:cSld>
  <p:clrMapOvr>
    <a:masterClrMapping/>
  </p:clrMapOvr>
  <p:transition spd="med"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7034627"/>
      </p:ext>
    </p:extLst>
  </p:cSld>
  <p:clrMapOvr>
    <a:masterClrMapping/>
  </p:clrMapOvr>
  <p:transition spd="med"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5745576"/>
      </p:ext>
    </p:extLst>
  </p:cSld>
  <p:clrMapOvr>
    <a:masterClrMapping/>
  </p:clrMapOvr>
  <p:transition spd="med"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2740733"/>
      </p:ext>
    </p:extLst>
  </p:cSld>
  <p:clrMapOvr>
    <a:masterClrMapping/>
  </p:clrMapOvr>
  <p:transition spd="med"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995700"/>
      </p:ext>
    </p:extLst>
  </p:cSld>
  <p:clrMapOvr>
    <a:masterClrMapping/>
  </p:clrMapOvr>
  <p:transition spd="med"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57877681"/>
      </p:ext>
    </p:extLst>
  </p:cSld>
  <p:clrMapOvr>
    <a:masterClrMapping/>
  </p:clrMapOvr>
  <p:transition spd="med"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r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8" descr="RGB_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1013" y="4408488"/>
            <a:ext cx="719137" cy="538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049129" y="1924050"/>
            <a:ext cx="7051885" cy="737100"/>
          </a:xfrm>
        </p:spPr>
        <p:txBody>
          <a:bodyPr/>
          <a:lstStyle>
            <a:lvl1pPr algn="l">
              <a:defRPr sz="6600">
                <a:latin typeface="Helvetica 35 Thin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416192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5" tIns="45713" rIns="91425" bIns="45713" anchor="ctr"/>
          <a:lstStyle/>
          <a:p>
            <a:pPr algn="ctr" defTabSz="712673">
              <a:defRPr/>
            </a:pPr>
            <a:endParaRPr lang="en-GB" dirty="0"/>
          </a:p>
        </p:txBody>
      </p:sp>
      <p:grpSp>
        <p:nvGrpSpPr>
          <p:cNvPr id="6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912813"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1pPr>
              <a:lvl2pPr defTabSz="912813"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2pPr>
              <a:lvl3pPr defTabSz="912813"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3pPr>
              <a:lvl4pPr defTabSz="912813"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4pPr>
              <a:lvl5pPr defTabSz="912813"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5pPr>
              <a:lvl6pPr marL="1881188" indent="401638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6pPr>
              <a:lvl7pPr marL="2338388" indent="401638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7pPr>
              <a:lvl8pPr marL="2795588" indent="401638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8pPr>
              <a:lvl9pPr marL="3252788" indent="401638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smtClean="0">
                <a:solidFill>
                  <a:srgbClr val="FF6600"/>
                </a:solidFill>
                <a:latin typeface="Helvetica 75 Bold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7 w 104"/>
                <a:gd name="T1" fmla="*/ 2147483647 h 122"/>
                <a:gd name="T2" fmla="*/ 2147483647 w 104"/>
                <a:gd name="T3" fmla="*/ 2147483647 h 122"/>
                <a:gd name="T4" fmla="*/ 2147483647 w 104"/>
                <a:gd name="T5" fmla="*/ 2147483647 h 122"/>
                <a:gd name="T6" fmla="*/ 2147483647 w 104"/>
                <a:gd name="T7" fmla="*/ 2147483647 h 122"/>
                <a:gd name="T8" fmla="*/ 2147483647 w 104"/>
                <a:gd name="T9" fmla="*/ 2147483647 h 122"/>
                <a:gd name="T10" fmla="*/ 2147483647 w 104"/>
                <a:gd name="T11" fmla="*/ 2147483647 h 122"/>
                <a:gd name="T12" fmla="*/ 2147483647 w 104"/>
                <a:gd name="T13" fmla="*/ 2147483647 h 122"/>
                <a:gd name="T14" fmla="*/ 0 w 104"/>
                <a:gd name="T15" fmla="*/ 2147483647 h 122"/>
                <a:gd name="T16" fmla="*/ 2147483647 w 104"/>
                <a:gd name="T17" fmla="*/ 2147483647 h 122"/>
                <a:gd name="T18" fmla="*/ 2147483647 w 104"/>
                <a:gd name="T19" fmla="*/ 2147483647 h 122"/>
                <a:gd name="T20" fmla="*/ 2147483647 w 104"/>
                <a:gd name="T21" fmla="*/ 2147483647 h 122"/>
                <a:gd name="T22" fmla="*/ 2147483647 w 104"/>
                <a:gd name="T23" fmla="*/ 2147483647 h 122"/>
                <a:gd name="T24" fmla="*/ 2147483647 w 104"/>
                <a:gd name="T25" fmla="*/ 2147483647 h 122"/>
                <a:gd name="T26" fmla="*/ 2147483647 w 104"/>
                <a:gd name="T27" fmla="*/ 0 h 122"/>
                <a:gd name="T28" fmla="*/ 2147483647 w 104"/>
                <a:gd name="T29" fmla="*/ 2147483647 h 122"/>
                <a:gd name="T30" fmla="*/ 2147483647 w 104"/>
                <a:gd name="T31" fmla="*/ 2147483647 h 122"/>
                <a:gd name="T32" fmla="*/ 2147483647 w 104"/>
                <a:gd name="T33" fmla="*/ 2147483647 h 122"/>
                <a:gd name="T34" fmla="*/ 2147483647 w 104"/>
                <a:gd name="T35" fmla="*/ 2147483647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7 h 120"/>
                <a:gd name="T2" fmla="*/ 2147483647 w 105"/>
                <a:gd name="T3" fmla="*/ 2147483647 h 120"/>
                <a:gd name="T4" fmla="*/ 2147483647 w 105"/>
                <a:gd name="T5" fmla="*/ 2147483647 h 120"/>
                <a:gd name="T6" fmla="*/ 2147483647 w 105"/>
                <a:gd name="T7" fmla="*/ 0 h 120"/>
                <a:gd name="T8" fmla="*/ 2147483647 w 105"/>
                <a:gd name="T9" fmla="*/ 2147483647 h 120"/>
                <a:gd name="T10" fmla="*/ 2147483647 w 105"/>
                <a:gd name="T11" fmla="*/ 2147483647 h 120"/>
                <a:gd name="T12" fmla="*/ 2147483647 w 105"/>
                <a:gd name="T13" fmla="*/ 2147483647 h 120"/>
                <a:gd name="T14" fmla="*/ 2147483647 w 105"/>
                <a:gd name="T15" fmla="*/ 2147483647 h 120"/>
                <a:gd name="T16" fmla="*/ 2147483647 w 105"/>
                <a:gd name="T17" fmla="*/ 2147483647 h 120"/>
                <a:gd name="T18" fmla="*/ 2147483647 w 105"/>
                <a:gd name="T19" fmla="*/ 2147483647 h 120"/>
                <a:gd name="T20" fmla="*/ 2147483647 w 105"/>
                <a:gd name="T21" fmla="*/ 2147483647 h 120"/>
                <a:gd name="T22" fmla="*/ 0 w 105"/>
                <a:gd name="T23" fmla="*/ 2147483647 h 120"/>
                <a:gd name="T24" fmla="*/ 0 w 105"/>
                <a:gd name="T25" fmla="*/ 2147483647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7 w 109"/>
                <a:gd name="T1" fmla="*/ 2147483647 h 122"/>
                <a:gd name="T2" fmla="*/ 2147483647 w 109"/>
                <a:gd name="T3" fmla="*/ 2147483647 h 122"/>
                <a:gd name="T4" fmla="*/ 2147483647 w 109"/>
                <a:gd name="T5" fmla="*/ 2147483647 h 122"/>
                <a:gd name="T6" fmla="*/ 2147483647 w 109"/>
                <a:gd name="T7" fmla="*/ 2147483647 h 122"/>
                <a:gd name="T8" fmla="*/ 2147483647 w 109"/>
                <a:gd name="T9" fmla="*/ 2147483647 h 122"/>
                <a:gd name="T10" fmla="*/ 0 w 109"/>
                <a:gd name="T11" fmla="*/ 2147483647 h 122"/>
                <a:gd name="T12" fmla="*/ 2147483647 w 109"/>
                <a:gd name="T13" fmla="*/ 0 h 122"/>
                <a:gd name="T14" fmla="*/ 2147483647 w 109"/>
                <a:gd name="T15" fmla="*/ 2147483647 h 122"/>
                <a:gd name="T16" fmla="*/ 2147483647 w 109"/>
                <a:gd name="T17" fmla="*/ 2147483647 h 122"/>
                <a:gd name="T18" fmla="*/ 2147483647 w 109"/>
                <a:gd name="T19" fmla="*/ 2147483647 h 122"/>
                <a:gd name="T20" fmla="*/ 2147483647 w 109"/>
                <a:gd name="T21" fmla="*/ 2147483647 h 122"/>
                <a:gd name="T22" fmla="*/ 2147483647 w 109"/>
                <a:gd name="T23" fmla="*/ 2147483647 h 122"/>
                <a:gd name="T24" fmla="*/ 2147483647 w 109"/>
                <a:gd name="T25" fmla="*/ 2147483647 h 122"/>
                <a:gd name="T26" fmla="*/ 2147483647 w 109"/>
                <a:gd name="T27" fmla="*/ 2147483647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7 w 116"/>
                <a:gd name="T1" fmla="*/ 2147483647 h 124"/>
                <a:gd name="T2" fmla="*/ 2147483647 w 116"/>
                <a:gd name="T3" fmla="*/ 2147483647 h 124"/>
                <a:gd name="T4" fmla="*/ 2147483647 w 116"/>
                <a:gd name="T5" fmla="*/ 2147483647 h 124"/>
                <a:gd name="T6" fmla="*/ 2147483647 w 116"/>
                <a:gd name="T7" fmla="*/ 2147483647 h 124"/>
                <a:gd name="T8" fmla="*/ 2147483647 w 116"/>
                <a:gd name="T9" fmla="*/ 2147483647 h 124"/>
                <a:gd name="T10" fmla="*/ 2147483647 w 116"/>
                <a:gd name="T11" fmla="*/ 2147483647 h 124"/>
                <a:gd name="T12" fmla="*/ 0 w 116"/>
                <a:gd name="T13" fmla="*/ 2147483647 h 124"/>
                <a:gd name="T14" fmla="*/ 2147483647 w 116"/>
                <a:gd name="T15" fmla="*/ 0 h 124"/>
                <a:gd name="T16" fmla="*/ 2147483647 w 116"/>
                <a:gd name="T17" fmla="*/ 2147483647 h 124"/>
                <a:gd name="T18" fmla="*/ 2147483647 w 116"/>
                <a:gd name="T19" fmla="*/ 2147483647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7 h 120"/>
                <a:gd name="T2" fmla="*/ 2147483647 w 66"/>
                <a:gd name="T3" fmla="*/ 2147483647 h 120"/>
                <a:gd name="T4" fmla="*/ 2147483647 w 66"/>
                <a:gd name="T5" fmla="*/ 2147483647 h 120"/>
                <a:gd name="T6" fmla="*/ 2147483647 w 66"/>
                <a:gd name="T7" fmla="*/ 0 h 120"/>
                <a:gd name="T8" fmla="*/ 2147483647 w 66"/>
                <a:gd name="T9" fmla="*/ 2147483647 h 120"/>
                <a:gd name="T10" fmla="*/ 2147483647 w 66"/>
                <a:gd name="T11" fmla="*/ 2147483647 h 120"/>
                <a:gd name="T12" fmla="*/ 2147483647 w 66"/>
                <a:gd name="T13" fmla="*/ 2147483647 h 120"/>
                <a:gd name="T14" fmla="*/ 2147483647 w 66"/>
                <a:gd name="T15" fmla="*/ 2147483647 h 120"/>
                <a:gd name="T16" fmla="*/ 2147483647 w 66"/>
                <a:gd name="T17" fmla="*/ 2147483647 h 120"/>
                <a:gd name="T18" fmla="*/ 0 w 66"/>
                <a:gd name="T19" fmla="*/ 2147483647 h 120"/>
                <a:gd name="T20" fmla="*/ 0 w 66"/>
                <a:gd name="T21" fmla="*/ 2147483647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7 w 110"/>
                <a:gd name="T1" fmla="*/ 2147483647 h 166"/>
                <a:gd name="T2" fmla="*/ 2147483647 w 110"/>
                <a:gd name="T3" fmla="*/ 2147483647 h 166"/>
                <a:gd name="T4" fmla="*/ 2147483647 w 110"/>
                <a:gd name="T5" fmla="*/ 2147483647 h 166"/>
                <a:gd name="T6" fmla="*/ 2147483647 w 110"/>
                <a:gd name="T7" fmla="*/ 2147483647 h 166"/>
                <a:gd name="T8" fmla="*/ 2147483647 w 110"/>
                <a:gd name="T9" fmla="*/ 2147483647 h 166"/>
                <a:gd name="T10" fmla="*/ 2147483647 w 110"/>
                <a:gd name="T11" fmla="*/ 2147483647 h 166"/>
                <a:gd name="T12" fmla="*/ 2147483647 w 110"/>
                <a:gd name="T13" fmla="*/ 2147483647 h 166"/>
                <a:gd name="T14" fmla="*/ 2147483647 w 110"/>
                <a:gd name="T15" fmla="*/ 2147483647 h 166"/>
                <a:gd name="T16" fmla="*/ 2147483647 w 110"/>
                <a:gd name="T17" fmla="*/ 2147483647 h 166"/>
                <a:gd name="T18" fmla="*/ 2147483647 w 110"/>
                <a:gd name="T19" fmla="*/ 2147483647 h 166"/>
                <a:gd name="T20" fmla="*/ 0 w 110"/>
                <a:gd name="T21" fmla="*/ 2147483647 h 166"/>
                <a:gd name="T22" fmla="*/ 2147483647 w 110"/>
                <a:gd name="T23" fmla="*/ 0 h 166"/>
                <a:gd name="T24" fmla="*/ 2147483647 w 110"/>
                <a:gd name="T25" fmla="*/ 2147483647 h 166"/>
                <a:gd name="T26" fmla="*/ 2147483647 w 110"/>
                <a:gd name="T27" fmla="*/ 2147483647 h 166"/>
                <a:gd name="T28" fmla="*/ 2147483647 w 110"/>
                <a:gd name="T29" fmla="*/ 2147483647 h 166"/>
                <a:gd name="T30" fmla="*/ 2147483647 w 110"/>
                <a:gd name="T31" fmla="*/ 2147483647 h 166"/>
                <a:gd name="T32" fmla="*/ 2147483647 w 110"/>
                <a:gd name="T33" fmla="*/ 2147483647 h 166"/>
                <a:gd name="T34" fmla="*/ 2147483647 w 110"/>
                <a:gd name="T35" fmla="*/ 2147483647 h 166"/>
                <a:gd name="T36" fmla="*/ 2147483647 w 110"/>
                <a:gd name="T37" fmla="*/ 2147483647 h 166"/>
                <a:gd name="T38" fmla="*/ 2147483647 w 110"/>
                <a:gd name="T39" fmla="*/ 2147483647 h 166"/>
                <a:gd name="T40" fmla="*/ 2147483647 w 110"/>
                <a:gd name="T41" fmla="*/ 2147483647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7 w 195"/>
                <a:gd name="T1" fmla="*/ 2147483647 h 92"/>
                <a:gd name="T2" fmla="*/ 2147483647 w 195"/>
                <a:gd name="T3" fmla="*/ 2147483647 h 92"/>
                <a:gd name="T4" fmla="*/ 2147483647 w 195"/>
                <a:gd name="T5" fmla="*/ 2147483647 h 92"/>
                <a:gd name="T6" fmla="*/ 2147483647 w 195"/>
                <a:gd name="T7" fmla="*/ 2147483647 h 92"/>
                <a:gd name="T8" fmla="*/ 2147483647 w 195"/>
                <a:gd name="T9" fmla="*/ 2147483647 h 92"/>
                <a:gd name="T10" fmla="*/ 2147483647 w 195"/>
                <a:gd name="T11" fmla="*/ 2147483647 h 92"/>
                <a:gd name="T12" fmla="*/ 2147483647 w 195"/>
                <a:gd name="T13" fmla="*/ 2147483647 h 92"/>
                <a:gd name="T14" fmla="*/ 2147483647 w 195"/>
                <a:gd name="T15" fmla="*/ 2147483647 h 92"/>
                <a:gd name="T16" fmla="*/ 2147483647 w 195"/>
                <a:gd name="T17" fmla="*/ 2147483647 h 92"/>
                <a:gd name="T18" fmla="*/ 2147483647 w 195"/>
                <a:gd name="T19" fmla="*/ 2147483647 h 92"/>
                <a:gd name="T20" fmla="*/ 2147483647 w 195"/>
                <a:gd name="T21" fmla="*/ 0 h 92"/>
                <a:gd name="T22" fmla="*/ 2147483647 w 195"/>
                <a:gd name="T23" fmla="*/ 0 h 92"/>
                <a:gd name="T24" fmla="*/ 2147483647 w 195"/>
                <a:gd name="T25" fmla="*/ 2147483647 h 92"/>
                <a:gd name="T26" fmla="*/ 2147483647 w 195"/>
                <a:gd name="T27" fmla="*/ 0 h 92"/>
                <a:gd name="T28" fmla="*/ 2147483647 w 195"/>
                <a:gd name="T29" fmla="*/ 0 h 92"/>
                <a:gd name="T30" fmla="*/ 2147483647 w 195"/>
                <a:gd name="T31" fmla="*/ 2147483647 h 92"/>
                <a:gd name="T32" fmla="*/ 2147483647 w 195"/>
                <a:gd name="T33" fmla="*/ 2147483647 h 92"/>
                <a:gd name="T34" fmla="*/ 2147483647 w 195"/>
                <a:gd name="T35" fmla="*/ 2147483647 h 92"/>
                <a:gd name="T36" fmla="*/ 2147483647 w 195"/>
                <a:gd name="T37" fmla="*/ 2147483647 h 92"/>
                <a:gd name="T38" fmla="*/ 2147483647 w 195"/>
                <a:gd name="T39" fmla="*/ 2147483647 h 92"/>
                <a:gd name="T40" fmla="*/ 2147483647 w 195"/>
                <a:gd name="T41" fmla="*/ 2147483647 h 92"/>
                <a:gd name="T42" fmla="*/ 0 w 195"/>
                <a:gd name="T43" fmla="*/ 2147483647 h 92"/>
                <a:gd name="T44" fmla="*/ 0 w 195"/>
                <a:gd name="T45" fmla="*/ 0 h 92"/>
                <a:gd name="T46" fmla="*/ 2147483647 w 195"/>
                <a:gd name="T47" fmla="*/ 0 h 92"/>
                <a:gd name="T48" fmla="*/ 2147483647 w 195"/>
                <a:gd name="T49" fmla="*/ 2147483647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5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4" y="339726"/>
            <a:ext cx="2301875" cy="3460750"/>
          </a:xfrm>
        </p:spPr>
        <p:txBody>
          <a:bodyPr tIns="109711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06477051"/>
      </p:ext>
    </p:extLst>
  </p:cSld>
  <p:clrMapOvr>
    <a:masterClrMapping/>
  </p:clrMapOvr>
  <p:transition spd="med">
    <p:fade/>
  </p:transition>
  <p:hf sldNum="0" hdr="0" ftr="0"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2788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6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5pPr>
              <a:lvl6pPr marL="18811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6pPr>
              <a:lvl7pPr marL="23383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7pPr>
              <a:lvl8pPr marL="27955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8pPr>
              <a:lvl9pPr marL="32527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smtClean="0">
                <a:solidFill>
                  <a:srgbClr val="FF6600"/>
                </a:solidFill>
                <a:latin typeface="Helvetica 75 Bold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7 w 104"/>
                <a:gd name="T1" fmla="*/ 2147483647 h 122"/>
                <a:gd name="T2" fmla="*/ 2147483647 w 104"/>
                <a:gd name="T3" fmla="*/ 2147483647 h 122"/>
                <a:gd name="T4" fmla="*/ 2147483647 w 104"/>
                <a:gd name="T5" fmla="*/ 2147483647 h 122"/>
                <a:gd name="T6" fmla="*/ 2147483647 w 104"/>
                <a:gd name="T7" fmla="*/ 2147483647 h 122"/>
                <a:gd name="T8" fmla="*/ 2147483647 w 104"/>
                <a:gd name="T9" fmla="*/ 2147483647 h 122"/>
                <a:gd name="T10" fmla="*/ 2147483647 w 104"/>
                <a:gd name="T11" fmla="*/ 2147483647 h 122"/>
                <a:gd name="T12" fmla="*/ 2147483647 w 104"/>
                <a:gd name="T13" fmla="*/ 2147483647 h 122"/>
                <a:gd name="T14" fmla="*/ 0 w 104"/>
                <a:gd name="T15" fmla="*/ 2147483647 h 122"/>
                <a:gd name="T16" fmla="*/ 2147483647 w 104"/>
                <a:gd name="T17" fmla="*/ 2147483647 h 122"/>
                <a:gd name="T18" fmla="*/ 2147483647 w 104"/>
                <a:gd name="T19" fmla="*/ 2147483647 h 122"/>
                <a:gd name="T20" fmla="*/ 2147483647 w 104"/>
                <a:gd name="T21" fmla="*/ 2147483647 h 122"/>
                <a:gd name="T22" fmla="*/ 2147483647 w 104"/>
                <a:gd name="T23" fmla="*/ 2147483647 h 122"/>
                <a:gd name="T24" fmla="*/ 2147483647 w 104"/>
                <a:gd name="T25" fmla="*/ 2147483647 h 122"/>
                <a:gd name="T26" fmla="*/ 2147483647 w 104"/>
                <a:gd name="T27" fmla="*/ 0 h 122"/>
                <a:gd name="T28" fmla="*/ 2147483647 w 104"/>
                <a:gd name="T29" fmla="*/ 2147483647 h 122"/>
                <a:gd name="T30" fmla="*/ 2147483647 w 104"/>
                <a:gd name="T31" fmla="*/ 2147483647 h 122"/>
                <a:gd name="T32" fmla="*/ 2147483647 w 104"/>
                <a:gd name="T33" fmla="*/ 2147483647 h 122"/>
                <a:gd name="T34" fmla="*/ 2147483647 w 104"/>
                <a:gd name="T35" fmla="*/ 2147483647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7 h 120"/>
                <a:gd name="T2" fmla="*/ 2147483647 w 105"/>
                <a:gd name="T3" fmla="*/ 2147483647 h 120"/>
                <a:gd name="T4" fmla="*/ 2147483647 w 105"/>
                <a:gd name="T5" fmla="*/ 2147483647 h 120"/>
                <a:gd name="T6" fmla="*/ 2147483647 w 105"/>
                <a:gd name="T7" fmla="*/ 0 h 120"/>
                <a:gd name="T8" fmla="*/ 2147483647 w 105"/>
                <a:gd name="T9" fmla="*/ 2147483647 h 120"/>
                <a:gd name="T10" fmla="*/ 2147483647 w 105"/>
                <a:gd name="T11" fmla="*/ 2147483647 h 120"/>
                <a:gd name="T12" fmla="*/ 2147483647 w 105"/>
                <a:gd name="T13" fmla="*/ 2147483647 h 120"/>
                <a:gd name="T14" fmla="*/ 2147483647 w 105"/>
                <a:gd name="T15" fmla="*/ 2147483647 h 120"/>
                <a:gd name="T16" fmla="*/ 2147483647 w 105"/>
                <a:gd name="T17" fmla="*/ 2147483647 h 120"/>
                <a:gd name="T18" fmla="*/ 2147483647 w 105"/>
                <a:gd name="T19" fmla="*/ 2147483647 h 120"/>
                <a:gd name="T20" fmla="*/ 2147483647 w 105"/>
                <a:gd name="T21" fmla="*/ 2147483647 h 120"/>
                <a:gd name="T22" fmla="*/ 0 w 105"/>
                <a:gd name="T23" fmla="*/ 2147483647 h 120"/>
                <a:gd name="T24" fmla="*/ 0 w 105"/>
                <a:gd name="T25" fmla="*/ 2147483647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7 w 109"/>
                <a:gd name="T1" fmla="*/ 2147483647 h 122"/>
                <a:gd name="T2" fmla="*/ 2147483647 w 109"/>
                <a:gd name="T3" fmla="*/ 2147483647 h 122"/>
                <a:gd name="T4" fmla="*/ 2147483647 w 109"/>
                <a:gd name="T5" fmla="*/ 2147483647 h 122"/>
                <a:gd name="T6" fmla="*/ 2147483647 w 109"/>
                <a:gd name="T7" fmla="*/ 2147483647 h 122"/>
                <a:gd name="T8" fmla="*/ 2147483647 w 109"/>
                <a:gd name="T9" fmla="*/ 2147483647 h 122"/>
                <a:gd name="T10" fmla="*/ 0 w 109"/>
                <a:gd name="T11" fmla="*/ 2147483647 h 122"/>
                <a:gd name="T12" fmla="*/ 2147483647 w 109"/>
                <a:gd name="T13" fmla="*/ 0 h 122"/>
                <a:gd name="T14" fmla="*/ 2147483647 w 109"/>
                <a:gd name="T15" fmla="*/ 2147483647 h 122"/>
                <a:gd name="T16" fmla="*/ 2147483647 w 109"/>
                <a:gd name="T17" fmla="*/ 2147483647 h 122"/>
                <a:gd name="T18" fmla="*/ 2147483647 w 109"/>
                <a:gd name="T19" fmla="*/ 2147483647 h 122"/>
                <a:gd name="T20" fmla="*/ 2147483647 w 109"/>
                <a:gd name="T21" fmla="*/ 2147483647 h 122"/>
                <a:gd name="T22" fmla="*/ 2147483647 w 109"/>
                <a:gd name="T23" fmla="*/ 2147483647 h 122"/>
                <a:gd name="T24" fmla="*/ 2147483647 w 109"/>
                <a:gd name="T25" fmla="*/ 2147483647 h 122"/>
                <a:gd name="T26" fmla="*/ 2147483647 w 109"/>
                <a:gd name="T27" fmla="*/ 2147483647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7 w 116"/>
                <a:gd name="T1" fmla="*/ 2147483647 h 124"/>
                <a:gd name="T2" fmla="*/ 2147483647 w 116"/>
                <a:gd name="T3" fmla="*/ 2147483647 h 124"/>
                <a:gd name="T4" fmla="*/ 2147483647 w 116"/>
                <a:gd name="T5" fmla="*/ 2147483647 h 124"/>
                <a:gd name="T6" fmla="*/ 2147483647 w 116"/>
                <a:gd name="T7" fmla="*/ 2147483647 h 124"/>
                <a:gd name="T8" fmla="*/ 2147483647 w 116"/>
                <a:gd name="T9" fmla="*/ 2147483647 h 124"/>
                <a:gd name="T10" fmla="*/ 2147483647 w 116"/>
                <a:gd name="T11" fmla="*/ 2147483647 h 124"/>
                <a:gd name="T12" fmla="*/ 0 w 116"/>
                <a:gd name="T13" fmla="*/ 2147483647 h 124"/>
                <a:gd name="T14" fmla="*/ 2147483647 w 116"/>
                <a:gd name="T15" fmla="*/ 0 h 124"/>
                <a:gd name="T16" fmla="*/ 2147483647 w 116"/>
                <a:gd name="T17" fmla="*/ 2147483647 h 124"/>
                <a:gd name="T18" fmla="*/ 2147483647 w 116"/>
                <a:gd name="T19" fmla="*/ 2147483647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7 h 120"/>
                <a:gd name="T2" fmla="*/ 2147483647 w 66"/>
                <a:gd name="T3" fmla="*/ 2147483647 h 120"/>
                <a:gd name="T4" fmla="*/ 2147483647 w 66"/>
                <a:gd name="T5" fmla="*/ 2147483647 h 120"/>
                <a:gd name="T6" fmla="*/ 2147483647 w 66"/>
                <a:gd name="T7" fmla="*/ 0 h 120"/>
                <a:gd name="T8" fmla="*/ 2147483647 w 66"/>
                <a:gd name="T9" fmla="*/ 2147483647 h 120"/>
                <a:gd name="T10" fmla="*/ 2147483647 w 66"/>
                <a:gd name="T11" fmla="*/ 2147483647 h 120"/>
                <a:gd name="T12" fmla="*/ 2147483647 w 66"/>
                <a:gd name="T13" fmla="*/ 2147483647 h 120"/>
                <a:gd name="T14" fmla="*/ 2147483647 w 66"/>
                <a:gd name="T15" fmla="*/ 2147483647 h 120"/>
                <a:gd name="T16" fmla="*/ 2147483647 w 66"/>
                <a:gd name="T17" fmla="*/ 2147483647 h 120"/>
                <a:gd name="T18" fmla="*/ 0 w 66"/>
                <a:gd name="T19" fmla="*/ 2147483647 h 120"/>
                <a:gd name="T20" fmla="*/ 0 w 66"/>
                <a:gd name="T21" fmla="*/ 2147483647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7 w 110"/>
                <a:gd name="T1" fmla="*/ 2147483647 h 166"/>
                <a:gd name="T2" fmla="*/ 2147483647 w 110"/>
                <a:gd name="T3" fmla="*/ 2147483647 h 166"/>
                <a:gd name="T4" fmla="*/ 2147483647 w 110"/>
                <a:gd name="T5" fmla="*/ 2147483647 h 166"/>
                <a:gd name="T6" fmla="*/ 2147483647 w 110"/>
                <a:gd name="T7" fmla="*/ 2147483647 h 166"/>
                <a:gd name="T8" fmla="*/ 2147483647 w 110"/>
                <a:gd name="T9" fmla="*/ 2147483647 h 166"/>
                <a:gd name="T10" fmla="*/ 2147483647 w 110"/>
                <a:gd name="T11" fmla="*/ 2147483647 h 166"/>
                <a:gd name="T12" fmla="*/ 2147483647 w 110"/>
                <a:gd name="T13" fmla="*/ 2147483647 h 166"/>
                <a:gd name="T14" fmla="*/ 2147483647 w 110"/>
                <a:gd name="T15" fmla="*/ 2147483647 h 166"/>
                <a:gd name="T16" fmla="*/ 2147483647 w 110"/>
                <a:gd name="T17" fmla="*/ 2147483647 h 166"/>
                <a:gd name="T18" fmla="*/ 2147483647 w 110"/>
                <a:gd name="T19" fmla="*/ 2147483647 h 166"/>
                <a:gd name="T20" fmla="*/ 0 w 110"/>
                <a:gd name="T21" fmla="*/ 2147483647 h 166"/>
                <a:gd name="T22" fmla="*/ 2147483647 w 110"/>
                <a:gd name="T23" fmla="*/ 0 h 166"/>
                <a:gd name="T24" fmla="*/ 2147483647 w 110"/>
                <a:gd name="T25" fmla="*/ 2147483647 h 166"/>
                <a:gd name="T26" fmla="*/ 2147483647 w 110"/>
                <a:gd name="T27" fmla="*/ 2147483647 h 166"/>
                <a:gd name="T28" fmla="*/ 2147483647 w 110"/>
                <a:gd name="T29" fmla="*/ 2147483647 h 166"/>
                <a:gd name="T30" fmla="*/ 2147483647 w 110"/>
                <a:gd name="T31" fmla="*/ 2147483647 h 166"/>
                <a:gd name="T32" fmla="*/ 2147483647 w 110"/>
                <a:gd name="T33" fmla="*/ 2147483647 h 166"/>
                <a:gd name="T34" fmla="*/ 2147483647 w 110"/>
                <a:gd name="T35" fmla="*/ 2147483647 h 166"/>
                <a:gd name="T36" fmla="*/ 2147483647 w 110"/>
                <a:gd name="T37" fmla="*/ 2147483647 h 166"/>
                <a:gd name="T38" fmla="*/ 2147483647 w 110"/>
                <a:gd name="T39" fmla="*/ 2147483647 h 166"/>
                <a:gd name="T40" fmla="*/ 2147483647 w 110"/>
                <a:gd name="T41" fmla="*/ 2147483647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7 w 195"/>
                <a:gd name="T1" fmla="*/ 2147483647 h 92"/>
                <a:gd name="T2" fmla="*/ 2147483647 w 195"/>
                <a:gd name="T3" fmla="*/ 2147483647 h 92"/>
                <a:gd name="T4" fmla="*/ 2147483647 w 195"/>
                <a:gd name="T5" fmla="*/ 2147483647 h 92"/>
                <a:gd name="T6" fmla="*/ 2147483647 w 195"/>
                <a:gd name="T7" fmla="*/ 2147483647 h 92"/>
                <a:gd name="T8" fmla="*/ 2147483647 w 195"/>
                <a:gd name="T9" fmla="*/ 2147483647 h 92"/>
                <a:gd name="T10" fmla="*/ 2147483647 w 195"/>
                <a:gd name="T11" fmla="*/ 2147483647 h 92"/>
                <a:gd name="T12" fmla="*/ 2147483647 w 195"/>
                <a:gd name="T13" fmla="*/ 2147483647 h 92"/>
                <a:gd name="T14" fmla="*/ 2147483647 w 195"/>
                <a:gd name="T15" fmla="*/ 2147483647 h 92"/>
                <a:gd name="T16" fmla="*/ 2147483647 w 195"/>
                <a:gd name="T17" fmla="*/ 2147483647 h 92"/>
                <a:gd name="T18" fmla="*/ 2147483647 w 195"/>
                <a:gd name="T19" fmla="*/ 2147483647 h 92"/>
                <a:gd name="T20" fmla="*/ 2147483647 w 195"/>
                <a:gd name="T21" fmla="*/ 0 h 92"/>
                <a:gd name="T22" fmla="*/ 2147483647 w 195"/>
                <a:gd name="T23" fmla="*/ 0 h 92"/>
                <a:gd name="T24" fmla="*/ 2147483647 w 195"/>
                <a:gd name="T25" fmla="*/ 2147483647 h 92"/>
                <a:gd name="T26" fmla="*/ 2147483647 w 195"/>
                <a:gd name="T27" fmla="*/ 0 h 92"/>
                <a:gd name="T28" fmla="*/ 2147483647 w 195"/>
                <a:gd name="T29" fmla="*/ 0 h 92"/>
                <a:gd name="T30" fmla="*/ 2147483647 w 195"/>
                <a:gd name="T31" fmla="*/ 2147483647 h 92"/>
                <a:gd name="T32" fmla="*/ 2147483647 w 195"/>
                <a:gd name="T33" fmla="*/ 2147483647 h 92"/>
                <a:gd name="T34" fmla="*/ 2147483647 w 195"/>
                <a:gd name="T35" fmla="*/ 2147483647 h 92"/>
                <a:gd name="T36" fmla="*/ 2147483647 w 195"/>
                <a:gd name="T37" fmla="*/ 2147483647 h 92"/>
                <a:gd name="T38" fmla="*/ 2147483647 w 195"/>
                <a:gd name="T39" fmla="*/ 2147483647 h 92"/>
                <a:gd name="T40" fmla="*/ 2147483647 w 195"/>
                <a:gd name="T41" fmla="*/ 2147483647 h 92"/>
                <a:gd name="T42" fmla="*/ 0 w 195"/>
                <a:gd name="T43" fmla="*/ 2147483647 h 92"/>
                <a:gd name="T44" fmla="*/ 0 w 195"/>
                <a:gd name="T45" fmla="*/ 0 h 92"/>
                <a:gd name="T46" fmla="*/ 2147483647 w 195"/>
                <a:gd name="T47" fmla="*/ 0 h 92"/>
                <a:gd name="T48" fmla="*/ 2147483647 w 195"/>
                <a:gd name="T49" fmla="*/ 2147483647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161600766"/>
      </p:ext>
    </p:extLst>
  </p:cSld>
  <p:clrMapOvr>
    <a:masterClrMapping/>
  </p:clrMapOvr>
  <p:transition spd="med">
    <p:fade/>
  </p:transition>
  <p:hf sldNum="0" hdr="0" ftr="0"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indent="-401638">
              <a:lnSpc>
                <a:spcPct val="85000"/>
              </a:lnSpc>
              <a:spcAft>
                <a:spcPts val="0"/>
              </a:spcAft>
              <a:buFont typeface="+mj-lt"/>
              <a:buAutoNum type="arabicPeriod"/>
              <a:defRPr sz="30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4769618"/>
      </p:ext>
    </p:extLst>
  </p:cSld>
  <p:clrMapOvr>
    <a:masterClrMapping/>
  </p:clrMapOvr>
  <p:transition spd="med"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744076720"/>
      </p:ext>
    </p:extLst>
  </p:cSld>
  <p:clrMapOvr>
    <a:masterClrMapping/>
  </p:clrMapOvr>
  <p:transition spd="med"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1845607"/>
      </p:ext>
    </p:extLst>
  </p:cSld>
  <p:clrMapOvr>
    <a:masterClrMapping/>
  </p:clrMapOvr>
  <p:transition spd="med"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5994128"/>
      </p:ext>
    </p:extLst>
  </p:cSld>
  <p:clrMapOvr>
    <a:masterClrMapping/>
  </p:clrMapOvr>
  <p:transition spd="med"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7467824"/>
      </p:ext>
    </p:extLst>
  </p:cSld>
  <p:clrMapOvr>
    <a:masterClrMapping/>
  </p:clrMapOvr>
  <p:transition spd="med"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0397274"/>
      </p:ext>
    </p:extLst>
  </p:cSld>
  <p:clrMapOvr>
    <a:masterClrMapping/>
  </p:clrMapOvr>
  <p:transition spd="med"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5873369"/>
      </p:ext>
    </p:extLst>
  </p:cSld>
  <p:clrMapOvr>
    <a:masterClrMapping/>
  </p:clrMapOvr>
  <p:transition spd="med"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39398744"/>
      </p:ext>
    </p:extLst>
  </p:cSld>
  <p:clrMapOvr>
    <a:masterClrMapping/>
  </p:clrMapOvr>
  <p:transition spd="med"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r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8" descr="RGB_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1013" y="4408488"/>
            <a:ext cx="719137" cy="538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049129" y="1924050"/>
            <a:ext cx="7051885" cy="737100"/>
          </a:xfrm>
        </p:spPr>
        <p:txBody>
          <a:bodyPr/>
          <a:lstStyle>
            <a:lvl1pPr algn="l">
              <a:defRPr sz="6600">
                <a:latin typeface="Helvetica 35 Thin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898648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574" marR="0" indent="-401574" algn="l" defTabSz="514269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bg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574" indent="-401574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574" indent="-401574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439658114"/>
      </p:ext>
    </p:extLst>
  </p:cSld>
  <p:clrMapOvr>
    <a:masterClrMapping/>
  </p:clrMapOvr>
  <p:transition spd="med"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5334521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6370364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4436598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1966180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8161017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3644754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55750527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0610740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3276856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8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519522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64152506"/>
      </p:ext>
    </p:extLst>
  </p:cSld>
  <p:clrMapOvr>
    <a:masterClrMapping/>
  </p:clrMapOvr>
  <p:transition spd="med"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2788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6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5pPr>
              <a:lvl6pPr marL="18811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6pPr>
              <a:lvl7pPr marL="23383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7pPr>
              <a:lvl8pPr marL="27955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8pPr>
              <a:lvl9pPr marL="32527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smtClean="0">
                <a:solidFill>
                  <a:srgbClr val="FF6600"/>
                </a:solidFill>
                <a:latin typeface="Helvetica 75 Bold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7 w 104"/>
                <a:gd name="T1" fmla="*/ 2147483647 h 122"/>
                <a:gd name="T2" fmla="*/ 2147483647 w 104"/>
                <a:gd name="T3" fmla="*/ 2147483647 h 122"/>
                <a:gd name="T4" fmla="*/ 2147483647 w 104"/>
                <a:gd name="T5" fmla="*/ 2147483647 h 122"/>
                <a:gd name="T6" fmla="*/ 2147483647 w 104"/>
                <a:gd name="T7" fmla="*/ 2147483647 h 122"/>
                <a:gd name="T8" fmla="*/ 2147483647 w 104"/>
                <a:gd name="T9" fmla="*/ 2147483647 h 122"/>
                <a:gd name="T10" fmla="*/ 2147483647 w 104"/>
                <a:gd name="T11" fmla="*/ 2147483647 h 122"/>
                <a:gd name="T12" fmla="*/ 2147483647 w 104"/>
                <a:gd name="T13" fmla="*/ 2147483647 h 122"/>
                <a:gd name="T14" fmla="*/ 0 w 104"/>
                <a:gd name="T15" fmla="*/ 2147483647 h 122"/>
                <a:gd name="T16" fmla="*/ 2147483647 w 104"/>
                <a:gd name="T17" fmla="*/ 2147483647 h 122"/>
                <a:gd name="T18" fmla="*/ 2147483647 w 104"/>
                <a:gd name="T19" fmla="*/ 2147483647 h 122"/>
                <a:gd name="T20" fmla="*/ 2147483647 w 104"/>
                <a:gd name="T21" fmla="*/ 2147483647 h 122"/>
                <a:gd name="T22" fmla="*/ 2147483647 w 104"/>
                <a:gd name="T23" fmla="*/ 2147483647 h 122"/>
                <a:gd name="T24" fmla="*/ 2147483647 w 104"/>
                <a:gd name="T25" fmla="*/ 2147483647 h 122"/>
                <a:gd name="T26" fmla="*/ 2147483647 w 104"/>
                <a:gd name="T27" fmla="*/ 0 h 122"/>
                <a:gd name="T28" fmla="*/ 2147483647 w 104"/>
                <a:gd name="T29" fmla="*/ 2147483647 h 122"/>
                <a:gd name="T30" fmla="*/ 2147483647 w 104"/>
                <a:gd name="T31" fmla="*/ 2147483647 h 122"/>
                <a:gd name="T32" fmla="*/ 2147483647 w 104"/>
                <a:gd name="T33" fmla="*/ 2147483647 h 122"/>
                <a:gd name="T34" fmla="*/ 2147483647 w 104"/>
                <a:gd name="T35" fmla="*/ 2147483647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7 h 120"/>
                <a:gd name="T2" fmla="*/ 2147483647 w 105"/>
                <a:gd name="T3" fmla="*/ 2147483647 h 120"/>
                <a:gd name="T4" fmla="*/ 2147483647 w 105"/>
                <a:gd name="T5" fmla="*/ 2147483647 h 120"/>
                <a:gd name="T6" fmla="*/ 2147483647 w 105"/>
                <a:gd name="T7" fmla="*/ 0 h 120"/>
                <a:gd name="T8" fmla="*/ 2147483647 w 105"/>
                <a:gd name="T9" fmla="*/ 2147483647 h 120"/>
                <a:gd name="T10" fmla="*/ 2147483647 w 105"/>
                <a:gd name="T11" fmla="*/ 2147483647 h 120"/>
                <a:gd name="T12" fmla="*/ 2147483647 w 105"/>
                <a:gd name="T13" fmla="*/ 2147483647 h 120"/>
                <a:gd name="T14" fmla="*/ 2147483647 w 105"/>
                <a:gd name="T15" fmla="*/ 2147483647 h 120"/>
                <a:gd name="T16" fmla="*/ 2147483647 w 105"/>
                <a:gd name="T17" fmla="*/ 2147483647 h 120"/>
                <a:gd name="T18" fmla="*/ 2147483647 w 105"/>
                <a:gd name="T19" fmla="*/ 2147483647 h 120"/>
                <a:gd name="T20" fmla="*/ 2147483647 w 105"/>
                <a:gd name="T21" fmla="*/ 2147483647 h 120"/>
                <a:gd name="T22" fmla="*/ 0 w 105"/>
                <a:gd name="T23" fmla="*/ 2147483647 h 120"/>
                <a:gd name="T24" fmla="*/ 0 w 105"/>
                <a:gd name="T25" fmla="*/ 2147483647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7 w 109"/>
                <a:gd name="T1" fmla="*/ 2147483647 h 122"/>
                <a:gd name="T2" fmla="*/ 2147483647 w 109"/>
                <a:gd name="T3" fmla="*/ 2147483647 h 122"/>
                <a:gd name="T4" fmla="*/ 2147483647 w 109"/>
                <a:gd name="T5" fmla="*/ 2147483647 h 122"/>
                <a:gd name="T6" fmla="*/ 2147483647 w 109"/>
                <a:gd name="T7" fmla="*/ 2147483647 h 122"/>
                <a:gd name="T8" fmla="*/ 2147483647 w 109"/>
                <a:gd name="T9" fmla="*/ 2147483647 h 122"/>
                <a:gd name="T10" fmla="*/ 0 w 109"/>
                <a:gd name="T11" fmla="*/ 2147483647 h 122"/>
                <a:gd name="T12" fmla="*/ 2147483647 w 109"/>
                <a:gd name="T13" fmla="*/ 0 h 122"/>
                <a:gd name="T14" fmla="*/ 2147483647 w 109"/>
                <a:gd name="T15" fmla="*/ 2147483647 h 122"/>
                <a:gd name="T16" fmla="*/ 2147483647 w 109"/>
                <a:gd name="T17" fmla="*/ 2147483647 h 122"/>
                <a:gd name="T18" fmla="*/ 2147483647 w 109"/>
                <a:gd name="T19" fmla="*/ 2147483647 h 122"/>
                <a:gd name="T20" fmla="*/ 2147483647 w 109"/>
                <a:gd name="T21" fmla="*/ 2147483647 h 122"/>
                <a:gd name="T22" fmla="*/ 2147483647 w 109"/>
                <a:gd name="T23" fmla="*/ 2147483647 h 122"/>
                <a:gd name="T24" fmla="*/ 2147483647 w 109"/>
                <a:gd name="T25" fmla="*/ 2147483647 h 122"/>
                <a:gd name="T26" fmla="*/ 2147483647 w 109"/>
                <a:gd name="T27" fmla="*/ 2147483647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7 w 116"/>
                <a:gd name="T1" fmla="*/ 2147483647 h 124"/>
                <a:gd name="T2" fmla="*/ 2147483647 w 116"/>
                <a:gd name="T3" fmla="*/ 2147483647 h 124"/>
                <a:gd name="T4" fmla="*/ 2147483647 w 116"/>
                <a:gd name="T5" fmla="*/ 2147483647 h 124"/>
                <a:gd name="T6" fmla="*/ 2147483647 w 116"/>
                <a:gd name="T7" fmla="*/ 2147483647 h 124"/>
                <a:gd name="T8" fmla="*/ 2147483647 w 116"/>
                <a:gd name="T9" fmla="*/ 2147483647 h 124"/>
                <a:gd name="T10" fmla="*/ 2147483647 w 116"/>
                <a:gd name="T11" fmla="*/ 2147483647 h 124"/>
                <a:gd name="T12" fmla="*/ 0 w 116"/>
                <a:gd name="T13" fmla="*/ 2147483647 h 124"/>
                <a:gd name="T14" fmla="*/ 2147483647 w 116"/>
                <a:gd name="T15" fmla="*/ 0 h 124"/>
                <a:gd name="T16" fmla="*/ 2147483647 w 116"/>
                <a:gd name="T17" fmla="*/ 2147483647 h 124"/>
                <a:gd name="T18" fmla="*/ 2147483647 w 116"/>
                <a:gd name="T19" fmla="*/ 2147483647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7 h 120"/>
                <a:gd name="T2" fmla="*/ 2147483647 w 66"/>
                <a:gd name="T3" fmla="*/ 2147483647 h 120"/>
                <a:gd name="T4" fmla="*/ 2147483647 w 66"/>
                <a:gd name="T5" fmla="*/ 2147483647 h 120"/>
                <a:gd name="T6" fmla="*/ 2147483647 w 66"/>
                <a:gd name="T7" fmla="*/ 0 h 120"/>
                <a:gd name="T8" fmla="*/ 2147483647 w 66"/>
                <a:gd name="T9" fmla="*/ 2147483647 h 120"/>
                <a:gd name="T10" fmla="*/ 2147483647 w 66"/>
                <a:gd name="T11" fmla="*/ 2147483647 h 120"/>
                <a:gd name="T12" fmla="*/ 2147483647 w 66"/>
                <a:gd name="T13" fmla="*/ 2147483647 h 120"/>
                <a:gd name="T14" fmla="*/ 2147483647 w 66"/>
                <a:gd name="T15" fmla="*/ 2147483647 h 120"/>
                <a:gd name="T16" fmla="*/ 2147483647 w 66"/>
                <a:gd name="T17" fmla="*/ 2147483647 h 120"/>
                <a:gd name="T18" fmla="*/ 0 w 66"/>
                <a:gd name="T19" fmla="*/ 2147483647 h 120"/>
                <a:gd name="T20" fmla="*/ 0 w 66"/>
                <a:gd name="T21" fmla="*/ 2147483647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7 w 110"/>
                <a:gd name="T1" fmla="*/ 2147483647 h 166"/>
                <a:gd name="T2" fmla="*/ 2147483647 w 110"/>
                <a:gd name="T3" fmla="*/ 2147483647 h 166"/>
                <a:gd name="T4" fmla="*/ 2147483647 w 110"/>
                <a:gd name="T5" fmla="*/ 2147483647 h 166"/>
                <a:gd name="T6" fmla="*/ 2147483647 w 110"/>
                <a:gd name="T7" fmla="*/ 2147483647 h 166"/>
                <a:gd name="T8" fmla="*/ 2147483647 w 110"/>
                <a:gd name="T9" fmla="*/ 2147483647 h 166"/>
                <a:gd name="T10" fmla="*/ 2147483647 w 110"/>
                <a:gd name="T11" fmla="*/ 2147483647 h 166"/>
                <a:gd name="T12" fmla="*/ 2147483647 w 110"/>
                <a:gd name="T13" fmla="*/ 2147483647 h 166"/>
                <a:gd name="T14" fmla="*/ 2147483647 w 110"/>
                <a:gd name="T15" fmla="*/ 2147483647 h 166"/>
                <a:gd name="T16" fmla="*/ 2147483647 w 110"/>
                <a:gd name="T17" fmla="*/ 2147483647 h 166"/>
                <a:gd name="T18" fmla="*/ 2147483647 w 110"/>
                <a:gd name="T19" fmla="*/ 2147483647 h 166"/>
                <a:gd name="T20" fmla="*/ 0 w 110"/>
                <a:gd name="T21" fmla="*/ 2147483647 h 166"/>
                <a:gd name="T22" fmla="*/ 2147483647 w 110"/>
                <a:gd name="T23" fmla="*/ 0 h 166"/>
                <a:gd name="T24" fmla="*/ 2147483647 w 110"/>
                <a:gd name="T25" fmla="*/ 2147483647 h 166"/>
                <a:gd name="T26" fmla="*/ 2147483647 w 110"/>
                <a:gd name="T27" fmla="*/ 2147483647 h 166"/>
                <a:gd name="T28" fmla="*/ 2147483647 w 110"/>
                <a:gd name="T29" fmla="*/ 2147483647 h 166"/>
                <a:gd name="T30" fmla="*/ 2147483647 w 110"/>
                <a:gd name="T31" fmla="*/ 2147483647 h 166"/>
                <a:gd name="T32" fmla="*/ 2147483647 w 110"/>
                <a:gd name="T33" fmla="*/ 2147483647 h 166"/>
                <a:gd name="T34" fmla="*/ 2147483647 w 110"/>
                <a:gd name="T35" fmla="*/ 2147483647 h 166"/>
                <a:gd name="T36" fmla="*/ 2147483647 w 110"/>
                <a:gd name="T37" fmla="*/ 2147483647 h 166"/>
                <a:gd name="T38" fmla="*/ 2147483647 w 110"/>
                <a:gd name="T39" fmla="*/ 2147483647 h 166"/>
                <a:gd name="T40" fmla="*/ 2147483647 w 110"/>
                <a:gd name="T41" fmla="*/ 2147483647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7 w 195"/>
                <a:gd name="T1" fmla="*/ 2147483647 h 92"/>
                <a:gd name="T2" fmla="*/ 2147483647 w 195"/>
                <a:gd name="T3" fmla="*/ 2147483647 h 92"/>
                <a:gd name="T4" fmla="*/ 2147483647 w 195"/>
                <a:gd name="T5" fmla="*/ 2147483647 h 92"/>
                <a:gd name="T6" fmla="*/ 2147483647 w 195"/>
                <a:gd name="T7" fmla="*/ 2147483647 h 92"/>
                <a:gd name="T8" fmla="*/ 2147483647 w 195"/>
                <a:gd name="T9" fmla="*/ 2147483647 h 92"/>
                <a:gd name="T10" fmla="*/ 2147483647 w 195"/>
                <a:gd name="T11" fmla="*/ 2147483647 h 92"/>
                <a:gd name="T12" fmla="*/ 2147483647 w 195"/>
                <a:gd name="T13" fmla="*/ 2147483647 h 92"/>
                <a:gd name="T14" fmla="*/ 2147483647 w 195"/>
                <a:gd name="T15" fmla="*/ 2147483647 h 92"/>
                <a:gd name="T16" fmla="*/ 2147483647 w 195"/>
                <a:gd name="T17" fmla="*/ 2147483647 h 92"/>
                <a:gd name="T18" fmla="*/ 2147483647 w 195"/>
                <a:gd name="T19" fmla="*/ 2147483647 h 92"/>
                <a:gd name="T20" fmla="*/ 2147483647 w 195"/>
                <a:gd name="T21" fmla="*/ 0 h 92"/>
                <a:gd name="T22" fmla="*/ 2147483647 w 195"/>
                <a:gd name="T23" fmla="*/ 0 h 92"/>
                <a:gd name="T24" fmla="*/ 2147483647 w 195"/>
                <a:gd name="T25" fmla="*/ 2147483647 h 92"/>
                <a:gd name="T26" fmla="*/ 2147483647 w 195"/>
                <a:gd name="T27" fmla="*/ 0 h 92"/>
                <a:gd name="T28" fmla="*/ 2147483647 w 195"/>
                <a:gd name="T29" fmla="*/ 0 h 92"/>
                <a:gd name="T30" fmla="*/ 2147483647 w 195"/>
                <a:gd name="T31" fmla="*/ 2147483647 h 92"/>
                <a:gd name="T32" fmla="*/ 2147483647 w 195"/>
                <a:gd name="T33" fmla="*/ 2147483647 h 92"/>
                <a:gd name="T34" fmla="*/ 2147483647 w 195"/>
                <a:gd name="T35" fmla="*/ 2147483647 h 92"/>
                <a:gd name="T36" fmla="*/ 2147483647 w 195"/>
                <a:gd name="T37" fmla="*/ 2147483647 h 92"/>
                <a:gd name="T38" fmla="*/ 2147483647 w 195"/>
                <a:gd name="T39" fmla="*/ 2147483647 h 92"/>
                <a:gd name="T40" fmla="*/ 2147483647 w 195"/>
                <a:gd name="T41" fmla="*/ 2147483647 h 92"/>
                <a:gd name="T42" fmla="*/ 0 w 195"/>
                <a:gd name="T43" fmla="*/ 2147483647 h 92"/>
                <a:gd name="T44" fmla="*/ 0 w 195"/>
                <a:gd name="T45" fmla="*/ 0 h 92"/>
                <a:gd name="T46" fmla="*/ 2147483647 w 195"/>
                <a:gd name="T47" fmla="*/ 0 h 92"/>
                <a:gd name="T48" fmla="*/ 2147483647 w 195"/>
                <a:gd name="T49" fmla="*/ 2147483647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447016815"/>
      </p:ext>
    </p:extLst>
  </p:cSld>
  <p:clrMapOvr>
    <a:masterClrMapping/>
  </p:clrMapOvr>
  <p:transition spd="med">
    <p:fade/>
  </p:transition>
  <p:hf sldNum="0" hdr="0" ftr="0"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indent="-401638">
              <a:lnSpc>
                <a:spcPct val="85000"/>
              </a:lnSpc>
              <a:spcAft>
                <a:spcPts val="0"/>
              </a:spcAft>
              <a:buFont typeface="+mj-lt"/>
              <a:buAutoNum type="arabicPeriod"/>
              <a:defRPr sz="30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9184431"/>
      </p:ext>
    </p:extLst>
  </p:cSld>
  <p:clrMapOvr>
    <a:masterClrMapping/>
  </p:clrMapOvr>
  <p:transition spd="med"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301665505"/>
      </p:ext>
    </p:extLst>
  </p:cSld>
  <p:clrMapOvr>
    <a:masterClrMapping/>
  </p:clrMapOvr>
  <p:transition spd="med"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7946526"/>
      </p:ext>
    </p:extLst>
  </p:cSld>
  <p:clrMapOvr>
    <a:masterClrMapping/>
  </p:clrMapOvr>
  <p:transition spd="med"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0726687"/>
      </p:ext>
    </p:extLst>
  </p:cSld>
  <p:clrMapOvr>
    <a:masterClrMapping/>
  </p:clrMapOvr>
  <p:transition spd="med"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604774"/>
      </p:ext>
    </p:extLst>
  </p:cSld>
  <p:clrMapOvr>
    <a:masterClrMapping/>
  </p:clrMapOvr>
  <p:transition spd="med"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8795845"/>
      </p:ext>
    </p:extLst>
  </p:cSld>
  <p:clrMapOvr>
    <a:masterClrMapping/>
  </p:clrMapOvr>
  <p:transition spd="med"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4234579"/>
      </p:ext>
    </p:extLst>
  </p:cSld>
  <p:clrMapOvr>
    <a:masterClrMapping/>
  </p:clrMapOvr>
  <p:transition spd="med"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5965929"/>
      </p:ext>
    </p:extLst>
  </p:cSld>
  <p:clrMapOvr>
    <a:masterClrMapping/>
  </p:clrMapOvr>
  <p:transition spd="med"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ces simp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62"/>
          <p:cNvSpPr>
            <a:spLocks noChangeArrowheads="1"/>
          </p:cNvSpPr>
          <p:nvPr userDrawn="1"/>
        </p:nvSpPr>
        <p:spPr bwMode="auto">
          <a:xfrm>
            <a:off x="395288" y="4806950"/>
            <a:ext cx="504825" cy="139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rIns="0"/>
          <a:lstStyle>
            <a:lvl1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1pPr>
            <a:lvl2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2pPr>
            <a:lvl3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3pPr>
            <a:lvl4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4pPr>
            <a:lvl5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5pPr>
            <a:lvl6pPr marL="18811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6pPr>
            <a:lvl7pPr marL="23383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7pPr>
            <a:lvl8pPr marL="27955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8pPr>
            <a:lvl9pPr marL="32527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fld id="{1D7A3ECF-354B-49CA-87F7-BC6C838C271F}" type="slidenum">
              <a:rPr lang="en-US" altLang="fr-FR" sz="1000" smtClean="0">
                <a:solidFill>
                  <a:srgbClr val="7F7F7F"/>
                </a:solidFill>
                <a:latin typeface="Helvetica 55 Roman" pitchFamily="34" charset="0"/>
              </a:rPr>
              <a:pPr eaLnBrk="1" hangingPunct="1">
                <a:defRPr/>
              </a:pPr>
              <a:t>‹N°›</a:t>
            </a:fld>
            <a:endParaRPr lang="en-US" altLang="fr-FR" sz="1000" smtClean="0">
              <a:solidFill>
                <a:srgbClr val="7F7F7F"/>
              </a:solidFill>
              <a:latin typeface="Helvetica 55 Roman" pitchFamily="34" charset="0"/>
            </a:endParaRPr>
          </a:p>
        </p:txBody>
      </p:sp>
      <p:sp>
        <p:nvSpPr>
          <p:cNvPr id="5" name="Rectangle 762"/>
          <p:cNvSpPr>
            <a:spLocks noChangeArrowheads="1"/>
          </p:cNvSpPr>
          <p:nvPr userDrawn="1"/>
        </p:nvSpPr>
        <p:spPr bwMode="auto">
          <a:xfrm>
            <a:off x="3071813" y="4806950"/>
            <a:ext cx="2795587" cy="139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rIns="0"/>
          <a:lstStyle>
            <a:lvl1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1pPr>
            <a:lvl2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2pPr>
            <a:lvl3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3pPr>
            <a:lvl4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4pPr>
            <a:lvl5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5pPr>
            <a:lvl6pPr marL="18811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6pPr>
            <a:lvl7pPr marL="23383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7pPr>
            <a:lvl8pPr marL="27955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8pPr>
            <a:lvl9pPr marL="32527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n-GB" altLang="fr-FR" sz="1100" b="1" smtClean="0">
                <a:solidFill>
                  <a:srgbClr val="FF6600"/>
                </a:solidFill>
                <a:latin typeface="Helvetica 55 Roman" pitchFamily="34" charset="0"/>
              </a:rPr>
              <a:t>confidentiel </a:t>
            </a:r>
            <a:r>
              <a:rPr lang="en-US" altLang="fr-FR" sz="1100" b="1" smtClean="0">
                <a:solidFill>
                  <a:srgbClr val="FF6600"/>
                </a:solidFill>
                <a:latin typeface="Helvetica 55 Roman" pitchFamily="34" charset="0"/>
              </a:rPr>
              <a:t>Orang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016213" y="302400"/>
            <a:ext cx="7084800" cy="737100"/>
          </a:xfrm>
        </p:spPr>
        <p:txBody>
          <a:bodyPr/>
          <a:lstStyle>
            <a:lvl1pPr algn="l">
              <a:defRPr baseline="0"/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26" name="Espace réservé du contenu 2"/>
          <p:cNvSpPr>
            <a:spLocks noGrp="1"/>
          </p:cNvSpPr>
          <p:nvPr>
            <p:ph idx="1"/>
          </p:nvPr>
        </p:nvSpPr>
        <p:spPr>
          <a:xfrm>
            <a:off x="1042989" y="1329929"/>
            <a:ext cx="7058025" cy="2915840"/>
          </a:xfrm>
        </p:spPr>
        <p:txBody>
          <a:bodyPr/>
          <a:lstStyle>
            <a:lvl1pPr>
              <a:defRPr sz="1800" baseline="0"/>
            </a:lvl1pPr>
            <a:lvl2pPr>
              <a:spcAft>
                <a:spcPct val="0"/>
              </a:spcAft>
              <a:buFont typeface="Arial" charset="0"/>
              <a:buChar char="–"/>
              <a:defRPr/>
            </a:lvl2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5635827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7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6723986"/>
      </p:ext>
    </p:extLst>
  </p:cSld>
  <p:clrMapOvr>
    <a:masterClrMapping/>
  </p:clrMapOvr>
  <p:transition spd="med"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r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8" descr="RGB_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1013" y="4408488"/>
            <a:ext cx="719137" cy="538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049129" y="1924050"/>
            <a:ext cx="7051885" cy="737100"/>
          </a:xfrm>
        </p:spPr>
        <p:txBody>
          <a:bodyPr/>
          <a:lstStyle>
            <a:lvl1pPr algn="l">
              <a:defRPr sz="6600">
                <a:latin typeface="Helvetica 35 Thin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0057105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2788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6" name="Picture 2" descr="C:\Users\XZQW5406\Documents\Important\Référentiel T démo\New Logo OBS Black &amp; White\ORANGE_OBS_LOGO_Lockup_Right_black_text_rgb_ENGLISH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338" y="4464050"/>
            <a:ext cx="1485900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8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186378440"/>
      </p:ext>
    </p:extLst>
  </p:cSld>
  <p:clrMapOvr>
    <a:masterClrMapping/>
  </p:clrMapOvr>
  <p:transition spd="med">
    <p:fade/>
  </p:transition>
  <p:hf sldNum="0" hdr="0" ftr="0"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611188" y="4657725"/>
            <a:ext cx="1081087" cy="2905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2788">
              <a:defRPr/>
            </a:pPr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4" y="33972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3719441513"/>
      </p:ext>
    </p:extLst>
  </p:cSld>
  <p:clrMapOvr>
    <a:masterClrMapping/>
  </p:clrMapOvr>
  <p:transition spd="med"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611188" y="4657725"/>
            <a:ext cx="1081087" cy="2905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2788">
              <a:defRPr/>
            </a:pPr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4" y="33972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844517041"/>
      </p:ext>
    </p:extLst>
  </p:cSld>
  <p:clrMapOvr>
    <a:masterClrMapping/>
  </p:clrMapOvr>
  <p:transition spd="med"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611188" y="4657725"/>
            <a:ext cx="1081087" cy="2905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2788">
              <a:defRPr/>
            </a:pPr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4" y="1304926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7027027"/>
      </p:ext>
    </p:extLst>
  </p:cSld>
  <p:clrMapOvr>
    <a:masterClrMapping/>
  </p:clrMapOvr>
  <p:transition spd="med"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611188" y="4657725"/>
            <a:ext cx="1081087" cy="2905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2788">
              <a:defRPr/>
            </a:pPr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1" y="1304926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96" y="1304926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2506375"/>
      </p:ext>
    </p:extLst>
  </p:cSld>
  <p:clrMapOvr>
    <a:masterClrMapping/>
  </p:clrMapOvr>
  <p:transition spd="med"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611188" y="4657725"/>
            <a:ext cx="1081087" cy="2905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2788">
              <a:defRPr/>
            </a:pPr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4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839256"/>
      </p:ext>
    </p:extLst>
  </p:cSld>
  <p:clrMapOvr>
    <a:masterClrMapping/>
  </p:clrMapOvr>
  <p:transition spd="med"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611188" y="4657725"/>
            <a:ext cx="1081087" cy="2905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2788">
              <a:defRPr/>
            </a:pPr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4" y="33972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7727606"/>
      </p:ext>
    </p:extLst>
  </p:cSld>
  <p:clrMapOvr>
    <a:masterClrMapping/>
  </p:clrMapOvr>
  <p:transition spd="med"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611188" y="4657725"/>
            <a:ext cx="1081087" cy="2905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2788">
              <a:defRPr/>
            </a:pPr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3981757"/>
      </p:ext>
    </p:extLst>
  </p:cSld>
  <p:clrMapOvr>
    <a:masterClrMapping/>
  </p:clrMapOvr>
  <p:transition spd="med"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611188" y="4657725"/>
            <a:ext cx="1081087" cy="2905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2788">
              <a:defRPr/>
            </a:pPr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4307629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7798901"/>
      </p:ext>
    </p:extLst>
  </p:cSld>
  <p:clrMapOvr>
    <a:masterClrMapping/>
  </p:clrMapOvr>
  <p:transition spd="med"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04" name="Rectangle 4"/>
          <p:cNvSpPr>
            <a:spLocks noGrp="1" noChangeArrowheads="1"/>
          </p:cNvSpPr>
          <p:nvPr>
            <p:ph type="ctrTitle"/>
          </p:nvPr>
        </p:nvSpPr>
        <p:spPr>
          <a:xfrm>
            <a:off x="3297248" y="2131219"/>
            <a:ext cx="5522911" cy="1196814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5400">
                <a:latin typeface="Helvetica 35 Thin" pitchFamily="34" charset="0"/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95792352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7482567"/>
      </p:ext>
    </p:extLst>
  </p:cSld>
  <p:clrMapOvr>
    <a:masterClrMapping/>
  </p:clrMapOvr>
  <p:transition spd="med"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7781180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re. Text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011238" y="303610"/>
            <a:ext cx="7808912" cy="738188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1011238" y="1329929"/>
            <a:ext cx="3827462" cy="2915840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2"/>
          </p:nvPr>
        </p:nvSpPr>
        <p:spPr>
          <a:xfrm>
            <a:off x="4991100" y="1329929"/>
            <a:ext cx="3829050" cy="1400175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3"/>
          </p:nvPr>
        </p:nvSpPr>
        <p:spPr>
          <a:xfrm>
            <a:off x="4991100" y="2844404"/>
            <a:ext cx="3829050" cy="1401365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0"/>
          </p:nvPr>
        </p:nvSpPr>
        <p:spPr>
          <a:xfrm>
            <a:off x="1011238" y="4805363"/>
            <a:ext cx="2487612" cy="163512"/>
          </a:xfrm>
          <a:prstGeom prst="rect">
            <a:avLst/>
          </a:prstGeom>
        </p:spPr>
        <p:txBody>
          <a:bodyPr/>
          <a:lstStyle>
            <a:lvl1pPr defTabSz="712788">
              <a:defRPr>
                <a:solidFill>
                  <a:srgbClr val="000000"/>
                </a:solidFill>
                <a:latin typeface="Helvetica 75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fr-FR"/>
              <a:t>titre de la présent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0453723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130711"/>
      </p:ext>
    </p:extLst>
  </p:cSld>
  <p:clrMapOvr>
    <a:masterClrMapping/>
  </p:clrMapOvr>
  <p:transition spd="med"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59"/>
          <p:cNvSpPr>
            <a:spLocks noGrp="1" noChangeArrowheads="1"/>
          </p:cNvSpPr>
          <p:nvPr>
            <p:ph type="ftr" sz="quarter" idx="10"/>
          </p:nvPr>
        </p:nvSpPr>
        <p:spPr>
          <a:xfrm>
            <a:off x="1065213" y="4805363"/>
            <a:ext cx="2487612" cy="163512"/>
          </a:xfrm>
          <a:prstGeom prst="rect">
            <a:avLst/>
          </a:prstGeom>
        </p:spPr>
        <p:txBody>
          <a:bodyPr/>
          <a:lstStyle>
            <a:lvl1pPr defTabSz="712788">
              <a:defRPr>
                <a:solidFill>
                  <a:srgbClr val="000000"/>
                </a:solidFill>
                <a:latin typeface="Helvetica 55 Roman" pitchFamily="2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endParaRPr lang="en-GB" altLang="fr-FR"/>
          </a:p>
        </p:txBody>
      </p:sp>
    </p:spTree>
    <p:extLst>
      <p:ext uri="{BB962C8B-B14F-4D97-AF65-F5344CB8AC3E}">
        <p14:creationId xmlns:p14="http://schemas.microsoft.com/office/powerpoint/2010/main" val="1784212244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59"/>
          <p:cNvSpPr>
            <a:spLocks noGrp="1" noChangeArrowheads="1"/>
          </p:cNvSpPr>
          <p:nvPr>
            <p:ph type="ftr" sz="quarter" idx="10"/>
          </p:nvPr>
        </p:nvSpPr>
        <p:spPr>
          <a:xfrm>
            <a:off x="1065213" y="4805363"/>
            <a:ext cx="2487612" cy="163512"/>
          </a:xfrm>
          <a:prstGeom prst="rect">
            <a:avLst/>
          </a:prstGeom>
        </p:spPr>
        <p:txBody>
          <a:bodyPr/>
          <a:lstStyle>
            <a:lvl1pPr defTabSz="712788">
              <a:defRPr>
                <a:solidFill>
                  <a:srgbClr val="000000"/>
                </a:solidFill>
                <a:latin typeface="Helvetica 55 Roman" pitchFamily="2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endParaRPr lang="en-GB" altLang="fr-FR"/>
          </a:p>
        </p:txBody>
      </p:sp>
    </p:spTree>
    <p:extLst>
      <p:ext uri="{BB962C8B-B14F-4D97-AF65-F5344CB8AC3E}">
        <p14:creationId xmlns:p14="http://schemas.microsoft.com/office/powerpoint/2010/main" val="3736480832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indent="-401638">
              <a:lnSpc>
                <a:spcPct val="85000"/>
              </a:lnSpc>
              <a:spcAft>
                <a:spcPts val="0"/>
              </a:spcAft>
              <a:buFont typeface="+mj-lt"/>
              <a:buAutoNum type="arabicPeriod"/>
              <a:defRPr sz="30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0768707"/>
      </p:ext>
    </p:extLst>
  </p:cSld>
  <p:clrMapOvr>
    <a:masterClrMapping/>
  </p:clrMapOvr>
  <p:transition spd="med"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>
            <a:spLocks noChangeArrowheads="1"/>
          </p:cNvSpPr>
          <p:nvPr/>
        </p:nvSpPr>
        <p:spPr bwMode="auto">
          <a:xfrm>
            <a:off x="250825" y="4779963"/>
            <a:ext cx="250825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rIns="0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400">
              <a:defRPr/>
            </a:pPr>
            <a:fld id="{EF0181CD-5D55-46F2-B283-DC3108D2B61F}" type="slidenum">
              <a:rPr lang="fr-FR" altLang="fr-FR" sz="1200" smtClean="0">
                <a:solidFill>
                  <a:srgbClr val="000000"/>
                </a:solidFill>
                <a:ea typeface="+mn-ea"/>
                <a:cs typeface="Arial" charset="0"/>
              </a:rPr>
              <a:pPr defTabSz="914400">
                <a:defRPr/>
              </a:pPr>
              <a:t>‹N°›</a:t>
            </a:fld>
            <a:endParaRPr lang="fr-FR" altLang="fr-FR" sz="1600" dirty="0" smtClean="0">
              <a:solidFill>
                <a:srgbClr val="000000"/>
              </a:solidFill>
              <a:ea typeface="+mn-ea"/>
              <a:cs typeface="Arial" charset="0"/>
            </a:endParaRPr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 bwMode="gray">
          <a:xfrm>
            <a:off x="250827" y="1059583"/>
            <a:ext cx="8664575" cy="3611810"/>
          </a:xfrm>
        </p:spPr>
        <p:txBody>
          <a:bodyPr/>
          <a:lstStyle>
            <a:lvl1pPr>
              <a:buSzPct val="100000"/>
              <a:defRPr/>
            </a:lvl1pPr>
            <a:lvl3pPr>
              <a:buSzPct val="100000"/>
              <a:defRPr/>
            </a:lvl3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93300436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/>
          <p:cNvSpPr txBox="1">
            <a:spLocks noChangeArrowheads="1"/>
          </p:cNvSpPr>
          <p:nvPr/>
        </p:nvSpPr>
        <p:spPr bwMode="auto">
          <a:xfrm>
            <a:off x="250825" y="4779963"/>
            <a:ext cx="252413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rIns="0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400">
              <a:defRPr/>
            </a:pPr>
            <a:fld id="{D2E7166C-C16D-4F0B-B0E7-015167B24BAA}" type="slidenum">
              <a:rPr lang="fr-FR" altLang="fr-FR" sz="1200" smtClean="0">
                <a:solidFill>
                  <a:srgbClr val="000000"/>
                </a:solidFill>
                <a:latin typeface="Helvetica 55 Roman" panose="020B0604020202020204" pitchFamily="2" charset="0"/>
                <a:ea typeface="+mn-ea"/>
                <a:cs typeface="Arial" charset="0"/>
              </a:rPr>
              <a:pPr defTabSz="914400">
                <a:defRPr/>
              </a:pPr>
              <a:t>‹N°›</a:t>
            </a:fld>
            <a:endParaRPr lang="fr-FR" altLang="fr-FR" sz="1600" dirty="0" smtClean="0">
              <a:solidFill>
                <a:srgbClr val="000000"/>
              </a:solidFill>
              <a:latin typeface="Helvetica 55 Roman" panose="020B0604020202020204" pitchFamily="2" charset="0"/>
              <a:ea typeface="+mn-ea"/>
              <a:cs typeface="Arial" charset="0"/>
            </a:endParaRPr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250828" y="228601"/>
            <a:ext cx="8683625" cy="738188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 bwMode="gray">
          <a:xfrm>
            <a:off x="250825" y="1599643"/>
            <a:ext cx="4177160" cy="3071750"/>
          </a:xfrm>
        </p:spPr>
        <p:txBody>
          <a:bodyPr/>
          <a:lstStyle>
            <a:lvl1pPr>
              <a:buSzPct val="100000"/>
              <a:defRPr/>
            </a:lvl1pPr>
            <a:lvl3pPr>
              <a:buSzPct val="100000"/>
              <a:defRPr/>
            </a:lvl3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1"/>
          </p:nvPr>
        </p:nvSpPr>
        <p:spPr>
          <a:xfrm>
            <a:off x="4758450" y="1600628"/>
            <a:ext cx="4176000" cy="307735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lang="fr-FR" dirty="0" smtClean="0"/>
            </a:lvl1pPr>
            <a:lvl2pPr>
              <a:defRPr lang="fr-FR" dirty="0" smtClean="0"/>
            </a:lvl2pPr>
            <a:lvl3pPr>
              <a:defRPr lang="fr-FR" dirty="0" smtClean="0"/>
            </a:lvl3pPr>
            <a:lvl4pPr>
              <a:defRPr lang="fr-FR" dirty="0" smtClean="0"/>
            </a:lvl4pPr>
            <a:lvl5pPr>
              <a:defRPr lang="fr-FR" dirty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250825" y="1114090"/>
            <a:ext cx="4177159" cy="37754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marL="0" indent="0">
              <a:buNone/>
              <a:defRPr lang="fr-FR" sz="2000" b="1" dirty="0" smtClean="0">
                <a:solidFill>
                  <a:schemeClr val="tx2"/>
                </a:solidFill>
                <a:latin typeface="Helvetica 75 Bold" panose="020B0804020202020204" pitchFamily="34" charset="0"/>
              </a:defRPr>
            </a:lvl1pPr>
            <a:lvl2pPr>
              <a:defRPr lang="fr-FR" dirty="0" smtClean="0"/>
            </a:lvl2pPr>
            <a:lvl3pPr>
              <a:defRPr lang="fr-FR" dirty="0" smtClean="0"/>
            </a:lvl3pPr>
            <a:lvl4pPr>
              <a:defRPr lang="fr-FR" dirty="0" smtClean="0"/>
            </a:lvl4pPr>
            <a:lvl5pPr>
              <a:defRPr lang="fr-FR" dirty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4758453" y="1114090"/>
            <a:ext cx="4177159" cy="37754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marL="0" indent="0">
              <a:buNone/>
              <a:defRPr lang="fr-FR" sz="2000" b="1" dirty="0" smtClean="0">
                <a:solidFill>
                  <a:schemeClr val="tx2"/>
                </a:solidFill>
                <a:latin typeface="Helvetica 75 Bold" panose="020B0804020202020204" pitchFamily="34" charset="0"/>
              </a:defRPr>
            </a:lvl1pPr>
            <a:lvl2pPr>
              <a:defRPr lang="fr-FR" dirty="0" smtClean="0"/>
            </a:lvl2pPr>
            <a:lvl3pPr>
              <a:defRPr lang="fr-FR" dirty="0" smtClean="0"/>
            </a:lvl3pPr>
            <a:lvl4pPr>
              <a:defRPr lang="fr-FR" dirty="0" smtClean="0"/>
            </a:lvl4pPr>
            <a:lvl5pPr>
              <a:defRPr lang="fr-FR" dirty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1490498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865864"/>
      </p:ext>
    </p:extLst>
  </p:cSld>
  <p:clrMapOvr>
    <a:masterClrMapping/>
  </p:clrMapOvr>
  <p:transition spd="med"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/>
          <p:cNvSpPr txBox="1">
            <a:spLocks noChangeArrowheads="1"/>
          </p:cNvSpPr>
          <p:nvPr/>
        </p:nvSpPr>
        <p:spPr bwMode="auto">
          <a:xfrm>
            <a:off x="250825" y="4779963"/>
            <a:ext cx="252413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rIns="0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400">
              <a:defRPr/>
            </a:pPr>
            <a:fld id="{4CBBBA99-9AF2-4CDC-A90B-2576A5EE9446}" type="slidenum">
              <a:rPr lang="fr-FR" altLang="fr-FR" sz="1200" smtClean="0">
                <a:solidFill>
                  <a:srgbClr val="000000"/>
                </a:solidFill>
                <a:latin typeface="Helvetica 55 Roman" panose="020B0604020202020204" pitchFamily="2" charset="0"/>
                <a:ea typeface="+mn-ea"/>
                <a:cs typeface="Arial" charset="0"/>
              </a:rPr>
              <a:pPr defTabSz="914400">
                <a:defRPr/>
              </a:pPr>
              <a:t>‹N°›</a:t>
            </a:fld>
            <a:endParaRPr lang="fr-FR" altLang="fr-FR" sz="1600" dirty="0" smtClean="0">
              <a:solidFill>
                <a:srgbClr val="000000"/>
              </a:solidFill>
              <a:latin typeface="Helvetica 55 Roman" panose="020B0604020202020204" pitchFamily="2" charset="0"/>
              <a:ea typeface="+mn-ea"/>
              <a:cs typeface="Arial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6500736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>
            <a:spLocks noChangeArrowheads="1"/>
          </p:cNvSpPr>
          <p:nvPr/>
        </p:nvSpPr>
        <p:spPr bwMode="auto">
          <a:xfrm>
            <a:off x="250825" y="4779963"/>
            <a:ext cx="252413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rIns="0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400">
              <a:defRPr/>
            </a:pPr>
            <a:fld id="{BA49FF42-3DC8-4A2F-B450-5DD28F8AF127}" type="slidenum">
              <a:rPr lang="fr-FR" altLang="fr-FR" sz="1200" smtClean="0">
                <a:solidFill>
                  <a:srgbClr val="000000"/>
                </a:solidFill>
                <a:latin typeface="Helvetica 55 Roman" panose="020B0604020202020204" pitchFamily="2" charset="0"/>
                <a:ea typeface="+mn-ea"/>
                <a:cs typeface="Arial" charset="0"/>
              </a:rPr>
              <a:pPr defTabSz="914400">
                <a:defRPr/>
              </a:pPr>
              <a:t>‹N°›</a:t>
            </a:fld>
            <a:endParaRPr lang="fr-FR" altLang="fr-FR" sz="1600" dirty="0" smtClean="0">
              <a:solidFill>
                <a:srgbClr val="000000"/>
              </a:solidFill>
              <a:latin typeface="Helvetica 55 Roman" panose="020B0604020202020204" pitchFamily="2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6944011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EMTA8361\Documents\Divers\Logos\O BS logo bottom right_RGB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6338" y="4300538"/>
            <a:ext cx="1319212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63558" y="1597819"/>
            <a:ext cx="8474400" cy="839589"/>
          </a:xfrm>
        </p:spPr>
        <p:txBody>
          <a:bodyPr>
            <a:spAutoFit/>
          </a:bodyPr>
          <a:lstStyle>
            <a:lvl1pPr>
              <a:defRPr sz="4400" b="0"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363557" y="2400302"/>
            <a:ext cx="8474400" cy="473976"/>
          </a:xfrm>
        </p:spPr>
        <p:txBody>
          <a:bodyPr>
            <a:spAutoFit/>
          </a:bodyPr>
          <a:lstStyle>
            <a:lvl1pPr marL="344488" indent="-344488">
              <a:buClr>
                <a:schemeClr val="bg1">
                  <a:lumMod val="50000"/>
                  <a:lumOff val="50000"/>
                </a:schemeClr>
              </a:buClr>
              <a:buSzPct val="100000"/>
              <a:buFont typeface="Helvetica 35 Thin" pitchFamily="34" charset="0"/>
              <a:buChar char="&gt;"/>
              <a:defRPr sz="2800">
                <a:solidFill>
                  <a:schemeClr val="bg1">
                    <a:lumMod val="50000"/>
                    <a:lumOff val="50000"/>
                  </a:schemeClr>
                </a:solidFill>
                <a:latin typeface="Helvetica 75 Bold" panose="020B0804020202020204" pitchFamily="34" charset="0"/>
              </a:defRPr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1"/>
          </p:nvPr>
        </p:nvSpPr>
        <p:spPr>
          <a:xfrm>
            <a:off x="363556" y="3314702"/>
            <a:ext cx="8474400" cy="236988"/>
          </a:xfrm>
        </p:spPr>
        <p:txBody>
          <a:bodyPr>
            <a:spAutoFit/>
          </a:bodyPr>
          <a:lstStyle>
            <a:lvl1pPr marL="0" indent="0">
              <a:buNone/>
              <a:defRPr sz="1400"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681090621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63558" y="1598755"/>
            <a:ext cx="7772400" cy="251889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fr-FR" sz="6600" b="0"/>
            </a:lvl1pPr>
          </a:lstStyle>
          <a:p>
            <a:pPr lvl="0"/>
            <a:r>
              <a:rPr lang="fr-FR" smtClean="0"/>
              <a:t>Cliquez pour modifier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65921623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2788"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grpSp>
        <p:nvGrpSpPr>
          <p:cNvPr id="6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5pPr>
              <a:lvl6pPr marL="18811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6pPr>
              <a:lvl7pPr marL="23383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7pPr>
              <a:lvl8pPr marL="27955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8pPr>
              <a:lvl9pPr marL="32527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smtClean="0">
                <a:solidFill>
                  <a:srgbClr val="FF6600"/>
                </a:solidFill>
                <a:latin typeface="Helvetica 75 Bold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7 w 104"/>
                <a:gd name="T1" fmla="*/ 2147483647 h 122"/>
                <a:gd name="T2" fmla="*/ 2147483647 w 104"/>
                <a:gd name="T3" fmla="*/ 2147483647 h 122"/>
                <a:gd name="T4" fmla="*/ 2147483647 w 104"/>
                <a:gd name="T5" fmla="*/ 2147483647 h 122"/>
                <a:gd name="T6" fmla="*/ 2147483647 w 104"/>
                <a:gd name="T7" fmla="*/ 2147483647 h 122"/>
                <a:gd name="T8" fmla="*/ 2147483647 w 104"/>
                <a:gd name="T9" fmla="*/ 2147483647 h 122"/>
                <a:gd name="T10" fmla="*/ 2147483647 w 104"/>
                <a:gd name="T11" fmla="*/ 2147483647 h 122"/>
                <a:gd name="T12" fmla="*/ 2147483647 w 104"/>
                <a:gd name="T13" fmla="*/ 2147483647 h 122"/>
                <a:gd name="T14" fmla="*/ 0 w 104"/>
                <a:gd name="T15" fmla="*/ 2147483647 h 122"/>
                <a:gd name="T16" fmla="*/ 2147483647 w 104"/>
                <a:gd name="T17" fmla="*/ 2147483647 h 122"/>
                <a:gd name="T18" fmla="*/ 2147483647 w 104"/>
                <a:gd name="T19" fmla="*/ 2147483647 h 122"/>
                <a:gd name="T20" fmla="*/ 2147483647 w 104"/>
                <a:gd name="T21" fmla="*/ 2147483647 h 122"/>
                <a:gd name="T22" fmla="*/ 2147483647 w 104"/>
                <a:gd name="T23" fmla="*/ 2147483647 h 122"/>
                <a:gd name="T24" fmla="*/ 2147483647 w 104"/>
                <a:gd name="T25" fmla="*/ 2147483647 h 122"/>
                <a:gd name="T26" fmla="*/ 2147483647 w 104"/>
                <a:gd name="T27" fmla="*/ 0 h 122"/>
                <a:gd name="T28" fmla="*/ 2147483647 w 104"/>
                <a:gd name="T29" fmla="*/ 2147483647 h 122"/>
                <a:gd name="T30" fmla="*/ 2147483647 w 104"/>
                <a:gd name="T31" fmla="*/ 2147483647 h 122"/>
                <a:gd name="T32" fmla="*/ 2147483647 w 104"/>
                <a:gd name="T33" fmla="*/ 2147483647 h 122"/>
                <a:gd name="T34" fmla="*/ 2147483647 w 104"/>
                <a:gd name="T35" fmla="*/ 2147483647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7 h 120"/>
                <a:gd name="T2" fmla="*/ 2147483647 w 105"/>
                <a:gd name="T3" fmla="*/ 2147483647 h 120"/>
                <a:gd name="T4" fmla="*/ 2147483647 w 105"/>
                <a:gd name="T5" fmla="*/ 2147483647 h 120"/>
                <a:gd name="T6" fmla="*/ 2147483647 w 105"/>
                <a:gd name="T7" fmla="*/ 0 h 120"/>
                <a:gd name="T8" fmla="*/ 2147483647 w 105"/>
                <a:gd name="T9" fmla="*/ 2147483647 h 120"/>
                <a:gd name="T10" fmla="*/ 2147483647 w 105"/>
                <a:gd name="T11" fmla="*/ 2147483647 h 120"/>
                <a:gd name="T12" fmla="*/ 2147483647 w 105"/>
                <a:gd name="T13" fmla="*/ 2147483647 h 120"/>
                <a:gd name="T14" fmla="*/ 2147483647 w 105"/>
                <a:gd name="T15" fmla="*/ 2147483647 h 120"/>
                <a:gd name="T16" fmla="*/ 2147483647 w 105"/>
                <a:gd name="T17" fmla="*/ 2147483647 h 120"/>
                <a:gd name="T18" fmla="*/ 2147483647 w 105"/>
                <a:gd name="T19" fmla="*/ 2147483647 h 120"/>
                <a:gd name="T20" fmla="*/ 2147483647 w 105"/>
                <a:gd name="T21" fmla="*/ 2147483647 h 120"/>
                <a:gd name="T22" fmla="*/ 0 w 105"/>
                <a:gd name="T23" fmla="*/ 2147483647 h 120"/>
                <a:gd name="T24" fmla="*/ 0 w 105"/>
                <a:gd name="T25" fmla="*/ 2147483647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7 w 109"/>
                <a:gd name="T1" fmla="*/ 2147483647 h 122"/>
                <a:gd name="T2" fmla="*/ 2147483647 w 109"/>
                <a:gd name="T3" fmla="*/ 2147483647 h 122"/>
                <a:gd name="T4" fmla="*/ 2147483647 w 109"/>
                <a:gd name="T5" fmla="*/ 2147483647 h 122"/>
                <a:gd name="T6" fmla="*/ 2147483647 w 109"/>
                <a:gd name="T7" fmla="*/ 2147483647 h 122"/>
                <a:gd name="T8" fmla="*/ 2147483647 w 109"/>
                <a:gd name="T9" fmla="*/ 2147483647 h 122"/>
                <a:gd name="T10" fmla="*/ 0 w 109"/>
                <a:gd name="T11" fmla="*/ 2147483647 h 122"/>
                <a:gd name="T12" fmla="*/ 2147483647 w 109"/>
                <a:gd name="T13" fmla="*/ 0 h 122"/>
                <a:gd name="T14" fmla="*/ 2147483647 w 109"/>
                <a:gd name="T15" fmla="*/ 2147483647 h 122"/>
                <a:gd name="T16" fmla="*/ 2147483647 w 109"/>
                <a:gd name="T17" fmla="*/ 2147483647 h 122"/>
                <a:gd name="T18" fmla="*/ 2147483647 w 109"/>
                <a:gd name="T19" fmla="*/ 2147483647 h 122"/>
                <a:gd name="T20" fmla="*/ 2147483647 w 109"/>
                <a:gd name="T21" fmla="*/ 2147483647 h 122"/>
                <a:gd name="T22" fmla="*/ 2147483647 w 109"/>
                <a:gd name="T23" fmla="*/ 2147483647 h 122"/>
                <a:gd name="T24" fmla="*/ 2147483647 w 109"/>
                <a:gd name="T25" fmla="*/ 2147483647 h 122"/>
                <a:gd name="T26" fmla="*/ 2147483647 w 109"/>
                <a:gd name="T27" fmla="*/ 2147483647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7 w 116"/>
                <a:gd name="T1" fmla="*/ 2147483647 h 124"/>
                <a:gd name="T2" fmla="*/ 2147483647 w 116"/>
                <a:gd name="T3" fmla="*/ 2147483647 h 124"/>
                <a:gd name="T4" fmla="*/ 2147483647 w 116"/>
                <a:gd name="T5" fmla="*/ 2147483647 h 124"/>
                <a:gd name="T6" fmla="*/ 2147483647 w 116"/>
                <a:gd name="T7" fmla="*/ 2147483647 h 124"/>
                <a:gd name="T8" fmla="*/ 2147483647 w 116"/>
                <a:gd name="T9" fmla="*/ 2147483647 h 124"/>
                <a:gd name="T10" fmla="*/ 2147483647 w 116"/>
                <a:gd name="T11" fmla="*/ 2147483647 h 124"/>
                <a:gd name="T12" fmla="*/ 0 w 116"/>
                <a:gd name="T13" fmla="*/ 2147483647 h 124"/>
                <a:gd name="T14" fmla="*/ 2147483647 w 116"/>
                <a:gd name="T15" fmla="*/ 0 h 124"/>
                <a:gd name="T16" fmla="*/ 2147483647 w 116"/>
                <a:gd name="T17" fmla="*/ 2147483647 h 124"/>
                <a:gd name="T18" fmla="*/ 2147483647 w 116"/>
                <a:gd name="T19" fmla="*/ 2147483647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7 h 120"/>
                <a:gd name="T2" fmla="*/ 2147483647 w 66"/>
                <a:gd name="T3" fmla="*/ 2147483647 h 120"/>
                <a:gd name="T4" fmla="*/ 2147483647 w 66"/>
                <a:gd name="T5" fmla="*/ 2147483647 h 120"/>
                <a:gd name="T6" fmla="*/ 2147483647 w 66"/>
                <a:gd name="T7" fmla="*/ 0 h 120"/>
                <a:gd name="T8" fmla="*/ 2147483647 w 66"/>
                <a:gd name="T9" fmla="*/ 2147483647 h 120"/>
                <a:gd name="T10" fmla="*/ 2147483647 w 66"/>
                <a:gd name="T11" fmla="*/ 2147483647 h 120"/>
                <a:gd name="T12" fmla="*/ 2147483647 w 66"/>
                <a:gd name="T13" fmla="*/ 2147483647 h 120"/>
                <a:gd name="T14" fmla="*/ 2147483647 w 66"/>
                <a:gd name="T15" fmla="*/ 2147483647 h 120"/>
                <a:gd name="T16" fmla="*/ 2147483647 w 66"/>
                <a:gd name="T17" fmla="*/ 2147483647 h 120"/>
                <a:gd name="T18" fmla="*/ 0 w 66"/>
                <a:gd name="T19" fmla="*/ 2147483647 h 120"/>
                <a:gd name="T20" fmla="*/ 0 w 66"/>
                <a:gd name="T21" fmla="*/ 2147483647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7 w 110"/>
                <a:gd name="T1" fmla="*/ 2147483647 h 166"/>
                <a:gd name="T2" fmla="*/ 2147483647 w 110"/>
                <a:gd name="T3" fmla="*/ 2147483647 h 166"/>
                <a:gd name="T4" fmla="*/ 2147483647 w 110"/>
                <a:gd name="T5" fmla="*/ 2147483647 h 166"/>
                <a:gd name="T6" fmla="*/ 2147483647 w 110"/>
                <a:gd name="T7" fmla="*/ 2147483647 h 166"/>
                <a:gd name="T8" fmla="*/ 2147483647 w 110"/>
                <a:gd name="T9" fmla="*/ 2147483647 h 166"/>
                <a:gd name="T10" fmla="*/ 2147483647 w 110"/>
                <a:gd name="T11" fmla="*/ 2147483647 h 166"/>
                <a:gd name="T12" fmla="*/ 2147483647 w 110"/>
                <a:gd name="T13" fmla="*/ 2147483647 h 166"/>
                <a:gd name="T14" fmla="*/ 2147483647 w 110"/>
                <a:gd name="T15" fmla="*/ 2147483647 h 166"/>
                <a:gd name="T16" fmla="*/ 2147483647 w 110"/>
                <a:gd name="T17" fmla="*/ 2147483647 h 166"/>
                <a:gd name="T18" fmla="*/ 2147483647 w 110"/>
                <a:gd name="T19" fmla="*/ 2147483647 h 166"/>
                <a:gd name="T20" fmla="*/ 0 w 110"/>
                <a:gd name="T21" fmla="*/ 2147483647 h 166"/>
                <a:gd name="T22" fmla="*/ 2147483647 w 110"/>
                <a:gd name="T23" fmla="*/ 0 h 166"/>
                <a:gd name="T24" fmla="*/ 2147483647 w 110"/>
                <a:gd name="T25" fmla="*/ 2147483647 h 166"/>
                <a:gd name="T26" fmla="*/ 2147483647 w 110"/>
                <a:gd name="T27" fmla="*/ 2147483647 h 166"/>
                <a:gd name="T28" fmla="*/ 2147483647 w 110"/>
                <a:gd name="T29" fmla="*/ 2147483647 h 166"/>
                <a:gd name="T30" fmla="*/ 2147483647 w 110"/>
                <a:gd name="T31" fmla="*/ 2147483647 h 166"/>
                <a:gd name="T32" fmla="*/ 2147483647 w 110"/>
                <a:gd name="T33" fmla="*/ 2147483647 h 166"/>
                <a:gd name="T34" fmla="*/ 2147483647 w 110"/>
                <a:gd name="T35" fmla="*/ 2147483647 h 166"/>
                <a:gd name="T36" fmla="*/ 2147483647 w 110"/>
                <a:gd name="T37" fmla="*/ 2147483647 h 166"/>
                <a:gd name="T38" fmla="*/ 2147483647 w 110"/>
                <a:gd name="T39" fmla="*/ 2147483647 h 166"/>
                <a:gd name="T40" fmla="*/ 2147483647 w 110"/>
                <a:gd name="T41" fmla="*/ 2147483647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7 w 195"/>
                <a:gd name="T1" fmla="*/ 2147483647 h 92"/>
                <a:gd name="T2" fmla="*/ 2147483647 w 195"/>
                <a:gd name="T3" fmla="*/ 2147483647 h 92"/>
                <a:gd name="T4" fmla="*/ 2147483647 w 195"/>
                <a:gd name="T5" fmla="*/ 2147483647 h 92"/>
                <a:gd name="T6" fmla="*/ 2147483647 w 195"/>
                <a:gd name="T7" fmla="*/ 2147483647 h 92"/>
                <a:gd name="T8" fmla="*/ 2147483647 w 195"/>
                <a:gd name="T9" fmla="*/ 2147483647 h 92"/>
                <a:gd name="T10" fmla="*/ 2147483647 w 195"/>
                <a:gd name="T11" fmla="*/ 2147483647 h 92"/>
                <a:gd name="T12" fmla="*/ 2147483647 w 195"/>
                <a:gd name="T13" fmla="*/ 2147483647 h 92"/>
                <a:gd name="T14" fmla="*/ 2147483647 w 195"/>
                <a:gd name="T15" fmla="*/ 2147483647 h 92"/>
                <a:gd name="T16" fmla="*/ 2147483647 w 195"/>
                <a:gd name="T17" fmla="*/ 2147483647 h 92"/>
                <a:gd name="T18" fmla="*/ 2147483647 w 195"/>
                <a:gd name="T19" fmla="*/ 2147483647 h 92"/>
                <a:gd name="T20" fmla="*/ 2147483647 w 195"/>
                <a:gd name="T21" fmla="*/ 0 h 92"/>
                <a:gd name="T22" fmla="*/ 2147483647 w 195"/>
                <a:gd name="T23" fmla="*/ 0 h 92"/>
                <a:gd name="T24" fmla="*/ 2147483647 w 195"/>
                <a:gd name="T25" fmla="*/ 2147483647 h 92"/>
                <a:gd name="T26" fmla="*/ 2147483647 w 195"/>
                <a:gd name="T27" fmla="*/ 0 h 92"/>
                <a:gd name="T28" fmla="*/ 2147483647 w 195"/>
                <a:gd name="T29" fmla="*/ 0 h 92"/>
                <a:gd name="T30" fmla="*/ 2147483647 w 195"/>
                <a:gd name="T31" fmla="*/ 2147483647 h 92"/>
                <a:gd name="T32" fmla="*/ 2147483647 w 195"/>
                <a:gd name="T33" fmla="*/ 2147483647 h 92"/>
                <a:gd name="T34" fmla="*/ 2147483647 w 195"/>
                <a:gd name="T35" fmla="*/ 2147483647 h 92"/>
                <a:gd name="T36" fmla="*/ 2147483647 w 195"/>
                <a:gd name="T37" fmla="*/ 2147483647 h 92"/>
                <a:gd name="T38" fmla="*/ 2147483647 w 195"/>
                <a:gd name="T39" fmla="*/ 2147483647 h 92"/>
                <a:gd name="T40" fmla="*/ 2147483647 w 195"/>
                <a:gd name="T41" fmla="*/ 2147483647 h 92"/>
                <a:gd name="T42" fmla="*/ 0 w 195"/>
                <a:gd name="T43" fmla="*/ 2147483647 h 92"/>
                <a:gd name="T44" fmla="*/ 0 w 195"/>
                <a:gd name="T45" fmla="*/ 0 h 92"/>
                <a:gd name="T46" fmla="*/ 2147483647 w 195"/>
                <a:gd name="T47" fmla="*/ 0 h 92"/>
                <a:gd name="T48" fmla="*/ 2147483647 w 195"/>
                <a:gd name="T49" fmla="*/ 2147483647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946341469"/>
      </p:ext>
    </p:extLst>
  </p:cSld>
  <p:clrMapOvr>
    <a:masterClrMapping/>
  </p:clrMapOvr>
  <p:transition spd="med">
    <p:fade/>
  </p:transition>
  <p:hf sldNum="0" hdr="0" ftr="0"/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3397183604"/>
      </p:ext>
    </p:extLst>
  </p:cSld>
  <p:clrMapOvr>
    <a:masterClrMapping/>
  </p:clrMapOvr>
  <p:transition spd="med"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653317364"/>
      </p:ext>
    </p:extLst>
  </p:cSld>
  <p:clrMapOvr>
    <a:masterClrMapping/>
  </p:clrMapOvr>
  <p:transition spd="med"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9096914"/>
      </p:ext>
    </p:extLst>
  </p:cSld>
  <p:clrMapOvr>
    <a:masterClrMapping/>
  </p:clrMapOvr>
  <p:transition spd="med"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6490598"/>
      </p:ext>
    </p:extLst>
  </p:cSld>
  <p:clrMapOvr>
    <a:masterClrMapping/>
  </p:clrMapOvr>
  <p:transition spd="med"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0217496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0070277"/>
      </p:ext>
    </p:extLst>
  </p:cSld>
  <p:clrMapOvr>
    <a:masterClrMapping/>
  </p:clrMapOvr>
  <p:transition spd="med"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9492532"/>
      </p:ext>
    </p:extLst>
  </p:cSld>
  <p:clrMapOvr>
    <a:masterClrMapping/>
  </p:clrMapOvr>
  <p:transition spd="med"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0938030"/>
      </p:ext>
    </p:extLst>
  </p:cSld>
  <p:clrMapOvr>
    <a:masterClrMapping/>
  </p:clrMapOvr>
  <p:transition spd="med"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0527452"/>
      </p:ext>
    </p:extLst>
  </p:cSld>
  <p:clrMapOvr>
    <a:masterClrMapping/>
  </p:clrMapOvr>
  <p:transition spd="med"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2788"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grpSp>
        <p:nvGrpSpPr>
          <p:cNvPr id="6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5pPr>
              <a:lvl6pPr marL="18811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6pPr>
              <a:lvl7pPr marL="23383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7pPr>
              <a:lvl8pPr marL="27955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8pPr>
              <a:lvl9pPr marL="32527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smtClean="0">
                <a:solidFill>
                  <a:srgbClr val="FF6600"/>
                </a:solidFill>
                <a:latin typeface="Helvetica 75 Bold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7 w 104"/>
                <a:gd name="T1" fmla="*/ 2147483647 h 122"/>
                <a:gd name="T2" fmla="*/ 2147483647 w 104"/>
                <a:gd name="T3" fmla="*/ 2147483647 h 122"/>
                <a:gd name="T4" fmla="*/ 2147483647 w 104"/>
                <a:gd name="T5" fmla="*/ 2147483647 h 122"/>
                <a:gd name="T6" fmla="*/ 2147483647 w 104"/>
                <a:gd name="T7" fmla="*/ 2147483647 h 122"/>
                <a:gd name="T8" fmla="*/ 2147483647 w 104"/>
                <a:gd name="T9" fmla="*/ 2147483647 h 122"/>
                <a:gd name="T10" fmla="*/ 2147483647 w 104"/>
                <a:gd name="T11" fmla="*/ 2147483647 h 122"/>
                <a:gd name="T12" fmla="*/ 2147483647 w 104"/>
                <a:gd name="T13" fmla="*/ 2147483647 h 122"/>
                <a:gd name="T14" fmla="*/ 0 w 104"/>
                <a:gd name="T15" fmla="*/ 2147483647 h 122"/>
                <a:gd name="T16" fmla="*/ 2147483647 w 104"/>
                <a:gd name="T17" fmla="*/ 2147483647 h 122"/>
                <a:gd name="T18" fmla="*/ 2147483647 w 104"/>
                <a:gd name="T19" fmla="*/ 2147483647 h 122"/>
                <a:gd name="T20" fmla="*/ 2147483647 w 104"/>
                <a:gd name="T21" fmla="*/ 2147483647 h 122"/>
                <a:gd name="T22" fmla="*/ 2147483647 w 104"/>
                <a:gd name="T23" fmla="*/ 2147483647 h 122"/>
                <a:gd name="T24" fmla="*/ 2147483647 w 104"/>
                <a:gd name="T25" fmla="*/ 2147483647 h 122"/>
                <a:gd name="T26" fmla="*/ 2147483647 w 104"/>
                <a:gd name="T27" fmla="*/ 0 h 122"/>
                <a:gd name="T28" fmla="*/ 2147483647 w 104"/>
                <a:gd name="T29" fmla="*/ 2147483647 h 122"/>
                <a:gd name="T30" fmla="*/ 2147483647 w 104"/>
                <a:gd name="T31" fmla="*/ 2147483647 h 122"/>
                <a:gd name="T32" fmla="*/ 2147483647 w 104"/>
                <a:gd name="T33" fmla="*/ 2147483647 h 122"/>
                <a:gd name="T34" fmla="*/ 2147483647 w 104"/>
                <a:gd name="T35" fmla="*/ 2147483647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7 h 120"/>
                <a:gd name="T2" fmla="*/ 2147483647 w 105"/>
                <a:gd name="T3" fmla="*/ 2147483647 h 120"/>
                <a:gd name="T4" fmla="*/ 2147483647 w 105"/>
                <a:gd name="T5" fmla="*/ 2147483647 h 120"/>
                <a:gd name="T6" fmla="*/ 2147483647 w 105"/>
                <a:gd name="T7" fmla="*/ 0 h 120"/>
                <a:gd name="T8" fmla="*/ 2147483647 w 105"/>
                <a:gd name="T9" fmla="*/ 2147483647 h 120"/>
                <a:gd name="T10" fmla="*/ 2147483647 w 105"/>
                <a:gd name="T11" fmla="*/ 2147483647 h 120"/>
                <a:gd name="T12" fmla="*/ 2147483647 w 105"/>
                <a:gd name="T13" fmla="*/ 2147483647 h 120"/>
                <a:gd name="T14" fmla="*/ 2147483647 w 105"/>
                <a:gd name="T15" fmla="*/ 2147483647 h 120"/>
                <a:gd name="T16" fmla="*/ 2147483647 w 105"/>
                <a:gd name="T17" fmla="*/ 2147483647 h 120"/>
                <a:gd name="T18" fmla="*/ 2147483647 w 105"/>
                <a:gd name="T19" fmla="*/ 2147483647 h 120"/>
                <a:gd name="T20" fmla="*/ 2147483647 w 105"/>
                <a:gd name="T21" fmla="*/ 2147483647 h 120"/>
                <a:gd name="T22" fmla="*/ 0 w 105"/>
                <a:gd name="T23" fmla="*/ 2147483647 h 120"/>
                <a:gd name="T24" fmla="*/ 0 w 105"/>
                <a:gd name="T25" fmla="*/ 2147483647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7 w 109"/>
                <a:gd name="T1" fmla="*/ 2147483647 h 122"/>
                <a:gd name="T2" fmla="*/ 2147483647 w 109"/>
                <a:gd name="T3" fmla="*/ 2147483647 h 122"/>
                <a:gd name="T4" fmla="*/ 2147483647 w 109"/>
                <a:gd name="T5" fmla="*/ 2147483647 h 122"/>
                <a:gd name="T6" fmla="*/ 2147483647 w 109"/>
                <a:gd name="T7" fmla="*/ 2147483647 h 122"/>
                <a:gd name="T8" fmla="*/ 2147483647 w 109"/>
                <a:gd name="T9" fmla="*/ 2147483647 h 122"/>
                <a:gd name="T10" fmla="*/ 0 w 109"/>
                <a:gd name="T11" fmla="*/ 2147483647 h 122"/>
                <a:gd name="T12" fmla="*/ 2147483647 w 109"/>
                <a:gd name="T13" fmla="*/ 0 h 122"/>
                <a:gd name="T14" fmla="*/ 2147483647 w 109"/>
                <a:gd name="T15" fmla="*/ 2147483647 h 122"/>
                <a:gd name="T16" fmla="*/ 2147483647 w 109"/>
                <a:gd name="T17" fmla="*/ 2147483647 h 122"/>
                <a:gd name="T18" fmla="*/ 2147483647 w 109"/>
                <a:gd name="T19" fmla="*/ 2147483647 h 122"/>
                <a:gd name="T20" fmla="*/ 2147483647 w 109"/>
                <a:gd name="T21" fmla="*/ 2147483647 h 122"/>
                <a:gd name="T22" fmla="*/ 2147483647 w 109"/>
                <a:gd name="T23" fmla="*/ 2147483647 h 122"/>
                <a:gd name="T24" fmla="*/ 2147483647 w 109"/>
                <a:gd name="T25" fmla="*/ 2147483647 h 122"/>
                <a:gd name="T26" fmla="*/ 2147483647 w 109"/>
                <a:gd name="T27" fmla="*/ 2147483647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7 w 116"/>
                <a:gd name="T1" fmla="*/ 2147483647 h 124"/>
                <a:gd name="T2" fmla="*/ 2147483647 w 116"/>
                <a:gd name="T3" fmla="*/ 2147483647 h 124"/>
                <a:gd name="T4" fmla="*/ 2147483647 w 116"/>
                <a:gd name="T5" fmla="*/ 2147483647 h 124"/>
                <a:gd name="T6" fmla="*/ 2147483647 w 116"/>
                <a:gd name="T7" fmla="*/ 2147483647 h 124"/>
                <a:gd name="T8" fmla="*/ 2147483647 w 116"/>
                <a:gd name="T9" fmla="*/ 2147483647 h 124"/>
                <a:gd name="T10" fmla="*/ 2147483647 w 116"/>
                <a:gd name="T11" fmla="*/ 2147483647 h 124"/>
                <a:gd name="T12" fmla="*/ 0 w 116"/>
                <a:gd name="T13" fmla="*/ 2147483647 h 124"/>
                <a:gd name="T14" fmla="*/ 2147483647 w 116"/>
                <a:gd name="T15" fmla="*/ 0 h 124"/>
                <a:gd name="T16" fmla="*/ 2147483647 w 116"/>
                <a:gd name="T17" fmla="*/ 2147483647 h 124"/>
                <a:gd name="T18" fmla="*/ 2147483647 w 116"/>
                <a:gd name="T19" fmla="*/ 2147483647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7 h 120"/>
                <a:gd name="T2" fmla="*/ 2147483647 w 66"/>
                <a:gd name="T3" fmla="*/ 2147483647 h 120"/>
                <a:gd name="T4" fmla="*/ 2147483647 w 66"/>
                <a:gd name="T5" fmla="*/ 2147483647 h 120"/>
                <a:gd name="T6" fmla="*/ 2147483647 w 66"/>
                <a:gd name="T7" fmla="*/ 0 h 120"/>
                <a:gd name="T8" fmla="*/ 2147483647 w 66"/>
                <a:gd name="T9" fmla="*/ 2147483647 h 120"/>
                <a:gd name="T10" fmla="*/ 2147483647 w 66"/>
                <a:gd name="T11" fmla="*/ 2147483647 h 120"/>
                <a:gd name="T12" fmla="*/ 2147483647 w 66"/>
                <a:gd name="T13" fmla="*/ 2147483647 h 120"/>
                <a:gd name="T14" fmla="*/ 2147483647 w 66"/>
                <a:gd name="T15" fmla="*/ 2147483647 h 120"/>
                <a:gd name="T16" fmla="*/ 2147483647 w 66"/>
                <a:gd name="T17" fmla="*/ 2147483647 h 120"/>
                <a:gd name="T18" fmla="*/ 0 w 66"/>
                <a:gd name="T19" fmla="*/ 2147483647 h 120"/>
                <a:gd name="T20" fmla="*/ 0 w 66"/>
                <a:gd name="T21" fmla="*/ 2147483647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7 w 110"/>
                <a:gd name="T1" fmla="*/ 2147483647 h 166"/>
                <a:gd name="T2" fmla="*/ 2147483647 w 110"/>
                <a:gd name="T3" fmla="*/ 2147483647 h 166"/>
                <a:gd name="T4" fmla="*/ 2147483647 w 110"/>
                <a:gd name="T5" fmla="*/ 2147483647 h 166"/>
                <a:gd name="T6" fmla="*/ 2147483647 w 110"/>
                <a:gd name="T7" fmla="*/ 2147483647 h 166"/>
                <a:gd name="T8" fmla="*/ 2147483647 w 110"/>
                <a:gd name="T9" fmla="*/ 2147483647 h 166"/>
                <a:gd name="T10" fmla="*/ 2147483647 w 110"/>
                <a:gd name="T11" fmla="*/ 2147483647 h 166"/>
                <a:gd name="T12" fmla="*/ 2147483647 w 110"/>
                <a:gd name="T13" fmla="*/ 2147483647 h 166"/>
                <a:gd name="T14" fmla="*/ 2147483647 w 110"/>
                <a:gd name="T15" fmla="*/ 2147483647 h 166"/>
                <a:gd name="T16" fmla="*/ 2147483647 w 110"/>
                <a:gd name="T17" fmla="*/ 2147483647 h 166"/>
                <a:gd name="T18" fmla="*/ 2147483647 w 110"/>
                <a:gd name="T19" fmla="*/ 2147483647 h 166"/>
                <a:gd name="T20" fmla="*/ 0 w 110"/>
                <a:gd name="T21" fmla="*/ 2147483647 h 166"/>
                <a:gd name="T22" fmla="*/ 2147483647 w 110"/>
                <a:gd name="T23" fmla="*/ 0 h 166"/>
                <a:gd name="T24" fmla="*/ 2147483647 w 110"/>
                <a:gd name="T25" fmla="*/ 2147483647 h 166"/>
                <a:gd name="T26" fmla="*/ 2147483647 w 110"/>
                <a:gd name="T27" fmla="*/ 2147483647 h 166"/>
                <a:gd name="T28" fmla="*/ 2147483647 w 110"/>
                <a:gd name="T29" fmla="*/ 2147483647 h 166"/>
                <a:gd name="T30" fmla="*/ 2147483647 w 110"/>
                <a:gd name="T31" fmla="*/ 2147483647 h 166"/>
                <a:gd name="T32" fmla="*/ 2147483647 w 110"/>
                <a:gd name="T33" fmla="*/ 2147483647 h 166"/>
                <a:gd name="T34" fmla="*/ 2147483647 w 110"/>
                <a:gd name="T35" fmla="*/ 2147483647 h 166"/>
                <a:gd name="T36" fmla="*/ 2147483647 w 110"/>
                <a:gd name="T37" fmla="*/ 2147483647 h 166"/>
                <a:gd name="T38" fmla="*/ 2147483647 w 110"/>
                <a:gd name="T39" fmla="*/ 2147483647 h 166"/>
                <a:gd name="T40" fmla="*/ 2147483647 w 110"/>
                <a:gd name="T41" fmla="*/ 2147483647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7 w 195"/>
                <a:gd name="T1" fmla="*/ 2147483647 h 92"/>
                <a:gd name="T2" fmla="*/ 2147483647 w 195"/>
                <a:gd name="T3" fmla="*/ 2147483647 h 92"/>
                <a:gd name="T4" fmla="*/ 2147483647 w 195"/>
                <a:gd name="T5" fmla="*/ 2147483647 h 92"/>
                <a:gd name="T6" fmla="*/ 2147483647 w 195"/>
                <a:gd name="T7" fmla="*/ 2147483647 h 92"/>
                <a:gd name="T8" fmla="*/ 2147483647 w 195"/>
                <a:gd name="T9" fmla="*/ 2147483647 h 92"/>
                <a:gd name="T10" fmla="*/ 2147483647 w 195"/>
                <a:gd name="T11" fmla="*/ 2147483647 h 92"/>
                <a:gd name="T12" fmla="*/ 2147483647 w 195"/>
                <a:gd name="T13" fmla="*/ 2147483647 h 92"/>
                <a:gd name="T14" fmla="*/ 2147483647 w 195"/>
                <a:gd name="T15" fmla="*/ 2147483647 h 92"/>
                <a:gd name="T16" fmla="*/ 2147483647 w 195"/>
                <a:gd name="T17" fmla="*/ 2147483647 h 92"/>
                <a:gd name="T18" fmla="*/ 2147483647 w 195"/>
                <a:gd name="T19" fmla="*/ 2147483647 h 92"/>
                <a:gd name="T20" fmla="*/ 2147483647 w 195"/>
                <a:gd name="T21" fmla="*/ 0 h 92"/>
                <a:gd name="T22" fmla="*/ 2147483647 w 195"/>
                <a:gd name="T23" fmla="*/ 0 h 92"/>
                <a:gd name="T24" fmla="*/ 2147483647 w 195"/>
                <a:gd name="T25" fmla="*/ 2147483647 h 92"/>
                <a:gd name="T26" fmla="*/ 2147483647 w 195"/>
                <a:gd name="T27" fmla="*/ 0 h 92"/>
                <a:gd name="T28" fmla="*/ 2147483647 w 195"/>
                <a:gd name="T29" fmla="*/ 0 h 92"/>
                <a:gd name="T30" fmla="*/ 2147483647 w 195"/>
                <a:gd name="T31" fmla="*/ 2147483647 h 92"/>
                <a:gd name="T32" fmla="*/ 2147483647 w 195"/>
                <a:gd name="T33" fmla="*/ 2147483647 h 92"/>
                <a:gd name="T34" fmla="*/ 2147483647 w 195"/>
                <a:gd name="T35" fmla="*/ 2147483647 h 92"/>
                <a:gd name="T36" fmla="*/ 2147483647 w 195"/>
                <a:gd name="T37" fmla="*/ 2147483647 h 92"/>
                <a:gd name="T38" fmla="*/ 2147483647 w 195"/>
                <a:gd name="T39" fmla="*/ 2147483647 h 92"/>
                <a:gd name="T40" fmla="*/ 2147483647 w 195"/>
                <a:gd name="T41" fmla="*/ 2147483647 h 92"/>
                <a:gd name="T42" fmla="*/ 0 w 195"/>
                <a:gd name="T43" fmla="*/ 2147483647 h 92"/>
                <a:gd name="T44" fmla="*/ 0 w 195"/>
                <a:gd name="T45" fmla="*/ 0 h 92"/>
                <a:gd name="T46" fmla="*/ 2147483647 w 195"/>
                <a:gd name="T47" fmla="*/ 0 h 92"/>
                <a:gd name="T48" fmla="*/ 2147483647 w 195"/>
                <a:gd name="T49" fmla="*/ 2147483647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68103983"/>
      </p:ext>
    </p:extLst>
  </p:cSld>
  <p:clrMapOvr>
    <a:masterClrMapping/>
  </p:clrMapOvr>
  <p:transition spd="med">
    <p:fade/>
  </p:transition>
  <p:hf sldNum="0" hdr="0" ftr="0"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642611190"/>
      </p:ext>
    </p:extLst>
  </p:cSld>
  <p:clrMapOvr>
    <a:masterClrMapping/>
  </p:clrMapOvr>
  <p:transition spd="med"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4170366208"/>
      </p:ext>
    </p:extLst>
  </p:cSld>
  <p:clrMapOvr>
    <a:masterClrMapping/>
  </p:clrMapOvr>
  <p:transition spd="med"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7533778"/>
      </p:ext>
    </p:extLst>
  </p:cSld>
  <p:clrMapOvr>
    <a:masterClrMapping/>
  </p:clrMapOvr>
  <p:transition spd="med"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3945073"/>
      </p:ext>
    </p:extLst>
  </p:cSld>
  <p:clrMapOvr>
    <a:masterClrMapping/>
  </p:clrMapOvr>
  <p:transition spd="med"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0284676"/>
      </p:ext>
    </p:extLst>
  </p:cSld>
  <p:clrMapOvr>
    <a:masterClrMapping/>
  </p:clrMapOvr>
  <p:transition spd="med"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379373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8424149"/>
      </p:ext>
    </p:extLst>
  </p:cSld>
  <p:clrMapOvr>
    <a:masterClrMapping/>
  </p:clrMapOvr>
  <p:transition spd="med"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9958107"/>
      </p:ext>
    </p:extLst>
  </p:cSld>
  <p:clrMapOvr>
    <a:masterClrMapping/>
  </p:clrMapOvr>
  <p:transition spd="med"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66352900"/>
      </p:ext>
    </p:extLst>
  </p:cSld>
  <p:clrMapOvr>
    <a:masterClrMapping/>
  </p:clrMapOvr>
  <p:transition spd="med"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2788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6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5pPr>
              <a:lvl6pPr marL="18811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6pPr>
              <a:lvl7pPr marL="23383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7pPr>
              <a:lvl8pPr marL="27955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8pPr>
              <a:lvl9pPr marL="32527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smtClean="0">
                <a:solidFill>
                  <a:srgbClr val="FF6600"/>
                </a:solidFill>
                <a:latin typeface="Helvetica 75 Bold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7 w 104"/>
                <a:gd name="T1" fmla="*/ 2147483647 h 122"/>
                <a:gd name="T2" fmla="*/ 2147483647 w 104"/>
                <a:gd name="T3" fmla="*/ 2147483647 h 122"/>
                <a:gd name="T4" fmla="*/ 2147483647 w 104"/>
                <a:gd name="T5" fmla="*/ 2147483647 h 122"/>
                <a:gd name="T6" fmla="*/ 2147483647 w 104"/>
                <a:gd name="T7" fmla="*/ 2147483647 h 122"/>
                <a:gd name="T8" fmla="*/ 2147483647 w 104"/>
                <a:gd name="T9" fmla="*/ 2147483647 h 122"/>
                <a:gd name="T10" fmla="*/ 2147483647 w 104"/>
                <a:gd name="T11" fmla="*/ 2147483647 h 122"/>
                <a:gd name="T12" fmla="*/ 2147483647 w 104"/>
                <a:gd name="T13" fmla="*/ 2147483647 h 122"/>
                <a:gd name="T14" fmla="*/ 0 w 104"/>
                <a:gd name="T15" fmla="*/ 2147483647 h 122"/>
                <a:gd name="T16" fmla="*/ 2147483647 w 104"/>
                <a:gd name="T17" fmla="*/ 2147483647 h 122"/>
                <a:gd name="T18" fmla="*/ 2147483647 w 104"/>
                <a:gd name="T19" fmla="*/ 2147483647 h 122"/>
                <a:gd name="T20" fmla="*/ 2147483647 w 104"/>
                <a:gd name="T21" fmla="*/ 2147483647 h 122"/>
                <a:gd name="T22" fmla="*/ 2147483647 w 104"/>
                <a:gd name="T23" fmla="*/ 2147483647 h 122"/>
                <a:gd name="T24" fmla="*/ 2147483647 w 104"/>
                <a:gd name="T25" fmla="*/ 2147483647 h 122"/>
                <a:gd name="T26" fmla="*/ 2147483647 w 104"/>
                <a:gd name="T27" fmla="*/ 0 h 122"/>
                <a:gd name="T28" fmla="*/ 2147483647 w 104"/>
                <a:gd name="T29" fmla="*/ 2147483647 h 122"/>
                <a:gd name="T30" fmla="*/ 2147483647 w 104"/>
                <a:gd name="T31" fmla="*/ 2147483647 h 122"/>
                <a:gd name="T32" fmla="*/ 2147483647 w 104"/>
                <a:gd name="T33" fmla="*/ 2147483647 h 122"/>
                <a:gd name="T34" fmla="*/ 2147483647 w 104"/>
                <a:gd name="T35" fmla="*/ 2147483647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7 h 120"/>
                <a:gd name="T2" fmla="*/ 2147483647 w 105"/>
                <a:gd name="T3" fmla="*/ 2147483647 h 120"/>
                <a:gd name="T4" fmla="*/ 2147483647 w 105"/>
                <a:gd name="T5" fmla="*/ 2147483647 h 120"/>
                <a:gd name="T6" fmla="*/ 2147483647 w 105"/>
                <a:gd name="T7" fmla="*/ 0 h 120"/>
                <a:gd name="T8" fmla="*/ 2147483647 w 105"/>
                <a:gd name="T9" fmla="*/ 2147483647 h 120"/>
                <a:gd name="T10" fmla="*/ 2147483647 w 105"/>
                <a:gd name="T11" fmla="*/ 2147483647 h 120"/>
                <a:gd name="T12" fmla="*/ 2147483647 w 105"/>
                <a:gd name="T13" fmla="*/ 2147483647 h 120"/>
                <a:gd name="T14" fmla="*/ 2147483647 w 105"/>
                <a:gd name="T15" fmla="*/ 2147483647 h 120"/>
                <a:gd name="T16" fmla="*/ 2147483647 w 105"/>
                <a:gd name="T17" fmla="*/ 2147483647 h 120"/>
                <a:gd name="T18" fmla="*/ 2147483647 w 105"/>
                <a:gd name="T19" fmla="*/ 2147483647 h 120"/>
                <a:gd name="T20" fmla="*/ 2147483647 w 105"/>
                <a:gd name="T21" fmla="*/ 2147483647 h 120"/>
                <a:gd name="T22" fmla="*/ 0 w 105"/>
                <a:gd name="T23" fmla="*/ 2147483647 h 120"/>
                <a:gd name="T24" fmla="*/ 0 w 105"/>
                <a:gd name="T25" fmla="*/ 2147483647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7 w 109"/>
                <a:gd name="T1" fmla="*/ 2147483647 h 122"/>
                <a:gd name="T2" fmla="*/ 2147483647 w 109"/>
                <a:gd name="T3" fmla="*/ 2147483647 h 122"/>
                <a:gd name="T4" fmla="*/ 2147483647 w 109"/>
                <a:gd name="T5" fmla="*/ 2147483647 h 122"/>
                <a:gd name="T6" fmla="*/ 2147483647 w 109"/>
                <a:gd name="T7" fmla="*/ 2147483647 h 122"/>
                <a:gd name="T8" fmla="*/ 2147483647 w 109"/>
                <a:gd name="T9" fmla="*/ 2147483647 h 122"/>
                <a:gd name="T10" fmla="*/ 0 w 109"/>
                <a:gd name="T11" fmla="*/ 2147483647 h 122"/>
                <a:gd name="T12" fmla="*/ 2147483647 w 109"/>
                <a:gd name="T13" fmla="*/ 0 h 122"/>
                <a:gd name="T14" fmla="*/ 2147483647 w 109"/>
                <a:gd name="T15" fmla="*/ 2147483647 h 122"/>
                <a:gd name="T16" fmla="*/ 2147483647 w 109"/>
                <a:gd name="T17" fmla="*/ 2147483647 h 122"/>
                <a:gd name="T18" fmla="*/ 2147483647 w 109"/>
                <a:gd name="T19" fmla="*/ 2147483647 h 122"/>
                <a:gd name="T20" fmla="*/ 2147483647 w 109"/>
                <a:gd name="T21" fmla="*/ 2147483647 h 122"/>
                <a:gd name="T22" fmla="*/ 2147483647 w 109"/>
                <a:gd name="T23" fmla="*/ 2147483647 h 122"/>
                <a:gd name="T24" fmla="*/ 2147483647 w 109"/>
                <a:gd name="T25" fmla="*/ 2147483647 h 122"/>
                <a:gd name="T26" fmla="*/ 2147483647 w 109"/>
                <a:gd name="T27" fmla="*/ 2147483647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7 w 116"/>
                <a:gd name="T1" fmla="*/ 2147483647 h 124"/>
                <a:gd name="T2" fmla="*/ 2147483647 w 116"/>
                <a:gd name="T3" fmla="*/ 2147483647 h 124"/>
                <a:gd name="T4" fmla="*/ 2147483647 w 116"/>
                <a:gd name="T5" fmla="*/ 2147483647 h 124"/>
                <a:gd name="T6" fmla="*/ 2147483647 w 116"/>
                <a:gd name="T7" fmla="*/ 2147483647 h 124"/>
                <a:gd name="T8" fmla="*/ 2147483647 w 116"/>
                <a:gd name="T9" fmla="*/ 2147483647 h 124"/>
                <a:gd name="T10" fmla="*/ 2147483647 w 116"/>
                <a:gd name="T11" fmla="*/ 2147483647 h 124"/>
                <a:gd name="T12" fmla="*/ 0 w 116"/>
                <a:gd name="T13" fmla="*/ 2147483647 h 124"/>
                <a:gd name="T14" fmla="*/ 2147483647 w 116"/>
                <a:gd name="T15" fmla="*/ 0 h 124"/>
                <a:gd name="T16" fmla="*/ 2147483647 w 116"/>
                <a:gd name="T17" fmla="*/ 2147483647 h 124"/>
                <a:gd name="T18" fmla="*/ 2147483647 w 116"/>
                <a:gd name="T19" fmla="*/ 2147483647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7 h 120"/>
                <a:gd name="T2" fmla="*/ 2147483647 w 66"/>
                <a:gd name="T3" fmla="*/ 2147483647 h 120"/>
                <a:gd name="T4" fmla="*/ 2147483647 w 66"/>
                <a:gd name="T5" fmla="*/ 2147483647 h 120"/>
                <a:gd name="T6" fmla="*/ 2147483647 w 66"/>
                <a:gd name="T7" fmla="*/ 0 h 120"/>
                <a:gd name="T8" fmla="*/ 2147483647 w 66"/>
                <a:gd name="T9" fmla="*/ 2147483647 h 120"/>
                <a:gd name="T10" fmla="*/ 2147483647 w 66"/>
                <a:gd name="T11" fmla="*/ 2147483647 h 120"/>
                <a:gd name="T12" fmla="*/ 2147483647 w 66"/>
                <a:gd name="T13" fmla="*/ 2147483647 h 120"/>
                <a:gd name="T14" fmla="*/ 2147483647 w 66"/>
                <a:gd name="T15" fmla="*/ 2147483647 h 120"/>
                <a:gd name="T16" fmla="*/ 2147483647 w 66"/>
                <a:gd name="T17" fmla="*/ 2147483647 h 120"/>
                <a:gd name="T18" fmla="*/ 0 w 66"/>
                <a:gd name="T19" fmla="*/ 2147483647 h 120"/>
                <a:gd name="T20" fmla="*/ 0 w 66"/>
                <a:gd name="T21" fmla="*/ 2147483647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7 w 110"/>
                <a:gd name="T1" fmla="*/ 2147483647 h 166"/>
                <a:gd name="T2" fmla="*/ 2147483647 w 110"/>
                <a:gd name="T3" fmla="*/ 2147483647 h 166"/>
                <a:gd name="T4" fmla="*/ 2147483647 w 110"/>
                <a:gd name="T5" fmla="*/ 2147483647 h 166"/>
                <a:gd name="T6" fmla="*/ 2147483647 w 110"/>
                <a:gd name="T7" fmla="*/ 2147483647 h 166"/>
                <a:gd name="T8" fmla="*/ 2147483647 w 110"/>
                <a:gd name="T9" fmla="*/ 2147483647 h 166"/>
                <a:gd name="T10" fmla="*/ 2147483647 w 110"/>
                <a:gd name="T11" fmla="*/ 2147483647 h 166"/>
                <a:gd name="T12" fmla="*/ 2147483647 w 110"/>
                <a:gd name="T13" fmla="*/ 2147483647 h 166"/>
                <a:gd name="T14" fmla="*/ 2147483647 w 110"/>
                <a:gd name="T15" fmla="*/ 2147483647 h 166"/>
                <a:gd name="T16" fmla="*/ 2147483647 w 110"/>
                <a:gd name="T17" fmla="*/ 2147483647 h 166"/>
                <a:gd name="T18" fmla="*/ 2147483647 w 110"/>
                <a:gd name="T19" fmla="*/ 2147483647 h 166"/>
                <a:gd name="T20" fmla="*/ 0 w 110"/>
                <a:gd name="T21" fmla="*/ 2147483647 h 166"/>
                <a:gd name="T22" fmla="*/ 2147483647 w 110"/>
                <a:gd name="T23" fmla="*/ 0 h 166"/>
                <a:gd name="T24" fmla="*/ 2147483647 w 110"/>
                <a:gd name="T25" fmla="*/ 2147483647 h 166"/>
                <a:gd name="T26" fmla="*/ 2147483647 w 110"/>
                <a:gd name="T27" fmla="*/ 2147483647 h 166"/>
                <a:gd name="T28" fmla="*/ 2147483647 w 110"/>
                <a:gd name="T29" fmla="*/ 2147483647 h 166"/>
                <a:gd name="T30" fmla="*/ 2147483647 w 110"/>
                <a:gd name="T31" fmla="*/ 2147483647 h 166"/>
                <a:gd name="T32" fmla="*/ 2147483647 w 110"/>
                <a:gd name="T33" fmla="*/ 2147483647 h 166"/>
                <a:gd name="T34" fmla="*/ 2147483647 w 110"/>
                <a:gd name="T35" fmla="*/ 2147483647 h 166"/>
                <a:gd name="T36" fmla="*/ 2147483647 w 110"/>
                <a:gd name="T37" fmla="*/ 2147483647 h 166"/>
                <a:gd name="T38" fmla="*/ 2147483647 w 110"/>
                <a:gd name="T39" fmla="*/ 2147483647 h 166"/>
                <a:gd name="T40" fmla="*/ 2147483647 w 110"/>
                <a:gd name="T41" fmla="*/ 2147483647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7 w 195"/>
                <a:gd name="T1" fmla="*/ 2147483647 h 92"/>
                <a:gd name="T2" fmla="*/ 2147483647 w 195"/>
                <a:gd name="T3" fmla="*/ 2147483647 h 92"/>
                <a:gd name="T4" fmla="*/ 2147483647 w 195"/>
                <a:gd name="T5" fmla="*/ 2147483647 h 92"/>
                <a:gd name="T6" fmla="*/ 2147483647 w 195"/>
                <a:gd name="T7" fmla="*/ 2147483647 h 92"/>
                <a:gd name="T8" fmla="*/ 2147483647 w 195"/>
                <a:gd name="T9" fmla="*/ 2147483647 h 92"/>
                <a:gd name="T10" fmla="*/ 2147483647 w 195"/>
                <a:gd name="T11" fmla="*/ 2147483647 h 92"/>
                <a:gd name="T12" fmla="*/ 2147483647 w 195"/>
                <a:gd name="T13" fmla="*/ 2147483647 h 92"/>
                <a:gd name="T14" fmla="*/ 2147483647 w 195"/>
                <a:gd name="T15" fmla="*/ 2147483647 h 92"/>
                <a:gd name="T16" fmla="*/ 2147483647 w 195"/>
                <a:gd name="T17" fmla="*/ 2147483647 h 92"/>
                <a:gd name="T18" fmla="*/ 2147483647 w 195"/>
                <a:gd name="T19" fmla="*/ 2147483647 h 92"/>
                <a:gd name="T20" fmla="*/ 2147483647 w 195"/>
                <a:gd name="T21" fmla="*/ 0 h 92"/>
                <a:gd name="T22" fmla="*/ 2147483647 w 195"/>
                <a:gd name="T23" fmla="*/ 0 h 92"/>
                <a:gd name="T24" fmla="*/ 2147483647 w 195"/>
                <a:gd name="T25" fmla="*/ 2147483647 h 92"/>
                <a:gd name="T26" fmla="*/ 2147483647 w 195"/>
                <a:gd name="T27" fmla="*/ 0 h 92"/>
                <a:gd name="T28" fmla="*/ 2147483647 w 195"/>
                <a:gd name="T29" fmla="*/ 0 h 92"/>
                <a:gd name="T30" fmla="*/ 2147483647 w 195"/>
                <a:gd name="T31" fmla="*/ 2147483647 h 92"/>
                <a:gd name="T32" fmla="*/ 2147483647 w 195"/>
                <a:gd name="T33" fmla="*/ 2147483647 h 92"/>
                <a:gd name="T34" fmla="*/ 2147483647 w 195"/>
                <a:gd name="T35" fmla="*/ 2147483647 h 92"/>
                <a:gd name="T36" fmla="*/ 2147483647 w 195"/>
                <a:gd name="T37" fmla="*/ 2147483647 h 92"/>
                <a:gd name="T38" fmla="*/ 2147483647 w 195"/>
                <a:gd name="T39" fmla="*/ 2147483647 h 92"/>
                <a:gd name="T40" fmla="*/ 2147483647 w 195"/>
                <a:gd name="T41" fmla="*/ 2147483647 h 92"/>
                <a:gd name="T42" fmla="*/ 0 w 195"/>
                <a:gd name="T43" fmla="*/ 2147483647 h 92"/>
                <a:gd name="T44" fmla="*/ 0 w 195"/>
                <a:gd name="T45" fmla="*/ 0 h 92"/>
                <a:gd name="T46" fmla="*/ 2147483647 w 195"/>
                <a:gd name="T47" fmla="*/ 0 h 92"/>
                <a:gd name="T48" fmla="*/ 2147483647 w 195"/>
                <a:gd name="T49" fmla="*/ 2147483647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565174790"/>
      </p:ext>
    </p:extLst>
  </p:cSld>
  <p:clrMapOvr>
    <a:masterClrMapping/>
  </p:clrMapOvr>
  <p:transition spd="med">
    <p:fade/>
  </p:transition>
  <p:hf sldNum="0" hdr="0" ftr="0"/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4181444252"/>
      </p:ext>
    </p:extLst>
  </p:cSld>
  <p:clrMapOvr>
    <a:masterClrMapping/>
  </p:clrMapOvr>
  <p:transition spd="med"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39098799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6144925"/>
      </p:ext>
    </p:extLst>
  </p:cSld>
  <p:clrMapOvr>
    <a:masterClrMapping/>
  </p:clrMapOvr>
  <p:transition spd="med"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8611941"/>
      </p:ext>
    </p:extLst>
  </p:cSld>
  <p:clrMapOvr>
    <a:masterClrMapping/>
  </p:clrMapOvr>
  <p:transition spd="med"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9127931"/>
      </p:ext>
    </p:extLst>
  </p:cSld>
  <p:clrMapOvr>
    <a:masterClrMapping/>
  </p:clrMapOvr>
  <p:transition spd="med"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8709229"/>
      </p:ext>
    </p:extLst>
  </p:cSld>
  <p:clrMapOvr>
    <a:masterClrMapping/>
  </p:clrMapOvr>
  <p:transition spd="med"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8401860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881759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59028713"/>
      </p:ext>
    </p:extLst>
  </p:cSld>
  <p:clrMapOvr>
    <a:masterClrMapping/>
  </p:clrMapOvr>
  <p:transition spd="med"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2555914"/>
      </p:ext>
    </p:extLst>
  </p:cSld>
  <p:clrMapOvr>
    <a:masterClrMapping/>
  </p:clrMapOvr>
  <p:transition spd="med"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ces simp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016213" y="302400"/>
            <a:ext cx="7084800" cy="737100"/>
          </a:xfrm>
        </p:spPr>
        <p:txBody>
          <a:bodyPr/>
          <a:lstStyle>
            <a:lvl1pPr algn="l">
              <a:defRPr baseline="0"/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26" name="Espace réservé du contenu 2"/>
          <p:cNvSpPr>
            <a:spLocks noGrp="1"/>
          </p:cNvSpPr>
          <p:nvPr>
            <p:ph idx="1"/>
          </p:nvPr>
        </p:nvSpPr>
        <p:spPr>
          <a:xfrm>
            <a:off x="1042993" y="1329929"/>
            <a:ext cx="7058025" cy="2915840"/>
          </a:xfrm>
        </p:spPr>
        <p:txBody>
          <a:bodyPr/>
          <a:lstStyle>
            <a:lvl1pPr>
              <a:defRPr sz="1500" baseline="0"/>
            </a:lvl1pPr>
            <a:lvl2pPr>
              <a:spcAft>
                <a:spcPct val="0"/>
              </a:spcAft>
              <a:buFont typeface="Arial" charset="0"/>
              <a:buChar char="–"/>
              <a:defRPr/>
            </a:lvl2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95967103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06" indent="-401606">
              <a:lnSpc>
                <a:spcPct val="85000"/>
              </a:lnSpc>
              <a:spcAft>
                <a:spcPts val="0"/>
              </a:spcAft>
              <a:buFont typeface="+mj-lt"/>
              <a:buAutoNum type="arabicPeriod"/>
              <a:defRPr sz="30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9762046"/>
      </p:ext>
    </p:extLst>
  </p:cSld>
  <p:clrMapOvr>
    <a:masterClrMapping/>
  </p:clrMapOvr>
  <p:transition spd="med"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2788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6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5pPr>
              <a:lvl6pPr marL="18811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6pPr>
              <a:lvl7pPr marL="23383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7pPr>
              <a:lvl8pPr marL="27955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8pPr>
              <a:lvl9pPr marL="32527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smtClean="0">
                <a:solidFill>
                  <a:srgbClr val="FF6600"/>
                </a:solidFill>
                <a:latin typeface="Helvetica 75 Bold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7 w 104"/>
                <a:gd name="T1" fmla="*/ 2147483647 h 122"/>
                <a:gd name="T2" fmla="*/ 2147483647 w 104"/>
                <a:gd name="T3" fmla="*/ 2147483647 h 122"/>
                <a:gd name="T4" fmla="*/ 2147483647 w 104"/>
                <a:gd name="T5" fmla="*/ 2147483647 h 122"/>
                <a:gd name="T6" fmla="*/ 2147483647 w 104"/>
                <a:gd name="T7" fmla="*/ 2147483647 h 122"/>
                <a:gd name="T8" fmla="*/ 2147483647 w 104"/>
                <a:gd name="T9" fmla="*/ 2147483647 h 122"/>
                <a:gd name="T10" fmla="*/ 2147483647 w 104"/>
                <a:gd name="T11" fmla="*/ 2147483647 h 122"/>
                <a:gd name="T12" fmla="*/ 2147483647 w 104"/>
                <a:gd name="T13" fmla="*/ 2147483647 h 122"/>
                <a:gd name="T14" fmla="*/ 0 w 104"/>
                <a:gd name="T15" fmla="*/ 2147483647 h 122"/>
                <a:gd name="T16" fmla="*/ 2147483647 w 104"/>
                <a:gd name="T17" fmla="*/ 2147483647 h 122"/>
                <a:gd name="T18" fmla="*/ 2147483647 w 104"/>
                <a:gd name="T19" fmla="*/ 2147483647 h 122"/>
                <a:gd name="T20" fmla="*/ 2147483647 w 104"/>
                <a:gd name="T21" fmla="*/ 2147483647 h 122"/>
                <a:gd name="T22" fmla="*/ 2147483647 w 104"/>
                <a:gd name="T23" fmla="*/ 2147483647 h 122"/>
                <a:gd name="T24" fmla="*/ 2147483647 w 104"/>
                <a:gd name="T25" fmla="*/ 2147483647 h 122"/>
                <a:gd name="T26" fmla="*/ 2147483647 w 104"/>
                <a:gd name="T27" fmla="*/ 0 h 122"/>
                <a:gd name="T28" fmla="*/ 2147483647 w 104"/>
                <a:gd name="T29" fmla="*/ 2147483647 h 122"/>
                <a:gd name="T30" fmla="*/ 2147483647 w 104"/>
                <a:gd name="T31" fmla="*/ 2147483647 h 122"/>
                <a:gd name="T32" fmla="*/ 2147483647 w 104"/>
                <a:gd name="T33" fmla="*/ 2147483647 h 122"/>
                <a:gd name="T34" fmla="*/ 2147483647 w 104"/>
                <a:gd name="T35" fmla="*/ 2147483647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7 h 120"/>
                <a:gd name="T2" fmla="*/ 2147483647 w 105"/>
                <a:gd name="T3" fmla="*/ 2147483647 h 120"/>
                <a:gd name="T4" fmla="*/ 2147483647 w 105"/>
                <a:gd name="T5" fmla="*/ 2147483647 h 120"/>
                <a:gd name="T6" fmla="*/ 2147483647 w 105"/>
                <a:gd name="T7" fmla="*/ 0 h 120"/>
                <a:gd name="T8" fmla="*/ 2147483647 w 105"/>
                <a:gd name="T9" fmla="*/ 2147483647 h 120"/>
                <a:gd name="T10" fmla="*/ 2147483647 w 105"/>
                <a:gd name="T11" fmla="*/ 2147483647 h 120"/>
                <a:gd name="T12" fmla="*/ 2147483647 w 105"/>
                <a:gd name="T13" fmla="*/ 2147483647 h 120"/>
                <a:gd name="T14" fmla="*/ 2147483647 w 105"/>
                <a:gd name="T15" fmla="*/ 2147483647 h 120"/>
                <a:gd name="T16" fmla="*/ 2147483647 w 105"/>
                <a:gd name="T17" fmla="*/ 2147483647 h 120"/>
                <a:gd name="T18" fmla="*/ 2147483647 w 105"/>
                <a:gd name="T19" fmla="*/ 2147483647 h 120"/>
                <a:gd name="T20" fmla="*/ 2147483647 w 105"/>
                <a:gd name="T21" fmla="*/ 2147483647 h 120"/>
                <a:gd name="T22" fmla="*/ 0 w 105"/>
                <a:gd name="T23" fmla="*/ 2147483647 h 120"/>
                <a:gd name="T24" fmla="*/ 0 w 105"/>
                <a:gd name="T25" fmla="*/ 2147483647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7 w 109"/>
                <a:gd name="T1" fmla="*/ 2147483647 h 122"/>
                <a:gd name="T2" fmla="*/ 2147483647 w 109"/>
                <a:gd name="T3" fmla="*/ 2147483647 h 122"/>
                <a:gd name="T4" fmla="*/ 2147483647 w 109"/>
                <a:gd name="T5" fmla="*/ 2147483647 h 122"/>
                <a:gd name="T6" fmla="*/ 2147483647 w 109"/>
                <a:gd name="T7" fmla="*/ 2147483647 h 122"/>
                <a:gd name="T8" fmla="*/ 2147483647 w 109"/>
                <a:gd name="T9" fmla="*/ 2147483647 h 122"/>
                <a:gd name="T10" fmla="*/ 0 w 109"/>
                <a:gd name="T11" fmla="*/ 2147483647 h 122"/>
                <a:gd name="T12" fmla="*/ 2147483647 w 109"/>
                <a:gd name="T13" fmla="*/ 0 h 122"/>
                <a:gd name="T14" fmla="*/ 2147483647 w 109"/>
                <a:gd name="T15" fmla="*/ 2147483647 h 122"/>
                <a:gd name="T16" fmla="*/ 2147483647 w 109"/>
                <a:gd name="T17" fmla="*/ 2147483647 h 122"/>
                <a:gd name="T18" fmla="*/ 2147483647 w 109"/>
                <a:gd name="T19" fmla="*/ 2147483647 h 122"/>
                <a:gd name="T20" fmla="*/ 2147483647 w 109"/>
                <a:gd name="T21" fmla="*/ 2147483647 h 122"/>
                <a:gd name="T22" fmla="*/ 2147483647 w 109"/>
                <a:gd name="T23" fmla="*/ 2147483647 h 122"/>
                <a:gd name="T24" fmla="*/ 2147483647 w 109"/>
                <a:gd name="T25" fmla="*/ 2147483647 h 122"/>
                <a:gd name="T26" fmla="*/ 2147483647 w 109"/>
                <a:gd name="T27" fmla="*/ 2147483647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7 w 116"/>
                <a:gd name="T1" fmla="*/ 2147483647 h 124"/>
                <a:gd name="T2" fmla="*/ 2147483647 w 116"/>
                <a:gd name="T3" fmla="*/ 2147483647 h 124"/>
                <a:gd name="T4" fmla="*/ 2147483647 w 116"/>
                <a:gd name="T5" fmla="*/ 2147483647 h 124"/>
                <a:gd name="T6" fmla="*/ 2147483647 w 116"/>
                <a:gd name="T7" fmla="*/ 2147483647 h 124"/>
                <a:gd name="T8" fmla="*/ 2147483647 w 116"/>
                <a:gd name="T9" fmla="*/ 2147483647 h 124"/>
                <a:gd name="T10" fmla="*/ 2147483647 w 116"/>
                <a:gd name="T11" fmla="*/ 2147483647 h 124"/>
                <a:gd name="T12" fmla="*/ 0 w 116"/>
                <a:gd name="T13" fmla="*/ 2147483647 h 124"/>
                <a:gd name="T14" fmla="*/ 2147483647 w 116"/>
                <a:gd name="T15" fmla="*/ 0 h 124"/>
                <a:gd name="T16" fmla="*/ 2147483647 w 116"/>
                <a:gd name="T17" fmla="*/ 2147483647 h 124"/>
                <a:gd name="T18" fmla="*/ 2147483647 w 116"/>
                <a:gd name="T19" fmla="*/ 2147483647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7 h 120"/>
                <a:gd name="T2" fmla="*/ 2147483647 w 66"/>
                <a:gd name="T3" fmla="*/ 2147483647 h 120"/>
                <a:gd name="T4" fmla="*/ 2147483647 w 66"/>
                <a:gd name="T5" fmla="*/ 2147483647 h 120"/>
                <a:gd name="T6" fmla="*/ 2147483647 w 66"/>
                <a:gd name="T7" fmla="*/ 0 h 120"/>
                <a:gd name="T8" fmla="*/ 2147483647 w 66"/>
                <a:gd name="T9" fmla="*/ 2147483647 h 120"/>
                <a:gd name="T10" fmla="*/ 2147483647 w 66"/>
                <a:gd name="T11" fmla="*/ 2147483647 h 120"/>
                <a:gd name="T12" fmla="*/ 2147483647 w 66"/>
                <a:gd name="T13" fmla="*/ 2147483647 h 120"/>
                <a:gd name="T14" fmla="*/ 2147483647 w 66"/>
                <a:gd name="T15" fmla="*/ 2147483647 h 120"/>
                <a:gd name="T16" fmla="*/ 2147483647 w 66"/>
                <a:gd name="T17" fmla="*/ 2147483647 h 120"/>
                <a:gd name="T18" fmla="*/ 0 w 66"/>
                <a:gd name="T19" fmla="*/ 2147483647 h 120"/>
                <a:gd name="T20" fmla="*/ 0 w 66"/>
                <a:gd name="T21" fmla="*/ 2147483647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7 w 110"/>
                <a:gd name="T1" fmla="*/ 2147483647 h 166"/>
                <a:gd name="T2" fmla="*/ 2147483647 w 110"/>
                <a:gd name="T3" fmla="*/ 2147483647 h 166"/>
                <a:gd name="T4" fmla="*/ 2147483647 w 110"/>
                <a:gd name="T5" fmla="*/ 2147483647 h 166"/>
                <a:gd name="T6" fmla="*/ 2147483647 w 110"/>
                <a:gd name="T7" fmla="*/ 2147483647 h 166"/>
                <a:gd name="T8" fmla="*/ 2147483647 w 110"/>
                <a:gd name="T9" fmla="*/ 2147483647 h 166"/>
                <a:gd name="T10" fmla="*/ 2147483647 w 110"/>
                <a:gd name="T11" fmla="*/ 2147483647 h 166"/>
                <a:gd name="T12" fmla="*/ 2147483647 w 110"/>
                <a:gd name="T13" fmla="*/ 2147483647 h 166"/>
                <a:gd name="T14" fmla="*/ 2147483647 w 110"/>
                <a:gd name="T15" fmla="*/ 2147483647 h 166"/>
                <a:gd name="T16" fmla="*/ 2147483647 w 110"/>
                <a:gd name="T17" fmla="*/ 2147483647 h 166"/>
                <a:gd name="T18" fmla="*/ 2147483647 w 110"/>
                <a:gd name="T19" fmla="*/ 2147483647 h 166"/>
                <a:gd name="T20" fmla="*/ 0 w 110"/>
                <a:gd name="T21" fmla="*/ 2147483647 h 166"/>
                <a:gd name="T22" fmla="*/ 2147483647 w 110"/>
                <a:gd name="T23" fmla="*/ 0 h 166"/>
                <a:gd name="T24" fmla="*/ 2147483647 w 110"/>
                <a:gd name="T25" fmla="*/ 2147483647 h 166"/>
                <a:gd name="T26" fmla="*/ 2147483647 w 110"/>
                <a:gd name="T27" fmla="*/ 2147483647 h 166"/>
                <a:gd name="T28" fmla="*/ 2147483647 w 110"/>
                <a:gd name="T29" fmla="*/ 2147483647 h 166"/>
                <a:gd name="T30" fmla="*/ 2147483647 w 110"/>
                <a:gd name="T31" fmla="*/ 2147483647 h 166"/>
                <a:gd name="T32" fmla="*/ 2147483647 w 110"/>
                <a:gd name="T33" fmla="*/ 2147483647 h 166"/>
                <a:gd name="T34" fmla="*/ 2147483647 w 110"/>
                <a:gd name="T35" fmla="*/ 2147483647 h 166"/>
                <a:gd name="T36" fmla="*/ 2147483647 w 110"/>
                <a:gd name="T37" fmla="*/ 2147483647 h 166"/>
                <a:gd name="T38" fmla="*/ 2147483647 w 110"/>
                <a:gd name="T39" fmla="*/ 2147483647 h 166"/>
                <a:gd name="T40" fmla="*/ 2147483647 w 110"/>
                <a:gd name="T41" fmla="*/ 2147483647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7 w 195"/>
                <a:gd name="T1" fmla="*/ 2147483647 h 92"/>
                <a:gd name="T2" fmla="*/ 2147483647 w 195"/>
                <a:gd name="T3" fmla="*/ 2147483647 h 92"/>
                <a:gd name="T4" fmla="*/ 2147483647 w 195"/>
                <a:gd name="T5" fmla="*/ 2147483647 h 92"/>
                <a:gd name="T6" fmla="*/ 2147483647 w 195"/>
                <a:gd name="T7" fmla="*/ 2147483647 h 92"/>
                <a:gd name="T8" fmla="*/ 2147483647 w 195"/>
                <a:gd name="T9" fmla="*/ 2147483647 h 92"/>
                <a:gd name="T10" fmla="*/ 2147483647 w 195"/>
                <a:gd name="T11" fmla="*/ 2147483647 h 92"/>
                <a:gd name="T12" fmla="*/ 2147483647 w 195"/>
                <a:gd name="T13" fmla="*/ 2147483647 h 92"/>
                <a:gd name="T14" fmla="*/ 2147483647 w 195"/>
                <a:gd name="T15" fmla="*/ 2147483647 h 92"/>
                <a:gd name="T16" fmla="*/ 2147483647 w 195"/>
                <a:gd name="T17" fmla="*/ 2147483647 h 92"/>
                <a:gd name="T18" fmla="*/ 2147483647 w 195"/>
                <a:gd name="T19" fmla="*/ 2147483647 h 92"/>
                <a:gd name="T20" fmla="*/ 2147483647 w 195"/>
                <a:gd name="T21" fmla="*/ 0 h 92"/>
                <a:gd name="T22" fmla="*/ 2147483647 w 195"/>
                <a:gd name="T23" fmla="*/ 0 h 92"/>
                <a:gd name="T24" fmla="*/ 2147483647 w 195"/>
                <a:gd name="T25" fmla="*/ 2147483647 h 92"/>
                <a:gd name="T26" fmla="*/ 2147483647 w 195"/>
                <a:gd name="T27" fmla="*/ 0 h 92"/>
                <a:gd name="T28" fmla="*/ 2147483647 w 195"/>
                <a:gd name="T29" fmla="*/ 0 h 92"/>
                <a:gd name="T30" fmla="*/ 2147483647 w 195"/>
                <a:gd name="T31" fmla="*/ 2147483647 h 92"/>
                <a:gd name="T32" fmla="*/ 2147483647 w 195"/>
                <a:gd name="T33" fmla="*/ 2147483647 h 92"/>
                <a:gd name="T34" fmla="*/ 2147483647 w 195"/>
                <a:gd name="T35" fmla="*/ 2147483647 h 92"/>
                <a:gd name="T36" fmla="*/ 2147483647 w 195"/>
                <a:gd name="T37" fmla="*/ 2147483647 h 92"/>
                <a:gd name="T38" fmla="*/ 2147483647 w 195"/>
                <a:gd name="T39" fmla="*/ 2147483647 h 92"/>
                <a:gd name="T40" fmla="*/ 2147483647 w 195"/>
                <a:gd name="T41" fmla="*/ 2147483647 h 92"/>
                <a:gd name="T42" fmla="*/ 0 w 195"/>
                <a:gd name="T43" fmla="*/ 2147483647 h 92"/>
                <a:gd name="T44" fmla="*/ 0 w 195"/>
                <a:gd name="T45" fmla="*/ 0 h 92"/>
                <a:gd name="T46" fmla="*/ 2147483647 w 195"/>
                <a:gd name="T47" fmla="*/ 0 h 92"/>
                <a:gd name="T48" fmla="*/ 2147483647 w 195"/>
                <a:gd name="T49" fmla="*/ 2147483647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559726483"/>
      </p:ext>
    </p:extLst>
  </p:cSld>
  <p:clrMapOvr>
    <a:masterClrMapping/>
  </p:clrMapOvr>
  <p:transition spd="med">
    <p:fade/>
  </p:transition>
  <p:hf sldNum="0" hdr="0" ftr="0"/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07222998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375101296"/>
      </p:ext>
    </p:extLst>
  </p:cSld>
  <p:clrMapOvr>
    <a:masterClrMapping/>
  </p:clrMapOvr>
  <p:transition spd="med"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2847945"/>
      </p:ext>
    </p:extLst>
  </p:cSld>
  <p:clrMapOvr>
    <a:masterClrMapping/>
  </p:clrMapOvr>
  <p:transition spd="med"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01980703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3264341"/>
      </p:ext>
    </p:extLst>
  </p:cSld>
  <p:clrMapOvr>
    <a:masterClrMapping/>
  </p:clrMapOvr>
  <p:transition spd="med"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9461315"/>
      </p:ext>
    </p:extLst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>
            <a:spLocks noChangeArrowheads="1"/>
          </p:cNvSpPr>
          <p:nvPr userDrawn="1"/>
        </p:nvSpPr>
        <p:spPr bwMode="auto">
          <a:xfrm>
            <a:off x="107950" y="4779963"/>
            <a:ext cx="23018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3" rIns="0" bIns="45713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253">
              <a:defRPr/>
            </a:pPr>
            <a:fld id="{06DF113F-B69A-4A04-8A61-407E1909032E}" type="slidenum">
              <a:rPr lang="fr-FR" altLang="fr-FR" sz="800" smtClean="0">
                <a:solidFill>
                  <a:srgbClr val="000000"/>
                </a:solidFill>
                <a:latin typeface="Helvetica 55 Roman" panose="020B0604020202020204" pitchFamily="2" charset="0"/>
                <a:ea typeface="+mn-ea"/>
                <a:cs typeface="Arial" charset="0"/>
              </a:rPr>
              <a:pPr defTabSz="914253">
                <a:defRPr/>
              </a:pPr>
              <a:t>‹N°›</a:t>
            </a:fld>
            <a:endParaRPr lang="fr-FR" altLang="fr-FR" sz="800" dirty="0" smtClean="0">
              <a:solidFill>
                <a:srgbClr val="000000"/>
              </a:solidFill>
              <a:latin typeface="Helvetica 55 Roman" panose="020B0604020202020204" pitchFamily="2" charset="0"/>
              <a:ea typeface="+mn-ea"/>
              <a:cs typeface="Arial" charset="0"/>
            </a:endParaRPr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 bwMode="gray">
          <a:xfrm>
            <a:off x="250831" y="1059583"/>
            <a:ext cx="8664575" cy="3611810"/>
          </a:xfrm>
        </p:spPr>
        <p:txBody>
          <a:bodyPr/>
          <a:lstStyle>
            <a:lvl1pPr>
              <a:buSzPct val="100000"/>
              <a:defRPr/>
            </a:lvl1pPr>
            <a:lvl3pPr>
              <a:buSzPct val="100000"/>
              <a:defRPr/>
            </a:lvl3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36177934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0651551"/>
      </p:ext>
    </p:extLst>
  </p:cSld>
  <p:clrMapOvr>
    <a:masterClrMapping/>
  </p:clrMapOvr>
  <p:transition spd="med"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5179387"/>
      </p:ext>
    </p:extLst>
  </p:cSld>
  <p:clrMapOvr>
    <a:masterClrMapping/>
  </p:clrMapOvr>
  <p:transition spd="med"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06" indent="-401606">
              <a:lnSpc>
                <a:spcPct val="85000"/>
              </a:lnSpc>
              <a:spcAft>
                <a:spcPts val="0"/>
              </a:spcAft>
              <a:buFont typeface="+mj-lt"/>
              <a:buAutoNum type="arabicPeriod"/>
              <a:defRPr sz="30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7331990"/>
      </p:ext>
    </p:extLst>
  </p:cSld>
  <p:clrMapOvr>
    <a:masterClrMapping/>
  </p:clrMapOvr>
  <p:transition spd="med">
    <p:fade/>
  </p:transition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2788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6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5pPr>
              <a:lvl6pPr marL="18811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6pPr>
              <a:lvl7pPr marL="23383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7pPr>
              <a:lvl8pPr marL="27955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8pPr>
              <a:lvl9pPr marL="32527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smtClean="0">
                <a:solidFill>
                  <a:srgbClr val="FF6600"/>
                </a:solidFill>
                <a:latin typeface="Helvetica 75 Bold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7 w 104"/>
                <a:gd name="T1" fmla="*/ 2147483647 h 122"/>
                <a:gd name="T2" fmla="*/ 2147483647 w 104"/>
                <a:gd name="T3" fmla="*/ 2147483647 h 122"/>
                <a:gd name="T4" fmla="*/ 2147483647 w 104"/>
                <a:gd name="T5" fmla="*/ 2147483647 h 122"/>
                <a:gd name="T6" fmla="*/ 2147483647 w 104"/>
                <a:gd name="T7" fmla="*/ 2147483647 h 122"/>
                <a:gd name="T8" fmla="*/ 2147483647 w 104"/>
                <a:gd name="T9" fmla="*/ 2147483647 h 122"/>
                <a:gd name="T10" fmla="*/ 2147483647 w 104"/>
                <a:gd name="T11" fmla="*/ 2147483647 h 122"/>
                <a:gd name="T12" fmla="*/ 2147483647 w 104"/>
                <a:gd name="T13" fmla="*/ 2147483647 h 122"/>
                <a:gd name="T14" fmla="*/ 0 w 104"/>
                <a:gd name="T15" fmla="*/ 2147483647 h 122"/>
                <a:gd name="T16" fmla="*/ 2147483647 w 104"/>
                <a:gd name="T17" fmla="*/ 2147483647 h 122"/>
                <a:gd name="T18" fmla="*/ 2147483647 w 104"/>
                <a:gd name="T19" fmla="*/ 2147483647 h 122"/>
                <a:gd name="T20" fmla="*/ 2147483647 w 104"/>
                <a:gd name="T21" fmla="*/ 2147483647 h 122"/>
                <a:gd name="T22" fmla="*/ 2147483647 w 104"/>
                <a:gd name="T23" fmla="*/ 2147483647 h 122"/>
                <a:gd name="T24" fmla="*/ 2147483647 w 104"/>
                <a:gd name="T25" fmla="*/ 2147483647 h 122"/>
                <a:gd name="T26" fmla="*/ 2147483647 w 104"/>
                <a:gd name="T27" fmla="*/ 0 h 122"/>
                <a:gd name="T28" fmla="*/ 2147483647 w 104"/>
                <a:gd name="T29" fmla="*/ 2147483647 h 122"/>
                <a:gd name="T30" fmla="*/ 2147483647 w 104"/>
                <a:gd name="T31" fmla="*/ 2147483647 h 122"/>
                <a:gd name="T32" fmla="*/ 2147483647 w 104"/>
                <a:gd name="T33" fmla="*/ 2147483647 h 122"/>
                <a:gd name="T34" fmla="*/ 2147483647 w 104"/>
                <a:gd name="T35" fmla="*/ 2147483647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7 h 120"/>
                <a:gd name="T2" fmla="*/ 2147483647 w 105"/>
                <a:gd name="T3" fmla="*/ 2147483647 h 120"/>
                <a:gd name="T4" fmla="*/ 2147483647 w 105"/>
                <a:gd name="T5" fmla="*/ 2147483647 h 120"/>
                <a:gd name="T6" fmla="*/ 2147483647 w 105"/>
                <a:gd name="T7" fmla="*/ 0 h 120"/>
                <a:gd name="T8" fmla="*/ 2147483647 w 105"/>
                <a:gd name="T9" fmla="*/ 2147483647 h 120"/>
                <a:gd name="T10" fmla="*/ 2147483647 w 105"/>
                <a:gd name="T11" fmla="*/ 2147483647 h 120"/>
                <a:gd name="T12" fmla="*/ 2147483647 w 105"/>
                <a:gd name="T13" fmla="*/ 2147483647 h 120"/>
                <a:gd name="T14" fmla="*/ 2147483647 w 105"/>
                <a:gd name="T15" fmla="*/ 2147483647 h 120"/>
                <a:gd name="T16" fmla="*/ 2147483647 w 105"/>
                <a:gd name="T17" fmla="*/ 2147483647 h 120"/>
                <a:gd name="T18" fmla="*/ 2147483647 w 105"/>
                <a:gd name="T19" fmla="*/ 2147483647 h 120"/>
                <a:gd name="T20" fmla="*/ 2147483647 w 105"/>
                <a:gd name="T21" fmla="*/ 2147483647 h 120"/>
                <a:gd name="T22" fmla="*/ 0 w 105"/>
                <a:gd name="T23" fmla="*/ 2147483647 h 120"/>
                <a:gd name="T24" fmla="*/ 0 w 105"/>
                <a:gd name="T25" fmla="*/ 2147483647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7 w 109"/>
                <a:gd name="T1" fmla="*/ 2147483647 h 122"/>
                <a:gd name="T2" fmla="*/ 2147483647 w 109"/>
                <a:gd name="T3" fmla="*/ 2147483647 h 122"/>
                <a:gd name="T4" fmla="*/ 2147483647 w 109"/>
                <a:gd name="T5" fmla="*/ 2147483647 h 122"/>
                <a:gd name="T6" fmla="*/ 2147483647 w 109"/>
                <a:gd name="T7" fmla="*/ 2147483647 h 122"/>
                <a:gd name="T8" fmla="*/ 2147483647 w 109"/>
                <a:gd name="T9" fmla="*/ 2147483647 h 122"/>
                <a:gd name="T10" fmla="*/ 0 w 109"/>
                <a:gd name="T11" fmla="*/ 2147483647 h 122"/>
                <a:gd name="T12" fmla="*/ 2147483647 w 109"/>
                <a:gd name="T13" fmla="*/ 0 h 122"/>
                <a:gd name="T14" fmla="*/ 2147483647 w 109"/>
                <a:gd name="T15" fmla="*/ 2147483647 h 122"/>
                <a:gd name="T16" fmla="*/ 2147483647 w 109"/>
                <a:gd name="T17" fmla="*/ 2147483647 h 122"/>
                <a:gd name="T18" fmla="*/ 2147483647 w 109"/>
                <a:gd name="T19" fmla="*/ 2147483647 h 122"/>
                <a:gd name="T20" fmla="*/ 2147483647 w 109"/>
                <a:gd name="T21" fmla="*/ 2147483647 h 122"/>
                <a:gd name="T22" fmla="*/ 2147483647 w 109"/>
                <a:gd name="T23" fmla="*/ 2147483647 h 122"/>
                <a:gd name="T24" fmla="*/ 2147483647 w 109"/>
                <a:gd name="T25" fmla="*/ 2147483647 h 122"/>
                <a:gd name="T26" fmla="*/ 2147483647 w 109"/>
                <a:gd name="T27" fmla="*/ 2147483647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7 w 116"/>
                <a:gd name="T1" fmla="*/ 2147483647 h 124"/>
                <a:gd name="T2" fmla="*/ 2147483647 w 116"/>
                <a:gd name="T3" fmla="*/ 2147483647 h 124"/>
                <a:gd name="T4" fmla="*/ 2147483647 w 116"/>
                <a:gd name="T5" fmla="*/ 2147483647 h 124"/>
                <a:gd name="T6" fmla="*/ 2147483647 w 116"/>
                <a:gd name="T7" fmla="*/ 2147483647 h 124"/>
                <a:gd name="T8" fmla="*/ 2147483647 w 116"/>
                <a:gd name="T9" fmla="*/ 2147483647 h 124"/>
                <a:gd name="T10" fmla="*/ 2147483647 w 116"/>
                <a:gd name="T11" fmla="*/ 2147483647 h 124"/>
                <a:gd name="T12" fmla="*/ 0 w 116"/>
                <a:gd name="T13" fmla="*/ 2147483647 h 124"/>
                <a:gd name="T14" fmla="*/ 2147483647 w 116"/>
                <a:gd name="T15" fmla="*/ 0 h 124"/>
                <a:gd name="T16" fmla="*/ 2147483647 w 116"/>
                <a:gd name="T17" fmla="*/ 2147483647 h 124"/>
                <a:gd name="T18" fmla="*/ 2147483647 w 116"/>
                <a:gd name="T19" fmla="*/ 2147483647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7 h 120"/>
                <a:gd name="T2" fmla="*/ 2147483647 w 66"/>
                <a:gd name="T3" fmla="*/ 2147483647 h 120"/>
                <a:gd name="T4" fmla="*/ 2147483647 w 66"/>
                <a:gd name="T5" fmla="*/ 2147483647 h 120"/>
                <a:gd name="T6" fmla="*/ 2147483647 w 66"/>
                <a:gd name="T7" fmla="*/ 0 h 120"/>
                <a:gd name="T8" fmla="*/ 2147483647 w 66"/>
                <a:gd name="T9" fmla="*/ 2147483647 h 120"/>
                <a:gd name="T10" fmla="*/ 2147483647 w 66"/>
                <a:gd name="T11" fmla="*/ 2147483647 h 120"/>
                <a:gd name="T12" fmla="*/ 2147483647 w 66"/>
                <a:gd name="T13" fmla="*/ 2147483647 h 120"/>
                <a:gd name="T14" fmla="*/ 2147483647 w 66"/>
                <a:gd name="T15" fmla="*/ 2147483647 h 120"/>
                <a:gd name="T16" fmla="*/ 2147483647 w 66"/>
                <a:gd name="T17" fmla="*/ 2147483647 h 120"/>
                <a:gd name="T18" fmla="*/ 0 w 66"/>
                <a:gd name="T19" fmla="*/ 2147483647 h 120"/>
                <a:gd name="T20" fmla="*/ 0 w 66"/>
                <a:gd name="T21" fmla="*/ 2147483647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7 w 110"/>
                <a:gd name="T1" fmla="*/ 2147483647 h 166"/>
                <a:gd name="T2" fmla="*/ 2147483647 w 110"/>
                <a:gd name="T3" fmla="*/ 2147483647 h 166"/>
                <a:gd name="T4" fmla="*/ 2147483647 w 110"/>
                <a:gd name="T5" fmla="*/ 2147483647 h 166"/>
                <a:gd name="T6" fmla="*/ 2147483647 w 110"/>
                <a:gd name="T7" fmla="*/ 2147483647 h 166"/>
                <a:gd name="T8" fmla="*/ 2147483647 w 110"/>
                <a:gd name="T9" fmla="*/ 2147483647 h 166"/>
                <a:gd name="T10" fmla="*/ 2147483647 w 110"/>
                <a:gd name="T11" fmla="*/ 2147483647 h 166"/>
                <a:gd name="T12" fmla="*/ 2147483647 w 110"/>
                <a:gd name="T13" fmla="*/ 2147483647 h 166"/>
                <a:gd name="T14" fmla="*/ 2147483647 w 110"/>
                <a:gd name="T15" fmla="*/ 2147483647 h 166"/>
                <a:gd name="T16" fmla="*/ 2147483647 w 110"/>
                <a:gd name="T17" fmla="*/ 2147483647 h 166"/>
                <a:gd name="T18" fmla="*/ 2147483647 w 110"/>
                <a:gd name="T19" fmla="*/ 2147483647 h 166"/>
                <a:gd name="T20" fmla="*/ 0 w 110"/>
                <a:gd name="T21" fmla="*/ 2147483647 h 166"/>
                <a:gd name="T22" fmla="*/ 2147483647 w 110"/>
                <a:gd name="T23" fmla="*/ 0 h 166"/>
                <a:gd name="T24" fmla="*/ 2147483647 w 110"/>
                <a:gd name="T25" fmla="*/ 2147483647 h 166"/>
                <a:gd name="T26" fmla="*/ 2147483647 w 110"/>
                <a:gd name="T27" fmla="*/ 2147483647 h 166"/>
                <a:gd name="T28" fmla="*/ 2147483647 w 110"/>
                <a:gd name="T29" fmla="*/ 2147483647 h 166"/>
                <a:gd name="T30" fmla="*/ 2147483647 w 110"/>
                <a:gd name="T31" fmla="*/ 2147483647 h 166"/>
                <a:gd name="T32" fmla="*/ 2147483647 w 110"/>
                <a:gd name="T33" fmla="*/ 2147483647 h 166"/>
                <a:gd name="T34" fmla="*/ 2147483647 w 110"/>
                <a:gd name="T35" fmla="*/ 2147483647 h 166"/>
                <a:gd name="T36" fmla="*/ 2147483647 w 110"/>
                <a:gd name="T37" fmla="*/ 2147483647 h 166"/>
                <a:gd name="T38" fmla="*/ 2147483647 w 110"/>
                <a:gd name="T39" fmla="*/ 2147483647 h 166"/>
                <a:gd name="T40" fmla="*/ 2147483647 w 110"/>
                <a:gd name="T41" fmla="*/ 2147483647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7 w 195"/>
                <a:gd name="T1" fmla="*/ 2147483647 h 92"/>
                <a:gd name="T2" fmla="*/ 2147483647 w 195"/>
                <a:gd name="T3" fmla="*/ 2147483647 h 92"/>
                <a:gd name="T4" fmla="*/ 2147483647 w 195"/>
                <a:gd name="T5" fmla="*/ 2147483647 h 92"/>
                <a:gd name="T6" fmla="*/ 2147483647 w 195"/>
                <a:gd name="T7" fmla="*/ 2147483647 h 92"/>
                <a:gd name="T8" fmla="*/ 2147483647 w 195"/>
                <a:gd name="T9" fmla="*/ 2147483647 h 92"/>
                <a:gd name="T10" fmla="*/ 2147483647 w 195"/>
                <a:gd name="T11" fmla="*/ 2147483647 h 92"/>
                <a:gd name="T12" fmla="*/ 2147483647 w 195"/>
                <a:gd name="T13" fmla="*/ 2147483647 h 92"/>
                <a:gd name="T14" fmla="*/ 2147483647 w 195"/>
                <a:gd name="T15" fmla="*/ 2147483647 h 92"/>
                <a:gd name="T16" fmla="*/ 2147483647 w 195"/>
                <a:gd name="T17" fmla="*/ 2147483647 h 92"/>
                <a:gd name="T18" fmla="*/ 2147483647 w 195"/>
                <a:gd name="T19" fmla="*/ 2147483647 h 92"/>
                <a:gd name="T20" fmla="*/ 2147483647 w 195"/>
                <a:gd name="T21" fmla="*/ 0 h 92"/>
                <a:gd name="T22" fmla="*/ 2147483647 w 195"/>
                <a:gd name="T23" fmla="*/ 0 h 92"/>
                <a:gd name="T24" fmla="*/ 2147483647 w 195"/>
                <a:gd name="T25" fmla="*/ 2147483647 h 92"/>
                <a:gd name="T26" fmla="*/ 2147483647 w 195"/>
                <a:gd name="T27" fmla="*/ 0 h 92"/>
                <a:gd name="T28" fmla="*/ 2147483647 w 195"/>
                <a:gd name="T29" fmla="*/ 0 h 92"/>
                <a:gd name="T30" fmla="*/ 2147483647 w 195"/>
                <a:gd name="T31" fmla="*/ 2147483647 h 92"/>
                <a:gd name="T32" fmla="*/ 2147483647 w 195"/>
                <a:gd name="T33" fmla="*/ 2147483647 h 92"/>
                <a:gd name="T34" fmla="*/ 2147483647 w 195"/>
                <a:gd name="T35" fmla="*/ 2147483647 h 92"/>
                <a:gd name="T36" fmla="*/ 2147483647 w 195"/>
                <a:gd name="T37" fmla="*/ 2147483647 h 92"/>
                <a:gd name="T38" fmla="*/ 2147483647 w 195"/>
                <a:gd name="T39" fmla="*/ 2147483647 h 92"/>
                <a:gd name="T40" fmla="*/ 2147483647 w 195"/>
                <a:gd name="T41" fmla="*/ 2147483647 h 92"/>
                <a:gd name="T42" fmla="*/ 0 w 195"/>
                <a:gd name="T43" fmla="*/ 2147483647 h 92"/>
                <a:gd name="T44" fmla="*/ 0 w 195"/>
                <a:gd name="T45" fmla="*/ 0 h 92"/>
                <a:gd name="T46" fmla="*/ 2147483647 w 195"/>
                <a:gd name="T47" fmla="*/ 0 h 92"/>
                <a:gd name="T48" fmla="*/ 2147483647 w 195"/>
                <a:gd name="T49" fmla="*/ 2147483647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765644974"/>
      </p:ext>
    </p:extLst>
  </p:cSld>
  <p:clrMapOvr>
    <a:masterClrMapping/>
  </p:clrMapOvr>
  <p:transition spd="med">
    <p:fade/>
  </p:transition>
  <p:hf sldNum="0" hdr="0" ftr="0"/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2382651835"/>
      </p:ext>
    </p:extLst>
  </p:cSld>
  <p:clrMapOvr>
    <a:masterClrMapping/>
  </p:clrMapOvr>
  <p:transition spd="med">
    <p:fade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057315655"/>
      </p:ext>
    </p:extLst>
  </p:cSld>
  <p:clrMapOvr>
    <a:masterClrMapping/>
  </p:clrMapOvr>
  <p:transition spd="med">
    <p:fade/>
  </p:transition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5460769"/>
      </p:ext>
    </p:extLst>
  </p:cSld>
  <p:clrMapOvr>
    <a:masterClrMapping/>
  </p:clrMapOvr>
  <p:transition spd="med">
    <p:fade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538872"/>
      </p:ext>
    </p:extLst>
  </p:cSld>
  <p:clrMapOvr>
    <a:masterClrMapping/>
  </p:clrMapOvr>
  <p:transition spd="med">
    <p:fade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7822922"/>
      </p:ext>
    </p:extLst>
  </p:cSld>
  <p:clrMapOvr>
    <a:masterClrMapping/>
  </p:clrMapOvr>
  <p:transition spd="med">
    <p:fade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1370609"/>
      </p:ext>
    </p:extLst>
  </p:cSld>
  <p:clrMapOvr>
    <a:masterClrMapping/>
  </p:clrMapOvr>
  <p:transition spd="med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/>
          <p:cNvSpPr txBox="1">
            <a:spLocks noChangeArrowheads="1"/>
          </p:cNvSpPr>
          <p:nvPr/>
        </p:nvSpPr>
        <p:spPr bwMode="auto">
          <a:xfrm>
            <a:off x="250825" y="4779963"/>
            <a:ext cx="344488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3" rIns="0" bIns="45713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253">
              <a:defRPr/>
            </a:pPr>
            <a:fld id="{9432C437-6457-4F1D-B378-856AB90E862C}" type="slidenum">
              <a:rPr lang="fr-FR" altLang="fr-FR" sz="1200" smtClean="0">
                <a:solidFill>
                  <a:srgbClr val="000000"/>
                </a:solidFill>
                <a:latin typeface="Helvetica 55 Roman" panose="020B0604020202020204" pitchFamily="2" charset="0"/>
                <a:ea typeface="+mn-ea"/>
                <a:cs typeface="Arial" charset="0"/>
              </a:rPr>
              <a:pPr defTabSz="914253">
                <a:defRPr/>
              </a:pPr>
              <a:t>‹N°›</a:t>
            </a:fld>
            <a:endParaRPr lang="fr-FR" altLang="fr-FR" sz="1600" dirty="0" smtClean="0">
              <a:solidFill>
                <a:srgbClr val="000000"/>
              </a:solidFill>
              <a:latin typeface="Helvetica 55 Roman" panose="020B0604020202020204" pitchFamily="2" charset="0"/>
              <a:ea typeface="+mn-ea"/>
              <a:cs typeface="Arial" charset="0"/>
            </a:endParaRPr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250828" y="228601"/>
            <a:ext cx="8683625" cy="738188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 bwMode="gray">
          <a:xfrm>
            <a:off x="250825" y="1599643"/>
            <a:ext cx="4177160" cy="3071750"/>
          </a:xfrm>
        </p:spPr>
        <p:txBody>
          <a:bodyPr/>
          <a:lstStyle>
            <a:lvl1pPr>
              <a:buSzPct val="100000"/>
              <a:defRPr/>
            </a:lvl1pPr>
            <a:lvl3pPr>
              <a:buSzPct val="100000"/>
              <a:defRPr/>
            </a:lvl3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1"/>
          </p:nvPr>
        </p:nvSpPr>
        <p:spPr>
          <a:xfrm>
            <a:off x="4758450" y="1600629"/>
            <a:ext cx="4176000" cy="307735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lang="fr-FR" dirty="0" smtClean="0"/>
            </a:lvl1pPr>
            <a:lvl2pPr>
              <a:defRPr lang="fr-FR" dirty="0" smtClean="0"/>
            </a:lvl2pPr>
            <a:lvl3pPr>
              <a:defRPr lang="fr-FR" dirty="0" smtClean="0"/>
            </a:lvl3pPr>
            <a:lvl4pPr>
              <a:defRPr lang="fr-FR" dirty="0" smtClean="0"/>
            </a:lvl4pPr>
            <a:lvl5pPr>
              <a:defRPr lang="fr-FR" dirty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250829" y="1114090"/>
            <a:ext cx="4177159" cy="37754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marL="0" indent="0">
              <a:buNone/>
              <a:defRPr lang="fr-FR" sz="2000" b="1" dirty="0" smtClean="0">
                <a:solidFill>
                  <a:schemeClr val="tx2"/>
                </a:solidFill>
                <a:latin typeface="Helvetica 75 Bold" panose="020B0804020202020204" pitchFamily="34" charset="0"/>
              </a:defRPr>
            </a:lvl1pPr>
            <a:lvl2pPr>
              <a:defRPr lang="fr-FR" dirty="0" smtClean="0"/>
            </a:lvl2pPr>
            <a:lvl3pPr>
              <a:defRPr lang="fr-FR" dirty="0" smtClean="0"/>
            </a:lvl3pPr>
            <a:lvl4pPr>
              <a:defRPr lang="fr-FR" dirty="0" smtClean="0"/>
            </a:lvl4pPr>
            <a:lvl5pPr>
              <a:defRPr lang="fr-FR" dirty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4758453" y="1114090"/>
            <a:ext cx="4177159" cy="37754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marL="0" indent="0">
              <a:buNone/>
              <a:defRPr lang="fr-FR" sz="2000" b="1" dirty="0" smtClean="0">
                <a:solidFill>
                  <a:schemeClr val="tx2"/>
                </a:solidFill>
                <a:latin typeface="Helvetica 75 Bold" panose="020B0804020202020204" pitchFamily="34" charset="0"/>
              </a:defRPr>
            </a:lvl1pPr>
            <a:lvl2pPr>
              <a:defRPr lang="fr-FR" dirty="0" smtClean="0"/>
            </a:lvl2pPr>
            <a:lvl3pPr>
              <a:defRPr lang="fr-FR" dirty="0" smtClean="0"/>
            </a:lvl3pPr>
            <a:lvl4pPr>
              <a:defRPr lang="fr-FR" dirty="0" smtClean="0"/>
            </a:lvl4pPr>
            <a:lvl5pPr>
              <a:defRPr lang="fr-FR" dirty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503422831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2972586"/>
      </p:ext>
    </p:extLst>
  </p:cSld>
  <p:clrMapOvr>
    <a:masterClrMapping/>
  </p:clrMapOvr>
  <p:transition spd="med">
    <p:fade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0769803"/>
      </p:ext>
    </p:extLst>
  </p:cSld>
  <p:clrMapOvr>
    <a:masterClrMapping/>
  </p:clrMapOvr>
  <p:transition spd="med">
    <p:fade/>
  </p:transition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ces simp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016213" y="302400"/>
            <a:ext cx="7084800" cy="737100"/>
          </a:xfrm>
        </p:spPr>
        <p:txBody>
          <a:bodyPr/>
          <a:lstStyle>
            <a:lvl1pPr algn="l">
              <a:defRPr baseline="0"/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26" name="Espace réservé du contenu 2"/>
          <p:cNvSpPr>
            <a:spLocks noGrp="1"/>
          </p:cNvSpPr>
          <p:nvPr>
            <p:ph idx="1"/>
          </p:nvPr>
        </p:nvSpPr>
        <p:spPr>
          <a:xfrm>
            <a:off x="1042993" y="1329929"/>
            <a:ext cx="7058025" cy="2915840"/>
          </a:xfrm>
        </p:spPr>
        <p:txBody>
          <a:bodyPr/>
          <a:lstStyle>
            <a:lvl1pPr>
              <a:defRPr sz="1500" baseline="0"/>
            </a:lvl1pPr>
            <a:lvl2pPr>
              <a:spcAft>
                <a:spcPct val="0"/>
              </a:spcAft>
              <a:buFont typeface="Arial" charset="0"/>
              <a:buChar char="–"/>
              <a:defRPr/>
            </a:lvl2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83437154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1597821"/>
            <a:ext cx="7772400" cy="1102519"/>
          </a:xfrm>
        </p:spPr>
        <p:txBody>
          <a:bodyPr/>
          <a:lstStyle/>
          <a:p>
            <a:r>
              <a:rPr lang="fr-FR"/>
              <a:t>Cliquez et modifiez le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08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161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24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322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403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483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564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645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Cliquez pour modifier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 lIns="50612" tIns="25306" rIns="50612" bIns="25306"/>
          <a:lstStyle>
            <a:lvl1pPr defTabSz="712788">
              <a:defRPr>
                <a:solidFill>
                  <a:srgbClr val="000000"/>
                </a:solidFill>
                <a:latin typeface="Helvetica 75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5662E9A9-99C2-42B6-AFD9-759586986F30}" type="datetime1">
              <a:rPr lang="fr-FR"/>
              <a:pPr>
                <a:defRPr/>
              </a:pPr>
              <a:t>19/02/2019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 lIns="50612" tIns="25306" rIns="50612" bIns="25306"/>
          <a:lstStyle>
            <a:lvl1pPr defTabSz="712788">
              <a:defRPr>
                <a:solidFill>
                  <a:srgbClr val="000000"/>
                </a:solidFill>
                <a:latin typeface="Helvetica 75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lIns="50612" tIns="25306" rIns="50612" bIns="25306"/>
          <a:lstStyle>
            <a:lvl1pPr defTabSz="712788">
              <a:defRPr>
                <a:solidFill>
                  <a:srgbClr val="000000"/>
                </a:solidFill>
                <a:latin typeface="Helvetica 75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F9774D88-3224-4B57-B609-47AF66173C43}" type="slidenum">
              <a:rPr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31813824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7367270"/>
      </p:ext>
    </p:extLst>
  </p:cSld>
  <p:clrMapOvr>
    <a:masterClrMapping/>
  </p:clrMapOvr>
  <p:transition spd="med"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eneral conten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>
            <a:spLocks noGrp="1"/>
          </p:cNvSpPr>
          <p:nvPr>
            <p:ph idx="1"/>
          </p:nvPr>
        </p:nvSpPr>
        <p:spPr bwMode="gray">
          <a:xfrm>
            <a:off x="252001" y="1120501"/>
            <a:ext cx="8640000" cy="3466979"/>
          </a:xfrm>
          <a:prstGeom prst="rect">
            <a:avLst/>
          </a:prstGeom>
        </p:spPr>
        <p:txBody>
          <a:bodyPr rtlCol="0">
            <a:noAutofit/>
          </a:bodyPr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 baseline="0"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FR" noProof="0" dirty="0" smtClean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 noProof="0" smtClean="0"/>
              <a:t>Modifiez le style du titre</a:t>
            </a:r>
            <a:endParaRPr lang="fr-FR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 bwMode="gray">
          <a:xfrm>
            <a:off x="252420" y="4729759"/>
            <a:ext cx="4011613" cy="332924"/>
          </a:xfrm>
        </p:spPr>
        <p:txBody>
          <a:bodyPr anchor="b"/>
          <a:lstStyle>
            <a:lvl1pPr>
              <a:spcAft>
                <a:spcPts val="0"/>
              </a:spcAft>
              <a:buFontTx/>
              <a:buNone/>
              <a:defRPr sz="600"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buFontTx/>
              <a:buNone/>
              <a:defRPr sz="8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8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8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253084776"/>
      </p:ext>
    </p:extLst>
  </p:cSld>
  <p:clrMapOvr>
    <a:masterClrMapping/>
  </p:clrMapOvr>
  <p:transition/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28600" y="685800"/>
            <a:ext cx="8686800" cy="405765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0"/>
          </p:nvPr>
        </p:nvSpPr>
        <p:spPr>
          <a:xfrm>
            <a:off x="8458200" y="342900"/>
            <a:ext cx="914400" cy="6858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75483199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59"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10"/>
          <p:cNvSpPr txBox="1">
            <a:spLocks/>
          </p:cNvSpPr>
          <p:nvPr/>
        </p:nvSpPr>
        <p:spPr>
          <a:xfrm>
            <a:off x="336550" y="4471988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064320E8-1ADF-40F1-BE1A-29F2B0B48D85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7" name="Text Placeholder 10"/>
          <p:cNvSpPr txBox="1">
            <a:spLocks/>
          </p:cNvSpPr>
          <p:nvPr/>
        </p:nvSpPr>
        <p:spPr>
          <a:xfrm>
            <a:off x="655638" y="4467225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  <p:sp>
        <p:nvSpPr>
          <p:cNvPr id="8" name="Rectangle 7"/>
          <p:cNvSpPr/>
          <p:nvPr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2788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9" name="Group 5"/>
          <p:cNvGrpSpPr>
            <a:grpSpLocks/>
          </p:cNvGrpSpPr>
          <p:nvPr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10" name="Rectangle 8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5pPr>
              <a:lvl6pPr marL="18827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6pPr>
              <a:lvl7pPr marL="23399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7pPr>
              <a:lvl8pPr marL="27971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8pPr>
              <a:lvl9pPr marL="32543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US" altLang="en-US" sz="1800" dirty="0">
                <a:solidFill>
                  <a:srgbClr val="FF6600"/>
                </a:solidFill>
                <a:latin typeface="Helvetica 75 Bold" pitchFamily="34" charset="0"/>
                <a:cs typeface="Arial" charset="0"/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7 w 104"/>
                <a:gd name="T1" fmla="*/ 2147483647 h 122"/>
                <a:gd name="T2" fmla="*/ 2147483647 w 104"/>
                <a:gd name="T3" fmla="*/ 2147483647 h 122"/>
                <a:gd name="T4" fmla="*/ 2147483647 w 104"/>
                <a:gd name="T5" fmla="*/ 2147483647 h 122"/>
                <a:gd name="T6" fmla="*/ 2147483647 w 104"/>
                <a:gd name="T7" fmla="*/ 2147483647 h 122"/>
                <a:gd name="T8" fmla="*/ 2147483647 w 104"/>
                <a:gd name="T9" fmla="*/ 2147483647 h 122"/>
                <a:gd name="T10" fmla="*/ 2147483647 w 104"/>
                <a:gd name="T11" fmla="*/ 2147483647 h 122"/>
                <a:gd name="T12" fmla="*/ 2147483647 w 104"/>
                <a:gd name="T13" fmla="*/ 2147483647 h 122"/>
                <a:gd name="T14" fmla="*/ 0 w 104"/>
                <a:gd name="T15" fmla="*/ 2147483647 h 122"/>
                <a:gd name="T16" fmla="*/ 2147483647 w 104"/>
                <a:gd name="T17" fmla="*/ 2147483647 h 122"/>
                <a:gd name="T18" fmla="*/ 2147483647 w 104"/>
                <a:gd name="T19" fmla="*/ 2147483647 h 122"/>
                <a:gd name="T20" fmla="*/ 2147483647 w 104"/>
                <a:gd name="T21" fmla="*/ 2147483647 h 122"/>
                <a:gd name="T22" fmla="*/ 2147483647 w 104"/>
                <a:gd name="T23" fmla="*/ 2147483647 h 122"/>
                <a:gd name="T24" fmla="*/ 2147483647 w 104"/>
                <a:gd name="T25" fmla="*/ 2147483647 h 122"/>
                <a:gd name="T26" fmla="*/ 2147483647 w 104"/>
                <a:gd name="T27" fmla="*/ 0 h 122"/>
                <a:gd name="T28" fmla="*/ 2147483647 w 104"/>
                <a:gd name="T29" fmla="*/ 2147483647 h 122"/>
                <a:gd name="T30" fmla="*/ 2147483647 w 104"/>
                <a:gd name="T31" fmla="*/ 2147483647 h 122"/>
                <a:gd name="T32" fmla="*/ 2147483647 w 104"/>
                <a:gd name="T33" fmla="*/ 2147483647 h 122"/>
                <a:gd name="T34" fmla="*/ 2147483647 w 104"/>
                <a:gd name="T35" fmla="*/ 2147483647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7 h 120"/>
                <a:gd name="T2" fmla="*/ 2147483647 w 105"/>
                <a:gd name="T3" fmla="*/ 2147483647 h 120"/>
                <a:gd name="T4" fmla="*/ 2147483647 w 105"/>
                <a:gd name="T5" fmla="*/ 2147483647 h 120"/>
                <a:gd name="T6" fmla="*/ 2147483647 w 105"/>
                <a:gd name="T7" fmla="*/ 0 h 120"/>
                <a:gd name="T8" fmla="*/ 2147483647 w 105"/>
                <a:gd name="T9" fmla="*/ 2147483647 h 120"/>
                <a:gd name="T10" fmla="*/ 2147483647 w 105"/>
                <a:gd name="T11" fmla="*/ 2147483647 h 120"/>
                <a:gd name="T12" fmla="*/ 2147483647 w 105"/>
                <a:gd name="T13" fmla="*/ 2147483647 h 120"/>
                <a:gd name="T14" fmla="*/ 2147483647 w 105"/>
                <a:gd name="T15" fmla="*/ 2147483647 h 120"/>
                <a:gd name="T16" fmla="*/ 2147483647 w 105"/>
                <a:gd name="T17" fmla="*/ 2147483647 h 120"/>
                <a:gd name="T18" fmla="*/ 2147483647 w 105"/>
                <a:gd name="T19" fmla="*/ 2147483647 h 120"/>
                <a:gd name="T20" fmla="*/ 2147483647 w 105"/>
                <a:gd name="T21" fmla="*/ 2147483647 h 120"/>
                <a:gd name="T22" fmla="*/ 0 w 105"/>
                <a:gd name="T23" fmla="*/ 2147483647 h 120"/>
                <a:gd name="T24" fmla="*/ 0 w 105"/>
                <a:gd name="T25" fmla="*/ 2147483647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7 w 109"/>
                <a:gd name="T1" fmla="*/ 2147483647 h 122"/>
                <a:gd name="T2" fmla="*/ 2147483647 w 109"/>
                <a:gd name="T3" fmla="*/ 2147483647 h 122"/>
                <a:gd name="T4" fmla="*/ 2147483647 w 109"/>
                <a:gd name="T5" fmla="*/ 2147483647 h 122"/>
                <a:gd name="T6" fmla="*/ 2147483647 w 109"/>
                <a:gd name="T7" fmla="*/ 2147483647 h 122"/>
                <a:gd name="T8" fmla="*/ 2147483647 w 109"/>
                <a:gd name="T9" fmla="*/ 2147483647 h 122"/>
                <a:gd name="T10" fmla="*/ 0 w 109"/>
                <a:gd name="T11" fmla="*/ 2147483647 h 122"/>
                <a:gd name="T12" fmla="*/ 2147483647 w 109"/>
                <a:gd name="T13" fmla="*/ 0 h 122"/>
                <a:gd name="T14" fmla="*/ 2147483647 w 109"/>
                <a:gd name="T15" fmla="*/ 2147483647 h 122"/>
                <a:gd name="T16" fmla="*/ 2147483647 w 109"/>
                <a:gd name="T17" fmla="*/ 2147483647 h 122"/>
                <a:gd name="T18" fmla="*/ 2147483647 w 109"/>
                <a:gd name="T19" fmla="*/ 2147483647 h 122"/>
                <a:gd name="T20" fmla="*/ 2147483647 w 109"/>
                <a:gd name="T21" fmla="*/ 2147483647 h 122"/>
                <a:gd name="T22" fmla="*/ 2147483647 w 109"/>
                <a:gd name="T23" fmla="*/ 2147483647 h 122"/>
                <a:gd name="T24" fmla="*/ 2147483647 w 109"/>
                <a:gd name="T25" fmla="*/ 2147483647 h 122"/>
                <a:gd name="T26" fmla="*/ 2147483647 w 109"/>
                <a:gd name="T27" fmla="*/ 2147483647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7 w 116"/>
                <a:gd name="T1" fmla="*/ 2147483647 h 124"/>
                <a:gd name="T2" fmla="*/ 2147483647 w 116"/>
                <a:gd name="T3" fmla="*/ 2147483647 h 124"/>
                <a:gd name="T4" fmla="*/ 2147483647 w 116"/>
                <a:gd name="T5" fmla="*/ 2147483647 h 124"/>
                <a:gd name="T6" fmla="*/ 2147483647 w 116"/>
                <a:gd name="T7" fmla="*/ 2147483647 h 124"/>
                <a:gd name="T8" fmla="*/ 2147483647 w 116"/>
                <a:gd name="T9" fmla="*/ 2147483647 h 124"/>
                <a:gd name="T10" fmla="*/ 2147483647 w 116"/>
                <a:gd name="T11" fmla="*/ 2147483647 h 124"/>
                <a:gd name="T12" fmla="*/ 0 w 116"/>
                <a:gd name="T13" fmla="*/ 2147483647 h 124"/>
                <a:gd name="T14" fmla="*/ 2147483647 w 116"/>
                <a:gd name="T15" fmla="*/ 0 h 124"/>
                <a:gd name="T16" fmla="*/ 2147483647 w 116"/>
                <a:gd name="T17" fmla="*/ 2147483647 h 124"/>
                <a:gd name="T18" fmla="*/ 2147483647 w 116"/>
                <a:gd name="T19" fmla="*/ 2147483647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7 h 120"/>
                <a:gd name="T2" fmla="*/ 2147483647 w 66"/>
                <a:gd name="T3" fmla="*/ 2147483647 h 120"/>
                <a:gd name="T4" fmla="*/ 2147483647 w 66"/>
                <a:gd name="T5" fmla="*/ 2147483647 h 120"/>
                <a:gd name="T6" fmla="*/ 2147483647 w 66"/>
                <a:gd name="T7" fmla="*/ 0 h 120"/>
                <a:gd name="T8" fmla="*/ 2147483647 w 66"/>
                <a:gd name="T9" fmla="*/ 2147483647 h 120"/>
                <a:gd name="T10" fmla="*/ 2147483647 w 66"/>
                <a:gd name="T11" fmla="*/ 2147483647 h 120"/>
                <a:gd name="T12" fmla="*/ 2147483647 w 66"/>
                <a:gd name="T13" fmla="*/ 2147483647 h 120"/>
                <a:gd name="T14" fmla="*/ 2147483647 w 66"/>
                <a:gd name="T15" fmla="*/ 2147483647 h 120"/>
                <a:gd name="T16" fmla="*/ 2147483647 w 66"/>
                <a:gd name="T17" fmla="*/ 2147483647 h 120"/>
                <a:gd name="T18" fmla="*/ 0 w 66"/>
                <a:gd name="T19" fmla="*/ 2147483647 h 120"/>
                <a:gd name="T20" fmla="*/ 0 w 66"/>
                <a:gd name="T21" fmla="*/ 2147483647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7 w 110"/>
                <a:gd name="T1" fmla="*/ 2147483647 h 166"/>
                <a:gd name="T2" fmla="*/ 2147483647 w 110"/>
                <a:gd name="T3" fmla="*/ 2147483647 h 166"/>
                <a:gd name="T4" fmla="*/ 2147483647 w 110"/>
                <a:gd name="T5" fmla="*/ 2147483647 h 166"/>
                <a:gd name="T6" fmla="*/ 2147483647 w 110"/>
                <a:gd name="T7" fmla="*/ 2147483647 h 166"/>
                <a:gd name="T8" fmla="*/ 2147483647 w 110"/>
                <a:gd name="T9" fmla="*/ 2147483647 h 166"/>
                <a:gd name="T10" fmla="*/ 2147483647 w 110"/>
                <a:gd name="T11" fmla="*/ 2147483647 h 166"/>
                <a:gd name="T12" fmla="*/ 2147483647 w 110"/>
                <a:gd name="T13" fmla="*/ 2147483647 h 166"/>
                <a:gd name="T14" fmla="*/ 2147483647 w 110"/>
                <a:gd name="T15" fmla="*/ 2147483647 h 166"/>
                <a:gd name="T16" fmla="*/ 2147483647 w 110"/>
                <a:gd name="T17" fmla="*/ 2147483647 h 166"/>
                <a:gd name="T18" fmla="*/ 2147483647 w 110"/>
                <a:gd name="T19" fmla="*/ 2147483647 h 166"/>
                <a:gd name="T20" fmla="*/ 0 w 110"/>
                <a:gd name="T21" fmla="*/ 2147483647 h 166"/>
                <a:gd name="T22" fmla="*/ 2147483647 w 110"/>
                <a:gd name="T23" fmla="*/ 0 h 166"/>
                <a:gd name="T24" fmla="*/ 2147483647 w 110"/>
                <a:gd name="T25" fmla="*/ 2147483647 h 166"/>
                <a:gd name="T26" fmla="*/ 2147483647 w 110"/>
                <a:gd name="T27" fmla="*/ 2147483647 h 166"/>
                <a:gd name="T28" fmla="*/ 2147483647 w 110"/>
                <a:gd name="T29" fmla="*/ 2147483647 h 166"/>
                <a:gd name="T30" fmla="*/ 2147483647 w 110"/>
                <a:gd name="T31" fmla="*/ 2147483647 h 166"/>
                <a:gd name="T32" fmla="*/ 2147483647 w 110"/>
                <a:gd name="T33" fmla="*/ 2147483647 h 166"/>
                <a:gd name="T34" fmla="*/ 2147483647 w 110"/>
                <a:gd name="T35" fmla="*/ 2147483647 h 166"/>
                <a:gd name="T36" fmla="*/ 2147483647 w 110"/>
                <a:gd name="T37" fmla="*/ 2147483647 h 166"/>
                <a:gd name="T38" fmla="*/ 2147483647 w 110"/>
                <a:gd name="T39" fmla="*/ 2147483647 h 166"/>
                <a:gd name="T40" fmla="*/ 2147483647 w 110"/>
                <a:gd name="T41" fmla="*/ 2147483647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7 w 195"/>
                <a:gd name="T1" fmla="*/ 2147483647 h 92"/>
                <a:gd name="T2" fmla="*/ 2147483647 w 195"/>
                <a:gd name="T3" fmla="*/ 2147483647 h 92"/>
                <a:gd name="T4" fmla="*/ 2147483647 w 195"/>
                <a:gd name="T5" fmla="*/ 2147483647 h 92"/>
                <a:gd name="T6" fmla="*/ 2147483647 w 195"/>
                <a:gd name="T7" fmla="*/ 2147483647 h 92"/>
                <a:gd name="T8" fmla="*/ 2147483647 w 195"/>
                <a:gd name="T9" fmla="*/ 2147483647 h 92"/>
                <a:gd name="T10" fmla="*/ 2147483647 w 195"/>
                <a:gd name="T11" fmla="*/ 2147483647 h 92"/>
                <a:gd name="T12" fmla="*/ 2147483647 w 195"/>
                <a:gd name="T13" fmla="*/ 2147483647 h 92"/>
                <a:gd name="T14" fmla="*/ 2147483647 w 195"/>
                <a:gd name="T15" fmla="*/ 2147483647 h 92"/>
                <a:gd name="T16" fmla="*/ 2147483647 w 195"/>
                <a:gd name="T17" fmla="*/ 2147483647 h 92"/>
                <a:gd name="T18" fmla="*/ 2147483647 w 195"/>
                <a:gd name="T19" fmla="*/ 2147483647 h 92"/>
                <a:gd name="T20" fmla="*/ 2147483647 w 195"/>
                <a:gd name="T21" fmla="*/ 0 h 92"/>
                <a:gd name="T22" fmla="*/ 2147483647 w 195"/>
                <a:gd name="T23" fmla="*/ 0 h 92"/>
                <a:gd name="T24" fmla="*/ 2147483647 w 195"/>
                <a:gd name="T25" fmla="*/ 2147483647 h 92"/>
                <a:gd name="T26" fmla="*/ 2147483647 w 195"/>
                <a:gd name="T27" fmla="*/ 0 h 92"/>
                <a:gd name="T28" fmla="*/ 2147483647 w 195"/>
                <a:gd name="T29" fmla="*/ 0 h 92"/>
                <a:gd name="T30" fmla="*/ 2147483647 w 195"/>
                <a:gd name="T31" fmla="*/ 2147483647 h 92"/>
                <a:gd name="T32" fmla="*/ 2147483647 w 195"/>
                <a:gd name="T33" fmla="*/ 2147483647 h 92"/>
                <a:gd name="T34" fmla="*/ 2147483647 w 195"/>
                <a:gd name="T35" fmla="*/ 2147483647 h 92"/>
                <a:gd name="T36" fmla="*/ 2147483647 w 195"/>
                <a:gd name="T37" fmla="*/ 2147483647 h 92"/>
                <a:gd name="T38" fmla="*/ 2147483647 w 195"/>
                <a:gd name="T39" fmla="*/ 2147483647 h 92"/>
                <a:gd name="T40" fmla="*/ 2147483647 w 195"/>
                <a:gd name="T41" fmla="*/ 2147483647 h 92"/>
                <a:gd name="T42" fmla="*/ 0 w 195"/>
                <a:gd name="T43" fmla="*/ 2147483647 h 92"/>
                <a:gd name="T44" fmla="*/ 0 w 195"/>
                <a:gd name="T45" fmla="*/ 0 h 92"/>
                <a:gd name="T46" fmla="*/ 2147483647 w 195"/>
                <a:gd name="T47" fmla="*/ 0 h 92"/>
                <a:gd name="T48" fmla="*/ 2147483647 w 195"/>
                <a:gd name="T49" fmla="*/ 2147483647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7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1" y="339725"/>
            <a:ext cx="2301876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510325224"/>
      </p:ext>
    </p:extLst>
  </p:cSld>
  <p:clrMapOvr>
    <a:masterClrMapping/>
  </p:clrMapOvr>
  <p:transition spd="med">
    <p:fade/>
  </p:transition>
  <p:hf sldNum="0" hdr="0" ftr="0"/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7" y="339726"/>
            <a:ext cx="8470900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1259325740"/>
      </p:ext>
    </p:extLst>
  </p:cSld>
  <p:clrMapOvr>
    <a:masterClrMapping/>
  </p:clrMapOvr>
  <p:transition spd="med">
    <p:fade/>
  </p:transition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7" y="339726"/>
            <a:ext cx="8470900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797133120"/>
      </p:ext>
    </p:extLst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/>
          <p:cNvSpPr txBox="1">
            <a:spLocks noChangeArrowheads="1"/>
          </p:cNvSpPr>
          <p:nvPr userDrawn="1"/>
        </p:nvSpPr>
        <p:spPr bwMode="auto">
          <a:xfrm>
            <a:off x="107950" y="4779963"/>
            <a:ext cx="23018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3" rIns="0" bIns="45713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253">
              <a:defRPr/>
            </a:pPr>
            <a:fld id="{81574F79-ED37-4ADF-BCD8-4EED97BD6D57}" type="slidenum">
              <a:rPr lang="fr-FR" altLang="fr-FR" sz="800" smtClean="0">
                <a:solidFill>
                  <a:srgbClr val="000000"/>
                </a:solidFill>
                <a:latin typeface="Helvetica 55 Roman" panose="020B0604020202020204" pitchFamily="2" charset="0"/>
                <a:ea typeface="+mn-ea"/>
                <a:cs typeface="Arial" charset="0"/>
              </a:rPr>
              <a:pPr defTabSz="914253">
                <a:defRPr/>
              </a:pPr>
              <a:t>‹N°›</a:t>
            </a:fld>
            <a:endParaRPr lang="fr-FR" altLang="fr-FR" sz="800" dirty="0" smtClean="0">
              <a:solidFill>
                <a:srgbClr val="000000"/>
              </a:solidFill>
              <a:latin typeface="Helvetica 55 Roman" panose="020B0604020202020204" pitchFamily="2" charset="0"/>
              <a:ea typeface="+mn-ea"/>
              <a:cs typeface="Arial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4010518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7" y="1304925"/>
            <a:ext cx="8470900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1556996"/>
      </p:ext>
    </p:extLst>
  </p:cSld>
  <p:clrMapOvr>
    <a:masterClrMapping/>
  </p:clrMapOvr>
  <p:transition spd="med"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5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9408018"/>
      </p:ext>
    </p:extLst>
  </p:cSld>
  <p:clrMapOvr>
    <a:masterClrMapping/>
  </p:clrMapOvr>
  <p:transition spd="med"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7" y="1304926"/>
            <a:ext cx="8470900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6723042"/>
      </p:ext>
    </p:extLst>
  </p:cSld>
  <p:clrMapOvr>
    <a:masterClrMapping/>
  </p:clrMapOvr>
  <p:transition spd="med"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7" y="339726"/>
            <a:ext cx="8470900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6242433"/>
      </p:ext>
    </p:extLst>
  </p:cSld>
  <p:clrMapOvr>
    <a:masterClrMapping/>
  </p:clrMapOvr>
  <p:transition spd="med">
    <p:fad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9325535"/>
      </p:ext>
    </p:extLst>
  </p:cSld>
  <p:clrMapOvr>
    <a:masterClrMapping/>
  </p:clrMapOvr>
  <p:transition spd="med">
    <p:fad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0061959"/>
      </p:ext>
    </p:extLst>
  </p:cSld>
  <p:clrMapOvr>
    <a:masterClrMapping/>
  </p:clrMapOvr>
  <p:transition spd="med">
    <p:fade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logo_rgb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0988" y="4408488"/>
            <a:ext cx="576262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20"/>
          <p:cNvSpPr txBox="1">
            <a:spLocks noChangeArrowheads="1"/>
          </p:cNvSpPr>
          <p:nvPr userDrawn="1"/>
        </p:nvSpPr>
        <p:spPr bwMode="auto">
          <a:xfrm>
            <a:off x="3867150" y="4894263"/>
            <a:ext cx="1250950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185" tIns="38092" rIns="76185" bIns="38092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712788" eaLnBrk="1" hangingPunct="1">
              <a:spcBef>
                <a:spcPct val="50000"/>
              </a:spcBef>
              <a:defRPr/>
            </a:pPr>
            <a:r>
              <a:rPr lang="fr-FR" sz="800" dirty="0" smtClean="0">
                <a:solidFill>
                  <a:srgbClr val="FF6600"/>
                </a:solidFill>
                <a:latin typeface="Helvetica 65 Medium" pitchFamily="34" charset="0"/>
                <a:ea typeface="ＭＳ Ｐゴシック" pitchFamily="34" charset="-128"/>
              </a:rPr>
              <a:t>confidentiel Orange</a:t>
            </a:r>
          </a:p>
        </p:txBody>
      </p:sp>
      <p:sp>
        <p:nvSpPr>
          <p:cNvPr id="209203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4390" y="2139554"/>
            <a:ext cx="7883877" cy="485775"/>
          </a:xfrm>
        </p:spPr>
        <p:txBody>
          <a:bodyPr lIns="29994" tIns="29994" anchor="b"/>
          <a:lstStyle>
            <a:lvl1pPr rtl="1">
              <a:defRPr>
                <a:solidFill>
                  <a:schemeClr val="bg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209203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4390" y="2652717"/>
            <a:ext cx="7883877" cy="351235"/>
          </a:xfrm>
        </p:spPr>
        <p:txBody>
          <a:bodyPr lIns="29994" tIns="29994"/>
          <a:lstStyle>
            <a:lvl1pPr marL="0" indent="0">
              <a:defRPr sz="2100">
                <a:solidFill>
                  <a:schemeClr val="tx1"/>
                </a:solidFill>
              </a:defRPr>
            </a:lvl1pPr>
          </a:lstStyle>
          <a:p>
            <a:r>
              <a:rPr lang="fr-FR"/>
              <a:t>prénom nom service</a:t>
            </a:r>
          </a:p>
        </p:txBody>
      </p:sp>
    </p:spTree>
    <p:extLst>
      <p:ext uri="{BB962C8B-B14F-4D97-AF65-F5344CB8AC3E}">
        <p14:creationId xmlns:p14="http://schemas.microsoft.com/office/powerpoint/2010/main" val="2149206755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4075374939"/>
      </p:ext>
    </p:extLst>
  </p:cSld>
  <p:clrMapOvr>
    <a:masterClrMapping/>
  </p:clrMapOvr>
  <p:transition spd="med">
    <p:fade/>
  </p:transition>
  <p:hf sldNum="0" hdr="0" ftr="0"/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965843213"/>
      </p:ext>
    </p:extLst>
  </p:cSld>
  <p:clrMapOvr>
    <a:masterClrMapping/>
  </p:clrMapOvr>
  <p:transition spd="med"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800" b="1">
                <a:solidFill>
                  <a:srgbClr val="FF66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040999"/>
      </p:ext>
    </p:extLst>
  </p:cSld>
  <p:clrMapOvr>
    <a:masterClrMapping/>
  </p:clrMapOvr>
  <p:transition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>
            <a:spLocks noChangeArrowheads="1"/>
          </p:cNvSpPr>
          <p:nvPr userDrawn="1"/>
        </p:nvSpPr>
        <p:spPr bwMode="auto">
          <a:xfrm>
            <a:off x="107950" y="4779963"/>
            <a:ext cx="23018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3" rIns="0" bIns="45713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253">
              <a:defRPr/>
            </a:pPr>
            <a:fld id="{89E38B02-84E3-48D8-A2FB-C513CF719758}" type="slidenum">
              <a:rPr lang="fr-FR" altLang="fr-FR" sz="800" smtClean="0">
                <a:solidFill>
                  <a:srgbClr val="000000"/>
                </a:solidFill>
                <a:latin typeface="Helvetica 55 Roman" panose="020B0604020202020204" pitchFamily="2" charset="0"/>
                <a:ea typeface="+mn-ea"/>
                <a:cs typeface="Arial" charset="0"/>
              </a:rPr>
              <a:pPr defTabSz="914253">
                <a:defRPr/>
              </a:pPr>
              <a:t>‹N°›</a:t>
            </a:fld>
            <a:endParaRPr lang="fr-FR" altLang="fr-FR" sz="800" dirty="0" smtClean="0">
              <a:solidFill>
                <a:srgbClr val="000000"/>
              </a:solidFill>
              <a:latin typeface="Helvetica 55 Roman" panose="020B0604020202020204" pitchFamily="2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6388421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20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800" b="1">
                <a:solidFill>
                  <a:srgbClr val="FF66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6800470"/>
      </p:ext>
    </p:extLst>
  </p:cSld>
  <p:clrMapOvr>
    <a:masterClrMapping/>
  </p:clrMapOvr>
  <p:transition spd="med"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>
            <a:lvl1pPr defTabSz="712788">
              <a:defRPr>
                <a:solidFill>
                  <a:prstClr val="black">
                    <a:tint val="75000"/>
                  </a:prstClr>
                </a:solidFill>
                <a:latin typeface="Helvetica 75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AE17B09D-3B45-4444-99EE-FFC89924F9F1}" type="datetimeFigureOut">
              <a:rPr lang="fr-FR"/>
              <a:pPr>
                <a:defRPr/>
              </a:pPr>
              <a:t>19/02/2019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>
            <a:lvl1pPr defTabSz="712788">
              <a:defRPr>
                <a:solidFill>
                  <a:prstClr val="black">
                    <a:tint val="75000"/>
                  </a:prstClr>
                </a:solidFill>
                <a:latin typeface="Helvetica 75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>
            <a:lvl1pPr defTabSz="712788">
              <a:defRPr>
                <a:solidFill>
                  <a:prstClr val="black">
                    <a:tint val="75000"/>
                  </a:prstClr>
                </a:solidFill>
                <a:latin typeface="Helvetica 75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EAA6F119-E957-429B-8912-3917FC307769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9263700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63101257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uces simp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 txBox="1">
            <a:spLocks/>
          </p:cNvSpPr>
          <p:nvPr userDrawn="1"/>
        </p:nvSpPr>
        <p:spPr>
          <a:xfrm>
            <a:off x="655638" y="4602163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5000"/>
              </a:lnSpc>
              <a:spcAft>
                <a:spcPts val="4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tion Partenaires DVI 2016 – matinale M2M - confidentiel – </a:t>
            </a:r>
            <a:r>
              <a:rPr lang="en-GB" sz="800" err="1">
                <a:solidFill>
                  <a:srgbClr val="FF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ptembre</a:t>
            </a:r>
            <a:r>
              <a:rPr lang="en-GB" sz="800">
                <a:solidFill>
                  <a:srgbClr val="FF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16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016213" y="302400"/>
            <a:ext cx="7084800" cy="737100"/>
          </a:xfrm>
        </p:spPr>
        <p:txBody>
          <a:bodyPr/>
          <a:lstStyle>
            <a:lvl1pPr algn="l">
              <a:defRPr/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26" name="Espace réservé du contenu 2"/>
          <p:cNvSpPr>
            <a:spLocks noGrp="1"/>
          </p:cNvSpPr>
          <p:nvPr>
            <p:ph idx="1"/>
          </p:nvPr>
        </p:nvSpPr>
        <p:spPr>
          <a:xfrm>
            <a:off x="1042989" y="1329929"/>
            <a:ext cx="7058025" cy="2915840"/>
          </a:xfrm>
        </p:spPr>
        <p:txBody>
          <a:bodyPr/>
          <a:lstStyle>
            <a:lvl1pPr>
              <a:defRPr sz="1800"/>
            </a:lvl1pPr>
            <a:lvl2pPr>
              <a:spcAft>
                <a:spcPct val="0"/>
              </a:spcAft>
              <a:buFont typeface="Arial" charset="0"/>
              <a:buChar char="–"/>
              <a:defRPr/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3722300221"/>
      </p:ext>
    </p:extLst>
  </p:cSld>
  <p:clrMapOvr>
    <a:masterClrMapping/>
  </p:clrMapOvr>
  <p:transition spd="med"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apositiv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/>
          <p:cNvSpPr txBox="1">
            <a:spLocks/>
          </p:cNvSpPr>
          <p:nvPr userDrawn="1"/>
        </p:nvSpPr>
        <p:spPr>
          <a:xfrm>
            <a:off x="655638" y="4602163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5000"/>
              </a:lnSpc>
              <a:spcAft>
                <a:spcPts val="4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tion Partenaires DVI 2016 – matinale M2M - confidentiel – </a:t>
            </a:r>
            <a:r>
              <a:rPr lang="en-GB" sz="800" err="1">
                <a:solidFill>
                  <a:srgbClr val="FF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ptembre</a:t>
            </a:r>
            <a:r>
              <a:rPr lang="en-GB" sz="800">
                <a:solidFill>
                  <a:srgbClr val="FF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16</a:t>
            </a: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415600" y="172400"/>
            <a:ext cx="7772400" cy="620189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900" b="0" i="0">
                <a:solidFill>
                  <a:srgbClr val="FF6600"/>
                </a:solidFill>
                <a:latin typeface="Helvetica Neue Light"/>
                <a:cs typeface="Helvetica Neue Light"/>
              </a:defRPr>
            </a:lvl1pPr>
          </a:lstStyle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0"/>
          </p:nvPr>
        </p:nvSpPr>
        <p:spPr>
          <a:xfrm>
            <a:off x="6848475" y="4821238"/>
            <a:ext cx="2133600" cy="273050"/>
          </a:xfrm>
          <a:prstGeom prst="rect">
            <a:avLst/>
          </a:prstGeom>
        </p:spPr>
        <p:txBody>
          <a:bodyPr lIns="0" tIns="0" rIns="0" bIns="0"/>
          <a:lstStyle>
            <a:lvl1pPr algn="r" defTabSz="712760" fontAlgn="auto">
              <a:spcBef>
                <a:spcPts val="0"/>
              </a:spcBef>
              <a:spcAft>
                <a:spcPts val="0"/>
              </a:spcAft>
              <a:defRPr b="0" i="0">
                <a:solidFill>
                  <a:srgbClr val="FF6600"/>
                </a:solidFill>
                <a:latin typeface="Helvetica Neue Medium"/>
                <a:ea typeface="ＭＳ Ｐゴシック" pitchFamily="34" charset="-128"/>
                <a:cs typeface="Helvetica Neue Medium"/>
              </a:defRPr>
            </a:lvl1pPr>
          </a:lstStyle>
          <a:p>
            <a:pPr>
              <a:defRPr/>
            </a:pPr>
            <a:fld id="{977E93BA-535B-44A6-9D82-37A343BC2F0A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05866712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/>
          <p:cNvSpPr txBox="1">
            <a:spLocks/>
          </p:cNvSpPr>
          <p:nvPr userDrawn="1"/>
        </p:nvSpPr>
        <p:spPr>
          <a:xfrm>
            <a:off x="655638" y="4602163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5000"/>
              </a:lnSpc>
              <a:spcAft>
                <a:spcPts val="4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tion Partenaires DVI 2016 – matinale M2M - confidentiel – </a:t>
            </a:r>
            <a:r>
              <a:rPr lang="en-GB" sz="800" err="1">
                <a:solidFill>
                  <a:srgbClr val="FF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ptembre</a:t>
            </a:r>
            <a:r>
              <a:rPr lang="en-GB" sz="800">
                <a:solidFill>
                  <a:srgbClr val="FF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16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2190857"/>
      </p:ext>
    </p:extLst>
  </p:cSld>
  <p:clrMapOvr>
    <a:masterClrMapping/>
  </p:clrMapOvr>
  <p:transition spd="med"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/>
          <p:cNvSpPr txBox="1">
            <a:spLocks/>
          </p:cNvSpPr>
          <p:nvPr userDrawn="1"/>
        </p:nvSpPr>
        <p:spPr>
          <a:xfrm>
            <a:off x="336550" y="4471988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D31157A9-0A8B-4651-86E5-D5630C64717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4" name="Text Placeholder 10"/>
          <p:cNvSpPr txBox="1">
            <a:spLocks/>
          </p:cNvSpPr>
          <p:nvPr userDrawn="1"/>
        </p:nvSpPr>
        <p:spPr>
          <a:xfrm>
            <a:off x="655638" y="4602163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5000"/>
              </a:lnSpc>
              <a:spcAft>
                <a:spcPts val="4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tion Partenaires DVI 2016 – matinale M2M - confidentiel – </a:t>
            </a:r>
            <a:r>
              <a:rPr lang="en-GB" sz="800" err="1">
                <a:solidFill>
                  <a:srgbClr val="FF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ptembre</a:t>
            </a:r>
            <a:r>
              <a:rPr lang="en-GB" sz="800">
                <a:solidFill>
                  <a:srgbClr val="FF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16</a:t>
            </a:r>
          </a:p>
        </p:txBody>
      </p:sp>
      <p:sp>
        <p:nvSpPr>
          <p:cNvPr id="614404" name="Rectangle 4"/>
          <p:cNvSpPr>
            <a:spLocks noGrp="1" noChangeArrowheads="1"/>
          </p:cNvSpPr>
          <p:nvPr>
            <p:ph type="ctrTitle"/>
          </p:nvPr>
        </p:nvSpPr>
        <p:spPr>
          <a:xfrm>
            <a:off x="3297248" y="2131219"/>
            <a:ext cx="5522911" cy="1196814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5400">
                <a:latin typeface="Helvetica 35 Thin" pitchFamily="34" charset="0"/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17918256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10"/>
          <p:cNvSpPr txBox="1">
            <a:spLocks/>
          </p:cNvSpPr>
          <p:nvPr userDrawn="1"/>
        </p:nvSpPr>
        <p:spPr>
          <a:xfrm>
            <a:off x="655638" y="4602163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5000"/>
              </a:lnSpc>
              <a:spcAft>
                <a:spcPts val="4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tion Partenaires DVI 2016 – matinale M2M - confidentiel – </a:t>
            </a:r>
            <a:r>
              <a:rPr lang="en-GB" sz="800" err="1">
                <a:solidFill>
                  <a:srgbClr val="FF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ptembre</a:t>
            </a:r>
            <a:r>
              <a:rPr lang="en-GB" sz="800">
                <a:solidFill>
                  <a:srgbClr val="FF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16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015200" y="302400"/>
            <a:ext cx="7049874" cy="737100"/>
          </a:xfrm>
        </p:spPr>
        <p:txBody>
          <a:bodyPr/>
          <a:lstStyle>
            <a:lvl1pPr algn="l">
              <a:defRPr/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3"/>
          </p:nvPr>
        </p:nvSpPr>
        <p:spPr>
          <a:xfrm>
            <a:off x="1037646" y="1329929"/>
            <a:ext cx="1440210" cy="279951"/>
          </a:xfrm>
        </p:spPr>
        <p:txBody>
          <a:bodyPr/>
          <a:lstStyle>
            <a:lvl1pPr marL="0" indent="0">
              <a:buNone/>
              <a:defRPr>
                <a:solidFill>
                  <a:srgbClr val="FF6600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4"/>
          </p:nvPr>
        </p:nvSpPr>
        <p:spPr>
          <a:xfrm>
            <a:off x="1037646" y="1652708"/>
            <a:ext cx="1440210" cy="279951"/>
          </a:xfrm>
        </p:spPr>
        <p:txBody>
          <a:bodyPr/>
          <a:lstStyle>
            <a:lvl1pPr marL="0" indent="0">
              <a:buNone/>
              <a:defRPr>
                <a:solidFill>
                  <a:srgbClr val="FF6600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8" name="Espace réservé du texte 4"/>
          <p:cNvSpPr>
            <a:spLocks noGrp="1"/>
          </p:cNvSpPr>
          <p:nvPr>
            <p:ph type="body" sz="quarter" idx="15"/>
          </p:nvPr>
        </p:nvSpPr>
        <p:spPr>
          <a:xfrm>
            <a:off x="1037646" y="1975488"/>
            <a:ext cx="1440210" cy="279951"/>
          </a:xfrm>
        </p:spPr>
        <p:txBody>
          <a:bodyPr/>
          <a:lstStyle>
            <a:lvl1pPr marL="0" indent="0">
              <a:buNone/>
              <a:defRPr>
                <a:solidFill>
                  <a:srgbClr val="FF6600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7"/>
          </p:nvPr>
        </p:nvSpPr>
        <p:spPr>
          <a:xfrm>
            <a:off x="1037646" y="2298268"/>
            <a:ext cx="1440210" cy="279951"/>
          </a:xfrm>
        </p:spPr>
        <p:txBody>
          <a:bodyPr/>
          <a:lstStyle>
            <a:lvl1pPr marL="0" indent="0">
              <a:buNone/>
              <a:defRPr>
                <a:solidFill>
                  <a:srgbClr val="FF6600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9"/>
          </p:nvPr>
        </p:nvSpPr>
        <p:spPr>
          <a:xfrm>
            <a:off x="1037646" y="2621048"/>
            <a:ext cx="1440210" cy="279951"/>
          </a:xfrm>
        </p:spPr>
        <p:txBody>
          <a:bodyPr/>
          <a:lstStyle>
            <a:lvl1pPr marL="0" indent="0">
              <a:buNone/>
              <a:defRPr>
                <a:solidFill>
                  <a:srgbClr val="FF6600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21"/>
          </p:nvPr>
        </p:nvSpPr>
        <p:spPr>
          <a:xfrm>
            <a:off x="1037646" y="2943827"/>
            <a:ext cx="1440210" cy="279951"/>
          </a:xfrm>
        </p:spPr>
        <p:txBody>
          <a:bodyPr/>
          <a:lstStyle>
            <a:lvl1pPr marL="0" indent="0">
              <a:buNone/>
              <a:defRPr>
                <a:solidFill>
                  <a:srgbClr val="FF6600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2" name="Espace réservé du texte 4"/>
          <p:cNvSpPr>
            <a:spLocks noGrp="1"/>
          </p:cNvSpPr>
          <p:nvPr>
            <p:ph type="body" sz="quarter" idx="23"/>
          </p:nvPr>
        </p:nvSpPr>
        <p:spPr>
          <a:xfrm>
            <a:off x="2598122" y="1329929"/>
            <a:ext cx="5500788" cy="279951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3" name="Espace réservé du texte 4"/>
          <p:cNvSpPr>
            <a:spLocks noGrp="1"/>
          </p:cNvSpPr>
          <p:nvPr>
            <p:ph type="body" sz="quarter" idx="24"/>
          </p:nvPr>
        </p:nvSpPr>
        <p:spPr>
          <a:xfrm>
            <a:off x="2598122" y="1652708"/>
            <a:ext cx="5500788" cy="279951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25"/>
          </p:nvPr>
        </p:nvSpPr>
        <p:spPr>
          <a:xfrm>
            <a:off x="2598122" y="2943827"/>
            <a:ext cx="5500788" cy="279951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5" name="Espace réservé du texte 4"/>
          <p:cNvSpPr>
            <a:spLocks noGrp="1"/>
          </p:cNvSpPr>
          <p:nvPr>
            <p:ph type="body" sz="quarter" idx="26"/>
          </p:nvPr>
        </p:nvSpPr>
        <p:spPr>
          <a:xfrm>
            <a:off x="2598122" y="2621048"/>
            <a:ext cx="5500788" cy="279951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6" name="Espace réservé du texte 4"/>
          <p:cNvSpPr>
            <a:spLocks noGrp="1"/>
          </p:cNvSpPr>
          <p:nvPr>
            <p:ph type="body" sz="quarter" idx="27"/>
          </p:nvPr>
        </p:nvSpPr>
        <p:spPr>
          <a:xfrm>
            <a:off x="2598122" y="2298268"/>
            <a:ext cx="5500788" cy="279951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7" name="Espace réservé du texte 4"/>
          <p:cNvSpPr>
            <a:spLocks noGrp="1"/>
          </p:cNvSpPr>
          <p:nvPr>
            <p:ph type="body" sz="quarter" idx="28"/>
          </p:nvPr>
        </p:nvSpPr>
        <p:spPr>
          <a:xfrm>
            <a:off x="2598122" y="1975488"/>
            <a:ext cx="5500788" cy="279951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8" name="Espace réservé du texte 4"/>
          <p:cNvSpPr>
            <a:spLocks noGrp="1"/>
          </p:cNvSpPr>
          <p:nvPr>
            <p:ph type="body" sz="quarter" idx="29"/>
          </p:nvPr>
        </p:nvSpPr>
        <p:spPr>
          <a:xfrm>
            <a:off x="1039128" y="3267676"/>
            <a:ext cx="1440210" cy="279951"/>
          </a:xfrm>
        </p:spPr>
        <p:txBody>
          <a:bodyPr/>
          <a:lstStyle>
            <a:lvl1pPr marL="0" indent="0">
              <a:buNone/>
              <a:defRPr>
                <a:solidFill>
                  <a:srgbClr val="FF6600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9" name="Espace réservé du texte 4"/>
          <p:cNvSpPr>
            <a:spLocks noGrp="1"/>
          </p:cNvSpPr>
          <p:nvPr>
            <p:ph type="body" sz="quarter" idx="30"/>
          </p:nvPr>
        </p:nvSpPr>
        <p:spPr>
          <a:xfrm>
            <a:off x="1039128" y="3590456"/>
            <a:ext cx="1440210" cy="279951"/>
          </a:xfrm>
        </p:spPr>
        <p:txBody>
          <a:bodyPr/>
          <a:lstStyle>
            <a:lvl1pPr marL="0" indent="0">
              <a:buNone/>
              <a:defRPr>
                <a:solidFill>
                  <a:srgbClr val="FF6600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0" name="Espace réservé du texte 4"/>
          <p:cNvSpPr>
            <a:spLocks noGrp="1"/>
          </p:cNvSpPr>
          <p:nvPr>
            <p:ph type="body" sz="quarter" idx="31"/>
          </p:nvPr>
        </p:nvSpPr>
        <p:spPr>
          <a:xfrm>
            <a:off x="1039128" y="3913235"/>
            <a:ext cx="1440210" cy="279951"/>
          </a:xfrm>
        </p:spPr>
        <p:txBody>
          <a:bodyPr/>
          <a:lstStyle>
            <a:lvl1pPr marL="0" indent="0">
              <a:buNone/>
              <a:defRPr>
                <a:solidFill>
                  <a:srgbClr val="FF6600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1" name="Espace réservé du texte 4"/>
          <p:cNvSpPr>
            <a:spLocks noGrp="1"/>
          </p:cNvSpPr>
          <p:nvPr>
            <p:ph type="body" sz="quarter" idx="32"/>
          </p:nvPr>
        </p:nvSpPr>
        <p:spPr>
          <a:xfrm>
            <a:off x="1039128" y="4236015"/>
            <a:ext cx="1440210" cy="279951"/>
          </a:xfrm>
        </p:spPr>
        <p:txBody>
          <a:bodyPr/>
          <a:lstStyle>
            <a:lvl1pPr marL="0" indent="0">
              <a:buNone/>
              <a:defRPr>
                <a:solidFill>
                  <a:srgbClr val="FF6600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2" name="Espace réservé du texte 4"/>
          <p:cNvSpPr>
            <a:spLocks noGrp="1"/>
          </p:cNvSpPr>
          <p:nvPr>
            <p:ph type="body" sz="quarter" idx="33"/>
          </p:nvPr>
        </p:nvSpPr>
        <p:spPr>
          <a:xfrm>
            <a:off x="2599604" y="4236015"/>
            <a:ext cx="5500788" cy="279951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3" name="Espace réservé du texte 4"/>
          <p:cNvSpPr>
            <a:spLocks noGrp="1"/>
          </p:cNvSpPr>
          <p:nvPr>
            <p:ph type="body" sz="quarter" idx="34"/>
          </p:nvPr>
        </p:nvSpPr>
        <p:spPr>
          <a:xfrm>
            <a:off x="2599604" y="3913235"/>
            <a:ext cx="5500788" cy="279951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4" name="Espace réservé du texte 4"/>
          <p:cNvSpPr>
            <a:spLocks noGrp="1"/>
          </p:cNvSpPr>
          <p:nvPr>
            <p:ph type="body" sz="quarter" idx="35"/>
          </p:nvPr>
        </p:nvSpPr>
        <p:spPr>
          <a:xfrm>
            <a:off x="2599604" y="3267676"/>
            <a:ext cx="5500788" cy="279951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5" name="Espace réservé du texte 4"/>
          <p:cNvSpPr>
            <a:spLocks noGrp="1"/>
          </p:cNvSpPr>
          <p:nvPr>
            <p:ph type="body" sz="quarter" idx="36"/>
          </p:nvPr>
        </p:nvSpPr>
        <p:spPr>
          <a:xfrm>
            <a:off x="2592861" y="3587943"/>
            <a:ext cx="5500788" cy="279951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63787952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683"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10"/>
          <p:cNvSpPr txBox="1">
            <a:spLocks/>
          </p:cNvSpPr>
          <p:nvPr/>
        </p:nvSpPr>
        <p:spPr>
          <a:xfrm>
            <a:off x="336550" y="4471988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ADB0E89-F442-4B25-8E3C-3197FB3330AA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7" name="Text Placeholder 10"/>
          <p:cNvSpPr txBox="1">
            <a:spLocks/>
          </p:cNvSpPr>
          <p:nvPr/>
        </p:nvSpPr>
        <p:spPr>
          <a:xfrm>
            <a:off x="655638" y="4467225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  <p:sp>
        <p:nvSpPr>
          <p:cNvPr id="8" name="Rectangle 7"/>
          <p:cNvSpPr/>
          <p:nvPr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2788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9" name="Group 5"/>
          <p:cNvGrpSpPr>
            <a:grpSpLocks/>
          </p:cNvGrpSpPr>
          <p:nvPr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10" name="Rectangle 8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5pPr>
              <a:lvl6pPr marL="18827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6pPr>
              <a:lvl7pPr marL="23399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7pPr>
              <a:lvl8pPr marL="27971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8pPr>
              <a:lvl9pPr marL="32543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US" altLang="en-US" sz="1800" dirty="0">
                <a:solidFill>
                  <a:srgbClr val="FF6600"/>
                </a:solidFill>
                <a:latin typeface="Helvetica 75 Bold" pitchFamily="34" charset="0"/>
                <a:cs typeface="Arial" charset="0"/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7 w 104"/>
                <a:gd name="T1" fmla="*/ 2147483647 h 122"/>
                <a:gd name="T2" fmla="*/ 2147483647 w 104"/>
                <a:gd name="T3" fmla="*/ 2147483647 h 122"/>
                <a:gd name="T4" fmla="*/ 2147483647 w 104"/>
                <a:gd name="T5" fmla="*/ 2147483647 h 122"/>
                <a:gd name="T6" fmla="*/ 2147483647 w 104"/>
                <a:gd name="T7" fmla="*/ 2147483647 h 122"/>
                <a:gd name="T8" fmla="*/ 2147483647 w 104"/>
                <a:gd name="T9" fmla="*/ 2147483647 h 122"/>
                <a:gd name="T10" fmla="*/ 2147483647 w 104"/>
                <a:gd name="T11" fmla="*/ 2147483647 h 122"/>
                <a:gd name="T12" fmla="*/ 2147483647 w 104"/>
                <a:gd name="T13" fmla="*/ 2147483647 h 122"/>
                <a:gd name="T14" fmla="*/ 0 w 104"/>
                <a:gd name="T15" fmla="*/ 2147483647 h 122"/>
                <a:gd name="T16" fmla="*/ 2147483647 w 104"/>
                <a:gd name="T17" fmla="*/ 2147483647 h 122"/>
                <a:gd name="T18" fmla="*/ 2147483647 w 104"/>
                <a:gd name="T19" fmla="*/ 2147483647 h 122"/>
                <a:gd name="T20" fmla="*/ 2147483647 w 104"/>
                <a:gd name="T21" fmla="*/ 2147483647 h 122"/>
                <a:gd name="T22" fmla="*/ 2147483647 w 104"/>
                <a:gd name="T23" fmla="*/ 2147483647 h 122"/>
                <a:gd name="T24" fmla="*/ 2147483647 w 104"/>
                <a:gd name="T25" fmla="*/ 2147483647 h 122"/>
                <a:gd name="T26" fmla="*/ 2147483647 w 104"/>
                <a:gd name="T27" fmla="*/ 0 h 122"/>
                <a:gd name="T28" fmla="*/ 2147483647 w 104"/>
                <a:gd name="T29" fmla="*/ 2147483647 h 122"/>
                <a:gd name="T30" fmla="*/ 2147483647 w 104"/>
                <a:gd name="T31" fmla="*/ 2147483647 h 122"/>
                <a:gd name="T32" fmla="*/ 2147483647 w 104"/>
                <a:gd name="T33" fmla="*/ 2147483647 h 122"/>
                <a:gd name="T34" fmla="*/ 2147483647 w 104"/>
                <a:gd name="T35" fmla="*/ 2147483647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7 h 120"/>
                <a:gd name="T2" fmla="*/ 2147483647 w 105"/>
                <a:gd name="T3" fmla="*/ 2147483647 h 120"/>
                <a:gd name="T4" fmla="*/ 2147483647 w 105"/>
                <a:gd name="T5" fmla="*/ 2147483647 h 120"/>
                <a:gd name="T6" fmla="*/ 2147483647 w 105"/>
                <a:gd name="T7" fmla="*/ 0 h 120"/>
                <a:gd name="T8" fmla="*/ 2147483647 w 105"/>
                <a:gd name="T9" fmla="*/ 2147483647 h 120"/>
                <a:gd name="T10" fmla="*/ 2147483647 w 105"/>
                <a:gd name="T11" fmla="*/ 2147483647 h 120"/>
                <a:gd name="T12" fmla="*/ 2147483647 w 105"/>
                <a:gd name="T13" fmla="*/ 2147483647 h 120"/>
                <a:gd name="T14" fmla="*/ 2147483647 w 105"/>
                <a:gd name="T15" fmla="*/ 2147483647 h 120"/>
                <a:gd name="T16" fmla="*/ 2147483647 w 105"/>
                <a:gd name="T17" fmla="*/ 2147483647 h 120"/>
                <a:gd name="T18" fmla="*/ 2147483647 w 105"/>
                <a:gd name="T19" fmla="*/ 2147483647 h 120"/>
                <a:gd name="T20" fmla="*/ 2147483647 w 105"/>
                <a:gd name="T21" fmla="*/ 2147483647 h 120"/>
                <a:gd name="T22" fmla="*/ 0 w 105"/>
                <a:gd name="T23" fmla="*/ 2147483647 h 120"/>
                <a:gd name="T24" fmla="*/ 0 w 105"/>
                <a:gd name="T25" fmla="*/ 2147483647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7 w 109"/>
                <a:gd name="T1" fmla="*/ 2147483647 h 122"/>
                <a:gd name="T2" fmla="*/ 2147483647 w 109"/>
                <a:gd name="T3" fmla="*/ 2147483647 h 122"/>
                <a:gd name="T4" fmla="*/ 2147483647 w 109"/>
                <a:gd name="T5" fmla="*/ 2147483647 h 122"/>
                <a:gd name="T6" fmla="*/ 2147483647 w 109"/>
                <a:gd name="T7" fmla="*/ 2147483647 h 122"/>
                <a:gd name="T8" fmla="*/ 2147483647 w 109"/>
                <a:gd name="T9" fmla="*/ 2147483647 h 122"/>
                <a:gd name="T10" fmla="*/ 0 w 109"/>
                <a:gd name="T11" fmla="*/ 2147483647 h 122"/>
                <a:gd name="T12" fmla="*/ 2147483647 w 109"/>
                <a:gd name="T13" fmla="*/ 0 h 122"/>
                <a:gd name="T14" fmla="*/ 2147483647 w 109"/>
                <a:gd name="T15" fmla="*/ 2147483647 h 122"/>
                <a:gd name="T16" fmla="*/ 2147483647 w 109"/>
                <a:gd name="T17" fmla="*/ 2147483647 h 122"/>
                <a:gd name="T18" fmla="*/ 2147483647 w 109"/>
                <a:gd name="T19" fmla="*/ 2147483647 h 122"/>
                <a:gd name="T20" fmla="*/ 2147483647 w 109"/>
                <a:gd name="T21" fmla="*/ 2147483647 h 122"/>
                <a:gd name="T22" fmla="*/ 2147483647 w 109"/>
                <a:gd name="T23" fmla="*/ 2147483647 h 122"/>
                <a:gd name="T24" fmla="*/ 2147483647 w 109"/>
                <a:gd name="T25" fmla="*/ 2147483647 h 122"/>
                <a:gd name="T26" fmla="*/ 2147483647 w 109"/>
                <a:gd name="T27" fmla="*/ 2147483647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7 w 116"/>
                <a:gd name="T1" fmla="*/ 2147483647 h 124"/>
                <a:gd name="T2" fmla="*/ 2147483647 w 116"/>
                <a:gd name="T3" fmla="*/ 2147483647 h 124"/>
                <a:gd name="T4" fmla="*/ 2147483647 w 116"/>
                <a:gd name="T5" fmla="*/ 2147483647 h 124"/>
                <a:gd name="T6" fmla="*/ 2147483647 w 116"/>
                <a:gd name="T7" fmla="*/ 2147483647 h 124"/>
                <a:gd name="T8" fmla="*/ 2147483647 w 116"/>
                <a:gd name="T9" fmla="*/ 2147483647 h 124"/>
                <a:gd name="T10" fmla="*/ 2147483647 w 116"/>
                <a:gd name="T11" fmla="*/ 2147483647 h 124"/>
                <a:gd name="T12" fmla="*/ 0 w 116"/>
                <a:gd name="T13" fmla="*/ 2147483647 h 124"/>
                <a:gd name="T14" fmla="*/ 2147483647 w 116"/>
                <a:gd name="T15" fmla="*/ 0 h 124"/>
                <a:gd name="T16" fmla="*/ 2147483647 w 116"/>
                <a:gd name="T17" fmla="*/ 2147483647 h 124"/>
                <a:gd name="T18" fmla="*/ 2147483647 w 116"/>
                <a:gd name="T19" fmla="*/ 2147483647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7 h 120"/>
                <a:gd name="T2" fmla="*/ 2147483647 w 66"/>
                <a:gd name="T3" fmla="*/ 2147483647 h 120"/>
                <a:gd name="T4" fmla="*/ 2147483647 w 66"/>
                <a:gd name="T5" fmla="*/ 2147483647 h 120"/>
                <a:gd name="T6" fmla="*/ 2147483647 w 66"/>
                <a:gd name="T7" fmla="*/ 0 h 120"/>
                <a:gd name="T8" fmla="*/ 2147483647 w 66"/>
                <a:gd name="T9" fmla="*/ 2147483647 h 120"/>
                <a:gd name="T10" fmla="*/ 2147483647 w 66"/>
                <a:gd name="T11" fmla="*/ 2147483647 h 120"/>
                <a:gd name="T12" fmla="*/ 2147483647 w 66"/>
                <a:gd name="T13" fmla="*/ 2147483647 h 120"/>
                <a:gd name="T14" fmla="*/ 2147483647 w 66"/>
                <a:gd name="T15" fmla="*/ 2147483647 h 120"/>
                <a:gd name="T16" fmla="*/ 2147483647 w 66"/>
                <a:gd name="T17" fmla="*/ 2147483647 h 120"/>
                <a:gd name="T18" fmla="*/ 0 w 66"/>
                <a:gd name="T19" fmla="*/ 2147483647 h 120"/>
                <a:gd name="T20" fmla="*/ 0 w 66"/>
                <a:gd name="T21" fmla="*/ 2147483647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7 w 110"/>
                <a:gd name="T1" fmla="*/ 2147483647 h 166"/>
                <a:gd name="T2" fmla="*/ 2147483647 w 110"/>
                <a:gd name="T3" fmla="*/ 2147483647 h 166"/>
                <a:gd name="T4" fmla="*/ 2147483647 w 110"/>
                <a:gd name="T5" fmla="*/ 2147483647 h 166"/>
                <a:gd name="T6" fmla="*/ 2147483647 w 110"/>
                <a:gd name="T7" fmla="*/ 2147483647 h 166"/>
                <a:gd name="T8" fmla="*/ 2147483647 w 110"/>
                <a:gd name="T9" fmla="*/ 2147483647 h 166"/>
                <a:gd name="T10" fmla="*/ 2147483647 w 110"/>
                <a:gd name="T11" fmla="*/ 2147483647 h 166"/>
                <a:gd name="T12" fmla="*/ 2147483647 w 110"/>
                <a:gd name="T13" fmla="*/ 2147483647 h 166"/>
                <a:gd name="T14" fmla="*/ 2147483647 w 110"/>
                <a:gd name="T15" fmla="*/ 2147483647 h 166"/>
                <a:gd name="T16" fmla="*/ 2147483647 w 110"/>
                <a:gd name="T17" fmla="*/ 2147483647 h 166"/>
                <a:gd name="T18" fmla="*/ 2147483647 w 110"/>
                <a:gd name="T19" fmla="*/ 2147483647 h 166"/>
                <a:gd name="T20" fmla="*/ 0 w 110"/>
                <a:gd name="T21" fmla="*/ 2147483647 h 166"/>
                <a:gd name="T22" fmla="*/ 2147483647 w 110"/>
                <a:gd name="T23" fmla="*/ 0 h 166"/>
                <a:gd name="T24" fmla="*/ 2147483647 w 110"/>
                <a:gd name="T25" fmla="*/ 2147483647 h 166"/>
                <a:gd name="T26" fmla="*/ 2147483647 w 110"/>
                <a:gd name="T27" fmla="*/ 2147483647 h 166"/>
                <a:gd name="T28" fmla="*/ 2147483647 w 110"/>
                <a:gd name="T29" fmla="*/ 2147483647 h 166"/>
                <a:gd name="T30" fmla="*/ 2147483647 w 110"/>
                <a:gd name="T31" fmla="*/ 2147483647 h 166"/>
                <a:gd name="T32" fmla="*/ 2147483647 w 110"/>
                <a:gd name="T33" fmla="*/ 2147483647 h 166"/>
                <a:gd name="T34" fmla="*/ 2147483647 w 110"/>
                <a:gd name="T35" fmla="*/ 2147483647 h 166"/>
                <a:gd name="T36" fmla="*/ 2147483647 w 110"/>
                <a:gd name="T37" fmla="*/ 2147483647 h 166"/>
                <a:gd name="T38" fmla="*/ 2147483647 w 110"/>
                <a:gd name="T39" fmla="*/ 2147483647 h 166"/>
                <a:gd name="T40" fmla="*/ 2147483647 w 110"/>
                <a:gd name="T41" fmla="*/ 2147483647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7 w 195"/>
                <a:gd name="T1" fmla="*/ 2147483647 h 92"/>
                <a:gd name="T2" fmla="*/ 2147483647 w 195"/>
                <a:gd name="T3" fmla="*/ 2147483647 h 92"/>
                <a:gd name="T4" fmla="*/ 2147483647 w 195"/>
                <a:gd name="T5" fmla="*/ 2147483647 h 92"/>
                <a:gd name="T6" fmla="*/ 2147483647 w 195"/>
                <a:gd name="T7" fmla="*/ 2147483647 h 92"/>
                <a:gd name="T8" fmla="*/ 2147483647 w 195"/>
                <a:gd name="T9" fmla="*/ 2147483647 h 92"/>
                <a:gd name="T10" fmla="*/ 2147483647 w 195"/>
                <a:gd name="T11" fmla="*/ 2147483647 h 92"/>
                <a:gd name="T12" fmla="*/ 2147483647 w 195"/>
                <a:gd name="T13" fmla="*/ 2147483647 h 92"/>
                <a:gd name="T14" fmla="*/ 2147483647 w 195"/>
                <a:gd name="T15" fmla="*/ 2147483647 h 92"/>
                <a:gd name="T16" fmla="*/ 2147483647 w 195"/>
                <a:gd name="T17" fmla="*/ 2147483647 h 92"/>
                <a:gd name="T18" fmla="*/ 2147483647 w 195"/>
                <a:gd name="T19" fmla="*/ 2147483647 h 92"/>
                <a:gd name="T20" fmla="*/ 2147483647 w 195"/>
                <a:gd name="T21" fmla="*/ 0 h 92"/>
                <a:gd name="T22" fmla="*/ 2147483647 w 195"/>
                <a:gd name="T23" fmla="*/ 0 h 92"/>
                <a:gd name="T24" fmla="*/ 2147483647 w 195"/>
                <a:gd name="T25" fmla="*/ 2147483647 h 92"/>
                <a:gd name="T26" fmla="*/ 2147483647 w 195"/>
                <a:gd name="T27" fmla="*/ 0 h 92"/>
                <a:gd name="T28" fmla="*/ 2147483647 w 195"/>
                <a:gd name="T29" fmla="*/ 0 h 92"/>
                <a:gd name="T30" fmla="*/ 2147483647 w 195"/>
                <a:gd name="T31" fmla="*/ 2147483647 h 92"/>
                <a:gd name="T32" fmla="*/ 2147483647 w 195"/>
                <a:gd name="T33" fmla="*/ 2147483647 h 92"/>
                <a:gd name="T34" fmla="*/ 2147483647 w 195"/>
                <a:gd name="T35" fmla="*/ 2147483647 h 92"/>
                <a:gd name="T36" fmla="*/ 2147483647 w 195"/>
                <a:gd name="T37" fmla="*/ 2147483647 h 92"/>
                <a:gd name="T38" fmla="*/ 2147483647 w 195"/>
                <a:gd name="T39" fmla="*/ 2147483647 h 92"/>
                <a:gd name="T40" fmla="*/ 2147483647 w 195"/>
                <a:gd name="T41" fmla="*/ 2147483647 h 92"/>
                <a:gd name="T42" fmla="*/ 0 w 195"/>
                <a:gd name="T43" fmla="*/ 2147483647 h 92"/>
                <a:gd name="T44" fmla="*/ 0 w 195"/>
                <a:gd name="T45" fmla="*/ 0 h 92"/>
                <a:gd name="T46" fmla="*/ 2147483647 w 195"/>
                <a:gd name="T47" fmla="*/ 0 h 92"/>
                <a:gd name="T48" fmla="*/ 2147483647 w 195"/>
                <a:gd name="T49" fmla="*/ 2147483647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7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1" y="339725"/>
            <a:ext cx="2301876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504119"/>
      </p:ext>
    </p:extLst>
  </p:cSld>
  <p:clrMapOvr>
    <a:masterClrMapping/>
  </p:clrMapOvr>
  <p:transition spd="med">
    <p:fade/>
  </p:transition>
  <p:hf sldNum="0" hdr="0" ftr="0"/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7" y="339726"/>
            <a:ext cx="8470900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95568689"/>
      </p:ext>
    </p:extLst>
  </p:cSld>
  <p:clrMapOvr>
    <a:masterClrMapping/>
  </p:clrMapOvr>
  <p:transition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EMTA8361\Documents\Divers\Logos\O BS logo bottom right_RGB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6338" y="4300538"/>
            <a:ext cx="1319212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63558" y="1597821"/>
            <a:ext cx="8474400" cy="1679178"/>
          </a:xfrm>
        </p:spPr>
        <p:txBody>
          <a:bodyPr>
            <a:spAutoFit/>
          </a:bodyPr>
          <a:lstStyle>
            <a:lvl1pPr>
              <a:defRPr sz="4400" b="0"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363557" y="2400302"/>
            <a:ext cx="8474400" cy="947952"/>
          </a:xfrm>
        </p:spPr>
        <p:txBody>
          <a:bodyPr>
            <a:spAutoFit/>
          </a:bodyPr>
          <a:lstStyle>
            <a:lvl1pPr marL="344433" indent="-344433">
              <a:buClr>
                <a:schemeClr val="bg1">
                  <a:lumMod val="50000"/>
                  <a:lumOff val="50000"/>
                </a:schemeClr>
              </a:buClr>
              <a:buSzPct val="100000"/>
              <a:buFont typeface="Helvetica 35 Thin" pitchFamily="34" charset="0"/>
              <a:buChar char="&gt;"/>
              <a:defRPr sz="2800">
                <a:solidFill>
                  <a:schemeClr val="bg1">
                    <a:lumMod val="50000"/>
                    <a:lumOff val="50000"/>
                  </a:schemeClr>
                </a:solidFill>
                <a:latin typeface="Helvetica 75 Bold" panose="020B0804020202020204" pitchFamily="34" charset="0"/>
              </a:defRPr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1"/>
          </p:nvPr>
        </p:nvSpPr>
        <p:spPr>
          <a:xfrm>
            <a:off x="363556" y="3314703"/>
            <a:ext cx="8474400" cy="236988"/>
          </a:xfrm>
        </p:spPr>
        <p:txBody>
          <a:bodyPr>
            <a:spAutoFit/>
          </a:bodyPr>
          <a:lstStyle>
            <a:lvl1pPr marL="0" indent="0">
              <a:buNone/>
              <a:defRPr sz="1400"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620083038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7" y="339726"/>
            <a:ext cx="8470900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764354209"/>
      </p:ext>
    </p:extLst>
  </p:cSld>
  <p:clrMapOvr>
    <a:masterClrMapping/>
  </p:clrMapOvr>
  <p:transition spd="med"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7" y="1304925"/>
            <a:ext cx="8470900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1865765"/>
      </p:ext>
    </p:extLst>
  </p:cSld>
  <p:clrMapOvr>
    <a:masterClrMapping/>
  </p:clrMapOvr>
  <p:transition spd="med"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5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5656528"/>
      </p:ext>
    </p:extLst>
  </p:cSld>
  <p:clrMapOvr>
    <a:masterClrMapping/>
  </p:clrMapOvr>
  <p:transition spd="med">
    <p:fad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7" y="1304926"/>
            <a:ext cx="8470900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6540541"/>
      </p:ext>
    </p:extLst>
  </p:cSld>
  <p:clrMapOvr>
    <a:masterClrMapping/>
  </p:clrMapOvr>
  <p:transition spd="med"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7" y="339726"/>
            <a:ext cx="8470900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7675864"/>
      </p:ext>
    </p:extLst>
  </p:cSld>
  <p:clrMapOvr>
    <a:masterClrMapping/>
  </p:clrMapOvr>
  <p:transition spd="med">
    <p:fad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7868258"/>
      </p:ext>
    </p:extLst>
  </p:cSld>
  <p:clrMapOvr>
    <a:masterClrMapping/>
  </p:clrMapOvr>
  <p:transition spd="med">
    <p:fade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9795083"/>
      </p:ext>
    </p:extLst>
  </p:cSld>
  <p:clrMapOvr>
    <a:masterClrMapping/>
  </p:clrMapOvr>
  <p:transition spd="med">
    <p:fad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logo_rgb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0988" y="4408488"/>
            <a:ext cx="576262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20"/>
          <p:cNvSpPr txBox="1">
            <a:spLocks noChangeArrowheads="1"/>
          </p:cNvSpPr>
          <p:nvPr userDrawn="1"/>
        </p:nvSpPr>
        <p:spPr bwMode="auto">
          <a:xfrm>
            <a:off x="3867150" y="4894263"/>
            <a:ext cx="1250950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185" tIns="38092" rIns="76185" bIns="38092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712788" eaLnBrk="1" hangingPunct="1">
              <a:spcBef>
                <a:spcPct val="50000"/>
              </a:spcBef>
              <a:defRPr/>
            </a:pPr>
            <a:r>
              <a:rPr lang="fr-FR" sz="800" dirty="0" smtClean="0">
                <a:solidFill>
                  <a:srgbClr val="FF6600"/>
                </a:solidFill>
                <a:latin typeface="Helvetica 65 Medium" pitchFamily="34" charset="0"/>
                <a:ea typeface="ＭＳ Ｐゴシック" pitchFamily="34" charset="-128"/>
              </a:rPr>
              <a:t>confidentiel Orange</a:t>
            </a:r>
          </a:p>
        </p:txBody>
      </p:sp>
      <p:sp>
        <p:nvSpPr>
          <p:cNvPr id="209203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4390" y="2139554"/>
            <a:ext cx="7883877" cy="485775"/>
          </a:xfrm>
        </p:spPr>
        <p:txBody>
          <a:bodyPr lIns="29994" tIns="29994" anchor="b"/>
          <a:lstStyle>
            <a:lvl1pPr rtl="1">
              <a:defRPr>
                <a:solidFill>
                  <a:schemeClr val="bg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209203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4390" y="2652717"/>
            <a:ext cx="7883877" cy="351235"/>
          </a:xfrm>
        </p:spPr>
        <p:txBody>
          <a:bodyPr lIns="29994" tIns="29994"/>
          <a:lstStyle>
            <a:lvl1pPr marL="0" indent="0">
              <a:defRPr sz="2100">
                <a:solidFill>
                  <a:schemeClr val="tx1"/>
                </a:solidFill>
              </a:defRPr>
            </a:lvl1pPr>
          </a:lstStyle>
          <a:p>
            <a:r>
              <a:rPr lang="fr-FR"/>
              <a:t>prénom nom service</a:t>
            </a:r>
          </a:p>
        </p:txBody>
      </p:sp>
    </p:spTree>
    <p:extLst>
      <p:ext uri="{BB962C8B-B14F-4D97-AF65-F5344CB8AC3E}">
        <p14:creationId xmlns:p14="http://schemas.microsoft.com/office/powerpoint/2010/main" val="3278416511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2788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6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5pPr>
              <a:lvl6pPr marL="18811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6pPr>
              <a:lvl7pPr marL="23383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7pPr>
              <a:lvl8pPr marL="27955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8pPr>
              <a:lvl9pPr marL="32527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smtClean="0">
                <a:solidFill>
                  <a:srgbClr val="FF6600"/>
                </a:solidFill>
                <a:latin typeface="Helvetica 75 Bold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7 w 104"/>
                <a:gd name="T1" fmla="*/ 2147483647 h 122"/>
                <a:gd name="T2" fmla="*/ 2147483647 w 104"/>
                <a:gd name="T3" fmla="*/ 2147483647 h 122"/>
                <a:gd name="T4" fmla="*/ 2147483647 w 104"/>
                <a:gd name="T5" fmla="*/ 2147483647 h 122"/>
                <a:gd name="T6" fmla="*/ 2147483647 w 104"/>
                <a:gd name="T7" fmla="*/ 2147483647 h 122"/>
                <a:gd name="T8" fmla="*/ 2147483647 w 104"/>
                <a:gd name="T9" fmla="*/ 2147483647 h 122"/>
                <a:gd name="T10" fmla="*/ 2147483647 w 104"/>
                <a:gd name="T11" fmla="*/ 2147483647 h 122"/>
                <a:gd name="T12" fmla="*/ 2147483647 w 104"/>
                <a:gd name="T13" fmla="*/ 2147483647 h 122"/>
                <a:gd name="T14" fmla="*/ 0 w 104"/>
                <a:gd name="T15" fmla="*/ 2147483647 h 122"/>
                <a:gd name="T16" fmla="*/ 2147483647 w 104"/>
                <a:gd name="T17" fmla="*/ 2147483647 h 122"/>
                <a:gd name="T18" fmla="*/ 2147483647 w 104"/>
                <a:gd name="T19" fmla="*/ 2147483647 h 122"/>
                <a:gd name="T20" fmla="*/ 2147483647 w 104"/>
                <a:gd name="T21" fmla="*/ 2147483647 h 122"/>
                <a:gd name="T22" fmla="*/ 2147483647 w 104"/>
                <a:gd name="T23" fmla="*/ 2147483647 h 122"/>
                <a:gd name="T24" fmla="*/ 2147483647 w 104"/>
                <a:gd name="T25" fmla="*/ 2147483647 h 122"/>
                <a:gd name="T26" fmla="*/ 2147483647 w 104"/>
                <a:gd name="T27" fmla="*/ 0 h 122"/>
                <a:gd name="T28" fmla="*/ 2147483647 w 104"/>
                <a:gd name="T29" fmla="*/ 2147483647 h 122"/>
                <a:gd name="T30" fmla="*/ 2147483647 w 104"/>
                <a:gd name="T31" fmla="*/ 2147483647 h 122"/>
                <a:gd name="T32" fmla="*/ 2147483647 w 104"/>
                <a:gd name="T33" fmla="*/ 2147483647 h 122"/>
                <a:gd name="T34" fmla="*/ 2147483647 w 104"/>
                <a:gd name="T35" fmla="*/ 2147483647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7 h 120"/>
                <a:gd name="T2" fmla="*/ 2147483647 w 105"/>
                <a:gd name="T3" fmla="*/ 2147483647 h 120"/>
                <a:gd name="T4" fmla="*/ 2147483647 w 105"/>
                <a:gd name="T5" fmla="*/ 2147483647 h 120"/>
                <a:gd name="T6" fmla="*/ 2147483647 w 105"/>
                <a:gd name="T7" fmla="*/ 0 h 120"/>
                <a:gd name="T8" fmla="*/ 2147483647 w 105"/>
                <a:gd name="T9" fmla="*/ 2147483647 h 120"/>
                <a:gd name="T10" fmla="*/ 2147483647 w 105"/>
                <a:gd name="T11" fmla="*/ 2147483647 h 120"/>
                <a:gd name="T12" fmla="*/ 2147483647 w 105"/>
                <a:gd name="T13" fmla="*/ 2147483647 h 120"/>
                <a:gd name="T14" fmla="*/ 2147483647 w 105"/>
                <a:gd name="T15" fmla="*/ 2147483647 h 120"/>
                <a:gd name="T16" fmla="*/ 2147483647 w 105"/>
                <a:gd name="T17" fmla="*/ 2147483647 h 120"/>
                <a:gd name="T18" fmla="*/ 2147483647 w 105"/>
                <a:gd name="T19" fmla="*/ 2147483647 h 120"/>
                <a:gd name="T20" fmla="*/ 2147483647 w 105"/>
                <a:gd name="T21" fmla="*/ 2147483647 h 120"/>
                <a:gd name="T22" fmla="*/ 0 w 105"/>
                <a:gd name="T23" fmla="*/ 2147483647 h 120"/>
                <a:gd name="T24" fmla="*/ 0 w 105"/>
                <a:gd name="T25" fmla="*/ 2147483647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7 w 109"/>
                <a:gd name="T1" fmla="*/ 2147483647 h 122"/>
                <a:gd name="T2" fmla="*/ 2147483647 w 109"/>
                <a:gd name="T3" fmla="*/ 2147483647 h 122"/>
                <a:gd name="T4" fmla="*/ 2147483647 w 109"/>
                <a:gd name="T5" fmla="*/ 2147483647 h 122"/>
                <a:gd name="T6" fmla="*/ 2147483647 w 109"/>
                <a:gd name="T7" fmla="*/ 2147483647 h 122"/>
                <a:gd name="T8" fmla="*/ 2147483647 w 109"/>
                <a:gd name="T9" fmla="*/ 2147483647 h 122"/>
                <a:gd name="T10" fmla="*/ 0 w 109"/>
                <a:gd name="T11" fmla="*/ 2147483647 h 122"/>
                <a:gd name="T12" fmla="*/ 2147483647 w 109"/>
                <a:gd name="T13" fmla="*/ 0 h 122"/>
                <a:gd name="T14" fmla="*/ 2147483647 w 109"/>
                <a:gd name="T15" fmla="*/ 2147483647 h 122"/>
                <a:gd name="T16" fmla="*/ 2147483647 w 109"/>
                <a:gd name="T17" fmla="*/ 2147483647 h 122"/>
                <a:gd name="T18" fmla="*/ 2147483647 w 109"/>
                <a:gd name="T19" fmla="*/ 2147483647 h 122"/>
                <a:gd name="T20" fmla="*/ 2147483647 w 109"/>
                <a:gd name="T21" fmla="*/ 2147483647 h 122"/>
                <a:gd name="T22" fmla="*/ 2147483647 w 109"/>
                <a:gd name="T23" fmla="*/ 2147483647 h 122"/>
                <a:gd name="T24" fmla="*/ 2147483647 w 109"/>
                <a:gd name="T25" fmla="*/ 2147483647 h 122"/>
                <a:gd name="T26" fmla="*/ 2147483647 w 109"/>
                <a:gd name="T27" fmla="*/ 2147483647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7 w 116"/>
                <a:gd name="T1" fmla="*/ 2147483647 h 124"/>
                <a:gd name="T2" fmla="*/ 2147483647 w 116"/>
                <a:gd name="T3" fmla="*/ 2147483647 h 124"/>
                <a:gd name="T4" fmla="*/ 2147483647 w 116"/>
                <a:gd name="T5" fmla="*/ 2147483647 h 124"/>
                <a:gd name="T6" fmla="*/ 2147483647 w 116"/>
                <a:gd name="T7" fmla="*/ 2147483647 h 124"/>
                <a:gd name="T8" fmla="*/ 2147483647 w 116"/>
                <a:gd name="T9" fmla="*/ 2147483647 h 124"/>
                <a:gd name="T10" fmla="*/ 2147483647 w 116"/>
                <a:gd name="T11" fmla="*/ 2147483647 h 124"/>
                <a:gd name="T12" fmla="*/ 0 w 116"/>
                <a:gd name="T13" fmla="*/ 2147483647 h 124"/>
                <a:gd name="T14" fmla="*/ 2147483647 w 116"/>
                <a:gd name="T15" fmla="*/ 0 h 124"/>
                <a:gd name="T16" fmla="*/ 2147483647 w 116"/>
                <a:gd name="T17" fmla="*/ 2147483647 h 124"/>
                <a:gd name="T18" fmla="*/ 2147483647 w 116"/>
                <a:gd name="T19" fmla="*/ 2147483647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7 h 120"/>
                <a:gd name="T2" fmla="*/ 2147483647 w 66"/>
                <a:gd name="T3" fmla="*/ 2147483647 h 120"/>
                <a:gd name="T4" fmla="*/ 2147483647 w 66"/>
                <a:gd name="T5" fmla="*/ 2147483647 h 120"/>
                <a:gd name="T6" fmla="*/ 2147483647 w 66"/>
                <a:gd name="T7" fmla="*/ 0 h 120"/>
                <a:gd name="T8" fmla="*/ 2147483647 w 66"/>
                <a:gd name="T9" fmla="*/ 2147483647 h 120"/>
                <a:gd name="T10" fmla="*/ 2147483647 w 66"/>
                <a:gd name="T11" fmla="*/ 2147483647 h 120"/>
                <a:gd name="T12" fmla="*/ 2147483647 w 66"/>
                <a:gd name="T13" fmla="*/ 2147483647 h 120"/>
                <a:gd name="T14" fmla="*/ 2147483647 w 66"/>
                <a:gd name="T15" fmla="*/ 2147483647 h 120"/>
                <a:gd name="T16" fmla="*/ 2147483647 w 66"/>
                <a:gd name="T17" fmla="*/ 2147483647 h 120"/>
                <a:gd name="T18" fmla="*/ 0 w 66"/>
                <a:gd name="T19" fmla="*/ 2147483647 h 120"/>
                <a:gd name="T20" fmla="*/ 0 w 66"/>
                <a:gd name="T21" fmla="*/ 2147483647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7 w 110"/>
                <a:gd name="T1" fmla="*/ 2147483647 h 166"/>
                <a:gd name="T2" fmla="*/ 2147483647 w 110"/>
                <a:gd name="T3" fmla="*/ 2147483647 h 166"/>
                <a:gd name="T4" fmla="*/ 2147483647 w 110"/>
                <a:gd name="T5" fmla="*/ 2147483647 h 166"/>
                <a:gd name="T6" fmla="*/ 2147483647 w 110"/>
                <a:gd name="T7" fmla="*/ 2147483647 h 166"/>
                <a:gd name="T8" fmla="*/ 2147483647 w 110"/>
                <a:gd name="T9" fmla="*/ 2147483647 h 166"/>
                <a:gd name="T10" fmla="*/ 2147483647 w 110"/>
                <a:gd name="T11" fmla="*/ 2147483647 h 166"/>
                <a:gd name="T12" fmla="*/ 2147483647 w 110"/>
                <a:gd name="T13" fmla="*/ 2147483647 h 166"/>
                <a:gd name="T14" fmla="*/ 2147483647 w 110"/>
                <a:gd name="T15" fmla="*/ 2147483647 h 166"/>
                <a:gd name="T16" fmla="*/ 2147483647 w 110"/>
                <a:gd name="T17" fmla="*/ 2147483647 h 166"/>
                <a:gd name="T18" fmla="*/ 2147483647 w 110"/>
                <a:gd name="T19" fmla="*/ 2147483647 h 166"/>
                <a:gd name="T20" fmla="*/ 0 w 110"/>
                <a:gd name="T21" fmla="*/ 2147483647 h 166"/>
                <a:gd name="T22" fmla="*/ 2147483647 w 110"/>
                <a:gd name="T23" fmla="*/ 0 h 166"/>
                <a:gd name="T24" fmla="*/ 2147483647 w 110"/>
                <a:gd name="T25" fmla="*/ 2147483647 h 166"/>
                <a:gd name="T26" fmla="*/ 2147483647 w 110"/>
                <a:gd name="T27" fmla="*/ 2147483647 h 166"/>
                <a:gd name="T28" fmla="*/ 2147483647 w 110"/>
                <a:gd name="T29" fmla="*/ 2147483647 h 166"/>
                <a:gd name="T30" fmla="*/ 2147483647 w 110"/>
                <a:gd name="T31" fmla="*/ 2147483647 h 166"/>
                <a:gd name="T32" fmla="*/ 2147483647 w 110"/>
                <a:gd name="T33" fmla="*/ 2147483647 h 166"/>
                <a:gd name="T34" fmla="*/ 2147483647 w 110"/>
                <a:gd name="T35" fmla="*/ 2147483647 h 166"/>
                <a:gd name="T36" fmla="*/ 2147483647 w 110"/>
                <a:gd name="T37" fmla="*/ 2147483647 h 166"/>
                <a:gd name="T38" fmla="*/ 2147483647 w 110"/>
                <a:gd name="T39" fmla="*/ 2147483647 h 166"/>
                <a:gd name="T40" fmla="*/ 2147483647 w 110"/>
                <a:gd name="T41" fmla="*/ 2147483647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7 w 195"/>
                <a:gd name="T1" fmla="*/ 2147483647 h 92"/>
                <a:gd name="T2" fmla="*/ 2147483647 w 195"/>
                <a:gd name="T3" fmla="*/ 2147483647 h 92"/>
                <a:gd name="T4" fmla="*/ 2147483647 w 195"/>
                <a:gd name="T5" fmla="*/ 2147483647 h 92"/>
                <a:gd name="T6" fmla="*/ 2147483647 w 195"/>
                <a:gd name="T7" fmla="*/ 2147483647 h 92"/>
                <a:gd name="T8" fmla="*/ 2147483647 w 195"/>
                <a:gd name="T9" fmla="*/ 2147483647 h 92"/>
                <a:gd name="T10" fmla="*/ 2147483647 w 195"/>
                <a:gd name="T11" fmla="*/ 2147483647 h 92"/>
                <a:gd name="T12" fmla="*/ 2147483647 w 195"/>
                <a:gd name="T13" fmla="*/ 2147483647 h 92"/>
                <a:gd name="T14" fmla="*/ 2147483647 w 195"/>
                <a:gd name="T15" fmla="*/ 2147483647 h 92"/>
                <a:gd name="T16" fmla="*/ 2147483647 w 195"/>
                <a:gd name="T17" fmla="*/ 2147483647 h 92"/>
                <a:gd name="T18" fmla="*/ 2147483647 w 195"/>
                <a:gd name="T19" fmla="*/ 2147483647 h 92"/>
                <a:gd name="T20" fmla="*/ 2147483647 w 195"/>
                <a:gd name="T21" fmla="*/ 0 h 92"/>
                <a:gd name="T22" fmla="*/ 2147483647 w 195"/>
                <a:gd name="T23" fmla="*/ 0 h 92"/>
                <a:gd name="T24" fmla="*/ 2147483647 w 195"/>
                <a:gd name="T25" fmla="*/ 2147483647 h 92"/>
                <a:gd name="T26" fmla="*/ 2147483647 w 195"/>
                <a:gd name="T27" fmla="*/ 0 h 92"/>
                <a:gd name="T28" fmla="*/ 2147483647 w 195"/>
                <a:gd name="T29" fmla="*/ 0 h 92"/>
                <a:gd name="T30" fmla="*/ 2147483647 w 195"/>
                <a:gd name="T31" fmla="*/ 2147483647 h 92"/>
                <a:gd name="T32" fmla="*/ 2147483647 w 195"/>
                <a:gd name="T33" fmla="*/ 2147483647 h 92"/>
                <a:gd name="T34" fmla="*/ 2147483647 w 195"/>
                <a:gd name="T35" fmla="*/ 2147483647 h 92"/>
                <a:gd name="T36" fmla="*/ 2147483647 w 195"/>
                <a:gd name="T37" fmla="*/ 2147483647 h 92"/>
                <a:gd name="T38" fmla="*/ 2147483647 w 195"/>
                <a:gd name="T39" fmla="*/ 2147483647 h 92"/>
                <a:gd name="T40" fmla="*/ 2147483647 w 195"/>
                <a:gd name="T41" fmla="*/ 2147483647 h 92"/>
                <a:gd name="T42" fmla="*/ 0 w 195"/>
                <a:gd name="T43" fmla="*/ 2147483647 h 92"/>
                <a:gd name="T44" fmla="*/ 0 w 195"/>
                <a:gd name="T45" fmla="*/ 0 h 92"/>
                <a:gd name="T46" fmla="*/ 2147483647 w 195"/>
                <a:gd name="T47" fmla="*/ 0 h 92"/>
                <a:gd name="T48" fmla="*/ 2147483647 w 195"/>
                <a:gd name="T49" fmla="*/ 2147483647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439708274"/>
      </p:ext>
    </p:extLst>
  </p:cSld>
  <p:clrMapOvr>
    <a:masterClrMapping/>
  </p:clrMapOvr>
  <p:transition spd="med">
    <p:fade/>
  </p:transition>
  <p:hf sldNum="0" hdr="0" ftr="0"/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bg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1077728790"/>
      </p:ext>
    </p:extLst>
  </p:cSld>
  <p:clrMapOvr>
    <a:masterClrMapping/>
  </p:clrMapOvr>
  <p:transition spd="med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62"/>
          <p:cNvSpPr>
            <a:spLocks noChangeArrowheads="1"/>
          </p:cNvSpPr>
          <p:nvPr userDrawn="1"/>
        </p:nvSpPr>
        <p:spPr bwMode="auto">
          <a:xfrm rot="16200000">
            <a:off x="7676357" y="3601244"/>
            <a:ext cx="2795587" cy="18732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45713" rIns="0" bIns="45713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253" eaLnBrk="1" hangingPunct="1">
              <a:defRPr/>
            </a:pPr>
            <a:r>
              <a:rPr lang="en-GB" altLang="fr-FR" sz="700" dirty="0" smtClean="0">
                <a:solidFill>
                  <a:srgbClr val="7F7F7F"/>
                </a:solidFill>
                <a:latin typeface="Helvetica 55 Roman" pitchFamily="2" charset="0"/>
                <a:ea typeface="+mn-ea"/>
              </a:rPr>
              <a:t>Interne</a:t>
            </a:r>
            <a:r>
              <a:rPr lang="en-US" altLang="fr-FR" sz="700" dirty="0" smtClean="0">
                <a:solidFill>
                  <a:srgbClr val="7F7F7F"/>
                </a:solidFill>
                <a:latin typeface="Helvetica 55 Roman" pitchFamily="2" charset="0"/>
                <a:ea typeface="+mn-ea"/>
              </a:rPr>
              <a:t> Orange – DR Orange Open pro partagé </a:t>
            </a:r>
          </a:p>
        </p:txBody>
      </p:sp>
      <p:sp>
        <p:nvSpPr>
          <p:cNvPr id="4" name="ZoneTexte 3"/>
          <p:cNvSpPr txBox="1">
            <a:spLocks noChangeArrowheads="1"/>
          </p:cNvSpPr>
          <p:nvPr userDrawn="1"/>
        </p:nvSpPr>
        <p:spPr bwMode="auto">
          <a:xfrm>
            <a:off x="107950" y="4779963"/>
            <a:ext cx="23018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3" rIns="0" bIns="45713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253">
              <a:defRPr/>
            </a:pPr>
            <a:fld id="{5598861A-AE42-4E1F-9870-E946DF38B083}" type="slidenum">
              <a:rPr lang="fr-FR" altLang="fr-FR" sz="800" smtClean="0">
                <a:solidFill>
                  <a:srgbClr val="000000"/>
                </a:solidFill>
                <a:latin typeface="Helvetica 55 Roman" panose="020B0604020202020204" pitchFamily="2" charset="0"/>
                <a:ea typeface="+mn-ea"/>
                <a:cs typeface="Arial" charset="0"/>
              </a:rPr>
              <a:pPr defTabSz="914253">
                <a:defRPr/>
              </a:pPr>
              <a:t>‹N°›</a:t>
            </a:fld>
            <a:endParaRPr lang="fr-FR" altLang="fr-FR" sz="800" dirty="0" smtClean="0">
              <a:solidFill>
                <a:srgbClr val="000000"/>
              </a:solidFill>
              <a:latin typeface="Helvetica 55 Roman" panose="020B0604020202020204" pitchFamily="2" charset="0"/>
              <a:ea typeface="+mn-ea"/>
              <a:cs typeface="Arial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63558" y="1598756"/>
            <a:ext cx="7772400" cy="37783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fr-FR" sz="6600" b="0"/>
            </a:lvl1pPr>
          </a:lstStyle>
          <a:p>
            <a:pPr lvl="0"/>
            <a:r>
              <a:rPr lang="fr-FR" smtClean="0"/>
              <a:t>Cliquez pour modifier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29293336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4060588040"/>
      </p:ext>
    </p:extLst>
  </p:cSld>
  <p:clrMapOvr>
    <a:masterClrMapping/>
  </p:clrMapOvr>
  <p:transition spd="med">
    <p:fade/>
  </p:transition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5683491"/>
      </p:ext>
    </p:extLst>
  </p:cSld>
  <p:clrMapOvr>
    <a:masterClrMapping/>
  </p:clrMapOvr>
  <p:transition spd="med">
    <p:fade/>
  </p:transition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9870954"/>
      </p:ext>
    </p:extLst>
  </p:cSld>
  <p:clrMapOvr>
    <a:masterClrMapping/>
  </p:clrMapOvr>
  <p:transition spd="med">
    <p:fade/>
  </p:transition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3278228"/>
      </p:ext>
    </p:extLst>
  </p:cSld>
  <p:clrMapOvr>
    <a:masterClrMapping/>
  </p:clrMapOvr>
  <p:transition spd="med">
    <p:fade/>
  </p:transition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8674577"/>
      </p:ext>
    </p:extLst>
  </p:cSld>
  <p:clrMapOvr>
    <a:masterClrMapping/>
  </p:clrMapOvr>
  <p:transition spd="med">
    <p:fade/>
  </p:transition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4176147"/>
      </p:ext>
    </p:extLst>
  </p:cSld>
  <p:clrMapOvr>
    <a:masterClrMapping/>
  </p:clrMapOvr>
  <p:transition spd="med">
    <p:fade/>
  </p:transition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04164089"/>
      </p:ext>
    </p:extLst>
  </p:cSld>
  <p:clrMapOvr>
    <a:masterClrMapping/>
  </p:clrMapOvr>
  <p:transition spd="med">
    <p:fade/>
  </p:transition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2788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6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5pPr>
              <a:lvl6pPr marL="18811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6pPr>
              <a:lvl7pPr marL="23383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7pPr>
              <a:lvl8pPr marL="27955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8pPr>
              <a:lvl9pPr marL="32527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smtClean="0">
                <a:solidFill>
                  <a:srgbClr val="FF6600"/>
                </a:solidFill>
                <a:latin typeface="Helvetica 75 Bold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7 w 104"/>
                <a:gd name="T1" fmla="*/ 2147483647 h 122"/>
                <a:gd name="T2" fmla="*/ 2147483647 w 104"/>
                <a:gd name="T3" fmla="*/ 2147483647 h 122"/>
                <a:gd name="T4" fmla="*/ 2147483647 w 104"/>
                <a:gd name="T5" fmla="*/ 2147483647 h 122"/>
                <a:gd name="T6" fmla="*/ 2147483647 w 104"/>
                <a:gd name="T7" fmla="*/ 2147483647 h 122"/>
                <a:gd name="T8" fmla="*/ 2147483647 w 104"/>
                <a:gd name="T9" fmla="*/ 2147483647 h 122"/>
                <a:gd name="T10" fmla="*/ 2147483647 w 104"/>
                <a:gd name="T11" fmla="*/ 2147483647 h 122"/>
                <a:gd name="T12" fmla="*/ 2147483647 w 104"/>
                <a:gd name="T13" fmla="*/ 2147483647 h 122"/>
                <a:gd name="T14" fmla="*/ 0 w 104"/>
                <a:gd name="T15" fmla="*/ 2147483647 h 122"/>
                <a:gd name="T16" fmla="*/ 2147483647 w 104"/>
                <a:gd name="T17" fmla="*/ 2147483647 h 122"/>
                <a:gd name="T18" fmla="*/ 2147483647 w 104"/>
                <a:gd name="T19" fmla="*/ 2147483647 h 122"/>
                <a:gd name="T20" fmla="*/ 2147483647 w 104"/>
                <a:gd name="T21" fmla="*/ 2147483647 h 122"/>
                <a:gd name="T22" fmla="*/ 2147483647 w 104"/>
                <a:gd name="T23" fmla="*/ 2147483647 h 122"/>
                <a:gd name="T24" fmla="*/ 2147483647 w 104"/>
                <a:gd name="T25" fmla="*/ 2147483647 h 122"/>
                <a:gd name="T26" fmla="*/ 2147483647 w 104"/>
                <a:gd name="T27" fmla="*/ 0 h 122"/>
                <a:gd name="T28" fmla="*/ 2147483647 w 104"/>
                <a:gd name="T29" fmla="*/ 2147483647 h 122"/>
                <a:gd name="T30" fmla="*/ 2147483647 w 104"/>
                <a:gd name="T31" fmla="*/ 2147483647 h 122"/>
                <a:gd name="T32" fmla="*/ 2147483647 w 104"/>
                <a:gd name="T33" fmla="*/ 2147483647 h 122"/>
                <a:gd name="T34" fmla="*/ 2147483647 w 104"/>
                <a:gd name="T35" fmla="*/ 2147483647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7 h 120"/>
                <a:gd name="T2" fmla="*/ 2147483647 w 105"/>
                <a:gd name="T3" fmla="*/ 2147483647 h 120"/>
                <a:gd name="T4" fmla="*/ 2147483647 w 105"/>
                <a:gd name="T5" fmla="*/ 2147483647 h 120"/>
                <a:gd name="T6" fmla="*/ 2147483647 w 105"/>
                <a:gd name="T7" fmla="*/ 0 h 120"/>
                <a:gd name="T8" fmla="*/ 2147483647 w 105"/>
                <a:gd name="T9" fmla="*/ 2147483647 h 120"/>
                <a:gd name="T10" fmla="*/ 2147483647 w 105"/>
                <a:gd name="T11" fmla="*/ 2147483647 h 120"/>
                <a:gd name="T12" fmla="*/ 2147483647 w 105"/>
                <a:gd name="T13" fmla="*/ 2147483647 h 120"/>
                <a:gd name="T14" fmla="*/ 2147483647 w 105"/>
                <a:gd name="T15" fmla="*/ 2147483647 h 120"/>
                <a:gd name="T16" fmla="*/ 2147483647 w 105"/>
                <a:gd name="T17" fmla="*/ 2147483647 h 120"/>
                <a:gd name="T18" fmla="*/ 2147483647 w 105"/>
                <a:gd name="T19" fmla="*/ 2147483647 h 120"/>
                <a:gd name="T20" fmla="*/ 2147483647 w 105"/>
                <a:gd name="T21" fmla="*/ 2147483647 h 120"/>
                <a:gd name="T22" fmla="*/ 0 w 105"/>
                <a:gd name="T23" fmla="*/ 2147483647 h 120"/>
                <a:gd name="T24" fmla="*/ 0 w 105"/>
                <a:gd name="T25" fmla="*/ 2147483647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7 w 109"/>
                <a:gd name="T1" fmla="*/ 2147483647 h 122"/>
                <a:gd name="T2" fmla="*/ 2147483647 w 109"/>
                <a:gd name="T3" fmla="*/ 2147483647 h 122"/>
                <a:gd name="T4" fmla="*/ 2147483647 w 109"/>
                <a:gd name="T5" fmla="*/ 2147483647 h 122"/>
                <a:gd name="T6" fmla="*/ 2147483647 w 109"/>
                <a:gd name="T7" fmla="*/ 2147483647 h 122"/>
                <a:gd name="T8" fmla="*/ 2147483647 w 109"/>
                <a:gd name="T9" fmla="*/ 2147483647 h 122"/>
                <a:gd name="T10" fmla="*/ 0 w 109"/>
                <a:gd name="T11" fmla="*/ 2147483647 h 122"/>
                <a:gd name="T12" fmla="*/ 2147483647 w 109"/>
                <a:gd name="T13" fmla="*/ 0 h 122"/>
                <a:gd name="T14" fmla="*/ 2147483647 w 109"/>
                <a:gd name="T15" fmla="*/ 2147483647 h 122"/>
                <a:gd name="T16" fmla="*/ 2147483647 w 109"/>
                <a:gd name="T17" fmla="*/ 2147483647 h 122"/>
                <a:gd name="T18" fmla="*/ 2147483647 w 109"/>
                <a:gd name="T19" fmla="*/ 2147483647 h 122"/>
                <a:gd name="T20" fmla="*/ 2147483647 w 109"/>
                <a:gd name="T21" fmla="*/ 2147483647 h 122"/>
                <a:gd name="T22" fmla="*/ 2147483647 w 109"/>
                <a:gd name="T23" fmla="*/ 2147483647 h 122"/>
                <a:gd name="T24" fmla="*/ 2147483647 w 109"/>
                <a:gd name="T25" fmla="*/ 2147483647 h 122"/>
                <a:gd name="T26" fmla="*/ 2147483647 w 109"/>
                <a:gd name="T27" fmla="*/ 2147483647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7 w 116"/>
                <a:gd name="T1" fmla="*/ 2147483647 h 124"/>
                <a:gd name="T2" fmla="*/ 2147483647 w 116"/>
                <a:gd name="T3" fmla="*/ 2147483647 h 124"/>
                <a:gd name="T4" fmla="*/ 2147483647 w 116"/>
                <a:gd name="T5" fmla="*/ 2147483647 h 124"/>
                <a:gd name="T6" fmla="*/ 2147483647 w 116"/>
                <a:gd name="T7" fmla="*/ 2147483647 h 124"/>
                <a:gd name="T8" fmla="*/ 2147483647 w 116"/>
                <a:gd name="T9" fmla="*/ 2147483647 h 124"/>
                <a:gd name="T10" fmla="*/ 2147483647 w 116"/>
                <a:gd name="T11" fmla="*/ 2147483647 h 124"/>
                <a:gd name="T12" fmla="*/ 0 w 116"/>
                <a:gd name="T13" fmla="*/ 2147483647 h 124"/>
                <a:gd name="T14" fmla="*/ 2147483647 w 116"/>
                <a:gd name="T15" fmla="*/ 0 h 124"/>
                <a:gd name="T16" fmla="*/ 2147483647 w 116"/>
                <a:gd name="T17" fmla="*/ 2147483647 h 124"/>
                <a:gd name="T18" fmla="*/ 2147483647 w 116"/>
                <a:gd name="T19" fmla="*/ 2147483647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7 h 120"/>
                <a:gd name="T2" fmla="*/ 2147483647 w 66"/>
                <a:gd name="T3" fmla="*/ 2147483647 h 120"/>
                <a:gd name="T4" fmla="*/ 2147483647 w 66"/>
                <a:gd name="T5" fmla="*/ 2147483647 h 120"/>
                <a:gd name="T6" fmla="*/ 2147483647 w 66"/>
                <a:gd name="T7" fmla="*/ 0 h 120"/>
                <a:gd name="T8" fmla="*/ 2147483647 w 66"/>
                <a:gd name="T9" fmla="*/ 2147483647 h 120"/>
                <a:gd name="T10" fmla="*/ 2147483647 w 66"/>
                <a:gd name="T11" fmla="*/ 2147483647 h 120"/>
                <a:gd name="T12" fmla="*/ 2147483647 w 66"/>
                <a:gd name="T13" fmla="*/ 2147483647 h 120"/>
                <a:gd name="T14" fmla="*/ 2147483647 w 66"/>
                <a:gd name="T15" fmla="*/ 2147483647 h 120"/>
                <a:gd name="T16" fmla="*/ 2147483647 w 66"/>
                <a:gd name="T17" fmla="*/ 2147483647 h 120"/>
                <a:gd name="T18" fmla="*/ 0 w 66"/>
                <a:gd name="T19" fmla="*/ 2147483647 h 120"/>
                <a:gd name="T20" fmla="*/ 0 w 66"/>
                <a:gd name="T21" fmla="*/ 2147483647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7 w 110"/>
                <a:gd name="T1" fmla="*/ 2147483647 h 166"/>
                <a:gd name="T2" fmla="*/ 2147483647 w 110"/>
                <a:gd name="T3" fmla="*/ 2147483647 h 166"/>
                <a:gd name="T4" fmla="*/ 2147483647 w 110"/>
                <a:gd name="T5" fmla="*/ 2147483647 h 166"/>
                <a:gd name="T6" fmla="*/ 2147483647 w 110"/>
                <a:gd name="T7" fmla="*/ 2147483647 h 166"/>
                <a:gd name="T8" fmla="*/ 2147483647 w 110"/>
                <a:gd name="T9" fmla="*/ 2147483647 h 166"/>
                <a:gd name="T10" fmla="*/ 2147483647 w 110"/>
                <a:gd name="T11" fmla="*/ 2147483647 h 166"/>
                <a:gd name="T12" fmla="*/ 2147483647 w 110"/>
                <a:gd name="T13" fmla="*/ 2147483647 h 166"/>
                <a:gd name="T14" fmla="*/ 2147483647 w 110"/>
                <a:gd name="T15" fmla="*/ 2147483647 h 166"/>
                <a:gd name="T16" fmla="*/ 2147483647 w 110"/>
                <a:gd name="T17" fmla="*/ 2147483647 h 166"/>
                <a:gd name="T18" fmla="*/ 2147483647 w 110"/>
                <a:gd name="T19" fmla="*/ 2147483647 h 166"/>
                <a:gd name="T20" fmla="*/ 0 w 110"/>
                <a:gd name="T21" fmla="*/ 2147483647 h 166"/>
                <a:gd name="T22" fmla="*/ 2147483647 w 110"/>
                <a:gd name="T23" fmla="*/ 0 h 166"/>
                <a:gd name="T24" fmla="*/ 2147483647 w 110"/>
                <a:gd name="T25" fmla="*/ 2147483647 h 166"/>
                <a:gd name="T26" fmla="*/ 2147483647 w 110"/>
                <a:gd name="T27" fmla="*/ 2147483647 h 166"/>
                <a:gd name="T28" fmla="*/ 2147483647 w 110"/>
                <a:gd name="T29" fmla="*/ 2147483647 h 166"/>
                <a:gd name="T30" fmla="*/ 2147483647 w 110"/>
                <a:gd name="T31" fmla="*/ 2147483647 h 166"/>
                <a:gd name="T32" fmla="*/ 2147483647 w 110"/>
                <a:gd name="T33" fmla="*/ 2147483647 h 166"/>
                <a:gd name="T34" fmla="*/ 2147483647 w 110"/>
                <a:gd name="T35" fmla="*/ 2147483647 h 166"/>
                <a:gd name="T36" fmla="*/ 2147483647 w 110"/>
                <a:gd name="T37" fmla="*/ 2147483647 h 166"/>
                <a:gd name="T38" fmla="*/ 2147483647 w 110"/>
                <a:gd name="T39" fmla="*/ 2147483647 h 166"/>
                <a:gd name="T40" fmla="*/ 2147483647 w 110"/>
                <a:gd name="T41" fmla="*/ 2147483647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7 w 195"/>
                <a:gd name="T1" fmla="*/ 2147483647 h 92"/>
                <a:gd name="T2" fmla="*/ 2147483647 w 195"/>
                <a:gd name="T3" fmla="*/ 2147483647 h 92"/>
                <a:gd name="T4" fmla="*/ 2147483647 w 195"/>
                <a:gd name="T5" fmla="*/ 2147483647 h 92"/>
                <a:gd name="T6" fmla="*/ 2147483647 w 195"/>
                <a:gd name="T7" fmla="*/ 2147483647 h 92"/>
                <a:gd name="T8" fmla="*/ 2147483647 w 195"/>
                <a:gd name="T9" fmla="*/ 2147483647 h 92"/>
                <a:gd name="T10" fmla="*/ 2147483647 w 195"/>
                <a:gd name="T11" fmla="*/ 2147483647 h 92"/>
                <a:gd name="T12" fmla="*/ 2147483647 w 195"/>
                <a:gd name="T13" fmla="*/ 2147483647 h 92"/>
                <a:gd name="T14" fmla="*/ 2147483647 w 195"/>
                <a:gd name="T15" fmla="*/ 2147483647 h 92"/>
                <a:gd name="T16" fmla="*/ 2147483647 w 195"/>
                <a:gd name="T17" fmla="*/ 2147483647 h 92"/>
                <a:gd name="T18" fmla="*/ 2147483647 w 195"/>
                <a:gd name="T19" fmla="*/ 2147483647 h 92"/>
                <a:gd name="T20" fmla="*/ 2147483647 w 195"/>
                <a:gd name="T21" fmla="*/ 0 h 92"/>
                <a:gd name="T22" fmla="*/ 2147483647 w 195"/>
                <a:gd name="T23" fmla="*/ 0 h 92"/>
                <a:gd name="T24" fmla="*/ 2147483647 w 195"/>
                <a:gd name="T25" fmla="*/ 2147483647 h 92"/>
                <a:gd name="T26" fmla="*/ 2147483647 w 195"/>
                <a:gd name="T27" fmla="*/ 0 h 92"/>
                <a:gd name="T28" fmla="*/ 2147483647 w 195"/>
                <a:gd name="T29" fmla="*/ 0 h 92"/>
                <a:gd name="T30" fmla="*/ 2147483647 w 195"/>
                <a:gd name="T31" fmla="*/ 2147483647 h 92"/>
                <a:gd name="T32" fmla="*/ 2147483647 w 195"/>
                <a:gd name="T33" fmla="*/ 2147483647 h 92"/>
                <a:gd name="T34" fmla="*/ 2147483647 w 195"/>
                <a:gd name="T35" fmla="*/ 2147483647 h 92"/>
                <a:gd name="T36" fmla="*/ 2147483647 w 195"/>
                <a:gd name="T37" fmla="*/ 2147483647 h 92"/>
                <a:gd name="T38" fmla="*/ 2147483647 w 195"/>
                <a:gd name="T39" fmla="*/ 2147483647 h 92"/>
                <a:gd name="T40" fmla="*/ 2147483647 w 195"/>
                <a:gd name="T41" fmla="*/ 2147483647 h 92"/>
                <a:gd name="T42" fmla="*/ 0 w 195"/>
                <a:gd name="T43" fmla="*/ 2147483647 h 92"/>
                <a:gd name="T44" fmla="*/ 0 w 195"/>
                <a:gd name="T45" fmla="*/ 0 h 92"/>
                <a:gd name="T46" fmla="*/ 2147483647 w 195"/>
                <a:gd name="T47" fmla="*/ 0 h 92"/>
                <a:gd name="T48" fmla="*/ 2147483647 w 195"/>
                <a:gd name="T49" fmla="*/ 2147483647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933812288"/>
      </p:ext>
    </p:extLst>
  </p:cSld>
  <p:clrMapOvr>
    <a:masterClrMapping/>
  </p:clrMapOvr>
  <p:transition spd="med">
    <p:fade/>
  </p:transition>
  <p:hf sldNum="0" hdr="0" ftr="0"/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bg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3184529653"/>
      </p:ext>
    </p:extLst>
  </p:cSld>
  <p:clrMapOvr>
    <a:masterClrMapping/>
  </p:clrMapOvr>
  <p:transition spd="med">
    <p:fade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988563420"/>
      </p:ext>
    </p:extLst>
  </p:cSld>
  <p:clrMapOvr>
    <a:masterClrMapping/>
  </p:clrMapOvr>
  <p:transition spd="med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>
            <a:spLocks noChangeArrowheads="1"/>
          </p:cNvSpPr>
          <p:nvPr userDrawn="1"/>
        </p:nvSpPr>
        <p:spPr bwMode="auto">
          <a:xfrm>
            <a:off x="107950" y="4779963"/>
            <a:ext cx="23018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3" rIns="0" bIns="45713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253">
              <a:defRPr/>
            </a:pPr>
            <a:fld id="{F7F0A700-51EF-4D4B-BF9D-4DA9DE7FD669}" type="slidenum">
              <a:rPr lang="fr-FR" altLang="fr-FR" sz="800" smtClean="0">
                <a:solidFill>
                  <a:srgbClr val="000000"/>
                </a:solidFill>
                <a:latin typeface="Helvetica 55 Roman" panose="020B0604020202020204" pitchFamily="2" charset="0"/>
                <a:ea typeface="+mn-ea"/>
                <a:cs typeface="Arial" charset="0"/>
              </a:rPr>
              <a:pPr defTabSz="914253">
                <a:defRPr/>
              </a:pPr>
              <a:t>‹N°›</a:t>
            </a:fld>
            <a:endParaRPr lang="fr-FR" altLang="fr-FR" sz="800" dirty="0" smtClean="0">
              <a:solidFill>
                <a:srgbClr val="000000"/>
              </a:solidFill>
              <a:latin typeface="Helvetica 55 Roman" panose="020B0604020202020204" pitchFamily="2" charset="0"/>
              <a:ea typeface="+mn-ea"/>
              <a:cs typeface="Arial" charset="0"/>
            </a:endParaRPr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 bwMode="gray">
          <a:xfrm>
            <a:off x="250831" y="1059583"/>
            <a:ext cx="8664575" cy="3611810"/>
          </a:xfrm>
        </p:spPr>
        <p:txBody>
          <a:bodyPr/>
          <a:lstStyle>
            <a:lvl1pPr>
              <a:buSzPct val="100000"/>
              <a:defRPr/>
            </a:lvl1pPr>
            <a:lvl3pPr>
              <a:buSzPct val="100000"/>
              <a:defRPr/>
            </a:lvl3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00678511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6089395"/>
      </p:ext>
    </p:extLst>
  </p:cSld>
  <p:clrMapOvr>
    <a:masterClrMapping/>
  </p:clrMapOvr>
  <p:transition spd="med">
    <p:fad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2432002"/>
      </p:ext>
    </p:extLst>
  </p:cSld>
  <p:clrMapOvr>
    <a:masterClrMapping/>
  </p:clrMapOvr>
  <p:transition spd="med">
    <p:fad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9390982"/>
      </p:ext>
    </p:extLst>
  </p:cSld>
  <p:clrMapOvr>
    <a:masterClrMapping/>
  </p:clrMapOvr>
  <p:transition spd="med">
    <p:fad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3372108"/>
      </p:ext>
    </p:extLst>
  </p:cSld>
  <p:clrMapOvr>
    <a:masterClrMapping/>
  </p:clrMapOvr>
  <p:transition spd="med">
    <p:fad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3995366"/>
      </p:ext>
    </p:extLst>
  </p:cSld>
  <p:clrMapOvr>
    <a:masterClrMapping/>
  </p:clrMapOvr>
  <p:transition spd="med">
    <p:fade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88514"/>
      </p:ext>
    </p:extLst>
  </p:cSld>
  <p:clrMapOvr>
    <a:masterClrMapping/>
  </p:clrMapOvr>
  <p:transition spd="med">
    <p:fade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2788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6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5pPr>
              <a:lvl6pPr marL="18811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6pPr>
              <a:lvl7pPr marL="23383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7pPr>
              <a:lvl8pPr marL="27955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8pPr>
              <a:lvl9pPr marL="32527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smtClean="0">
                <a:solidFill>
                  <a:srgbClr val="FF6600"/>
                </a:solidFill>
                <a:latin typeface="Helvetica 75 Bold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7 w 104"/>
                <a:gd name="T1" fmla="*/ 2147483647 h 122"/>
                <a:gd name="T2" fmla="*/ 2147483647 w 104"/>
                <a:gd name="T3" fmla="*/ 2147483647 h 122"/>
                <a:gd name="T4" fmla="*/ 2147483647 w 104"/>
                <a:gd name="T5" fmla="*/ 2147483647 h 122"/>
                <a:gd name="T6" fmla="*/ 2147483647 w 104"/>
                <a:gd name="T7" fmla="*/ 2147483647 h 122"/>
                <a:gd name="T8" fmla="*/ 2147483647 w 104"/>
                <a:gd name="T9" fmla="*/ 2147483647 h 122"/>
                <a:gd name="T10" fmla="*/ 2147483647 w 104"/>
                <a:gd name="T11" fmla="*/ 2147483647 h 122"/>
                <a:gd name="T12" fmla="*/ 2147483647 w 104"/>
                <a:gd name="T13" fmla="*/ 2147483647 h 122"/>
                <a:gd name="T14" fmla="*/ 0 w 104"/>
                <a:gd name="T15" fmla="*/ 2147483647 h 122"/>
                <a:gd name="T16" fmla="*/ 2147483647 w 104"/>
                <a:gd name="T17" fmla="*/ 2147483647 h 122"/>
                <a:gd name="T18" fmla="*/ 2147483647 w 104"/>
                <a:gd name="T19" fmla="*/ 2147483647 h 122"/>
                <a:gd name="T20" fmla="*/ 2147483647 w 104"/>
                <a:gd name="T21" fmla="*/ 2147483647 h 122"/>
                <a:gd name="T22" fmla="*/ 2147483647 w 104"/>
                <a:gd name="T23" fmla="*/ 2147483647 h 122"/>
                <a:gd name="T24" fmla="*/ 2147483647 w 104"/>
                <a:gd name="T25" fmla="*/ 2147483647 h 122"/>
                <a:gd name="T26" fmla="*/ 2147483647 w 104"/>
                <a:gd name="T27" fmla="*/ 0 h 122"/>
                <a:gd name="T28" fmla="*/ 2147483647 w 104"/>
                <a:gd name="T29" fmla="*/ 2147483647 h 122"/>
                <a:gd name="T30" fmla="*/ 2147483647 w 104"/>
                <a:gd name="T31" fmla="*/ 2147483647 h 122"/>
                <a:gd name="T32" fmla="*/ 2147483647 w 104"/>
                <a:gd name="T33" fmla="*/ 2147483647 h 122"/>
                <a:gd name="T34" fmla="*/ 2147483647 w 104"/>
                <a:gd name="T35" fmla="*/ 2147483647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7 h 120"/>
                <a:gd name="T2" fmla="*/ 2147483647 w 105"/>
                <a:gd name="T3" fmla="*/ 2147483647 h 120"/>
                <a:gd name="T4" fmla="*/ 2147483647 w 105"/>
                <a:gd name="T5" fmla="*/ 2147483647 h 120"/>
                <a:gd name="T6" fmla="*/ 2147483647 w 105"/>
                <a:gd name="T7" fmla="*/ 0 h 120"/>
                <a:gd name="T8" fmla="*/ 2147483647 w 105"/>
                <a:gd name="T9" fmla="*/ 2147483647 h 120"/>
                <a:gd name="T10" fmla="*/ 2147483647 w 105"/>
                <a:gd name="T11" fmla="*/ 2147483647 h 120"/>
                <a:gd name="T12" fmla="*/ 2147483647 w 105"/>
                <a:gd name="T13" fmla="*/ 2147483647 h 120"/>
                <a:gd name="T14" fmla="*/ 2147483647 w 105"/>
                <a:gd name="T15" fmla="*/ 2147483647 h 120"/>
                <a:gd name="T16" fmla="*/ 2147483647 w 105"/>
                <a:gd name="T17" fmla="*/ 2147483647 h 120"/>
                <a:gd name="T18" fmla="*/ 2147483647 w 105"/>
                <a:gd name="T19" fmla="*/ 2147483647 h 120"/>
                <a:gd name="T20" fmla="*/ 2147483647 w 105"/>
                <a:gd name="T21" fmla="*/ 2147483647 h 120"/>
                <a:gd name="T22" fmla="*/ 0 w 105"/>
                <a:gd name="T23" fmla="*/ 2147483647 h 120"/>
                <a:gd name="T24" fmla="*/ 0 w 105"/>
                <a:gd name="T25" fmla="*/ 2147483647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7 w 109"/>
                <a:gd name="T1" fmla="*/ 2147483647 h 122"/>
                <a:gd name="T2" fmla="*/ 2147483647 w 109"/>
                <a:gd name="T3" fmla="*/ 2147483647 h 122"/>
                <a:gd name="T4" fmla="*/ 2147483647 w 109"/>
                <a:gd name="T5" fmla="*/ 2147483647 h 122"/>
                <a:gd name="T6" fmla="*/ 2147483647 w 109"/>
                <a:gd name="T7" fmla="*/ 2147483647 h 122"/>
                <a:gd name="T8" fmla="*/ 2147483647 w 109"/>
                <a:gd name="T9" fmla="*/ 2147483647 h 122"/>
                <a:gd name="T10" fmla="*/ 0 w 109"/>
                <a:gd name="T11" fmla="*/ 2147483647 h 122"/>
                <a:gd name="T12" fmla="*/ 2147483647 w 109"/>
                <a:gd name="T13" fmla="*/ 0 h 122"/>
                <a:gd name="T14" fmla="*/ 2147483647 w 109"/>
                <a:gd name="T15" fmla="*/ 2147483647 h 122"/>
                <a:gd name="T16" fmla="*/ 2147483647 w 109"/>
                <a:gd name="T17" fmla="*/ 2147483647 h 122"/>
                <a:gd name="T18" fmla="*/ 2147483647 w 109"/>
                <a:gd name="T19" fmla="*/ 2147483647 h 122"/>
                <a:gd name="T20" fmla="*/ 2147483647 w 109"/>
                <a:gd name="T21" fmla="*/ 2147483647 h 122"/>
                <a:gd name="T22" fmla="*/ 2147483647 w 109"/>
                <a:gd name="T23" fmla="*/ 2147483647 h 122"/>
                <a:gd name="T24" fmla="*/ 2147483647 w 109"/>
                <a:gd name="T25" fmla="*/ 2147483647 h 122"/>
                <a:gd name="T26" fmla="*/ 2147483647 w 109"/>
                <a:gd name="T27" fmla="*/ 2147483647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7 w 116"/>
                <a:gd name="T1" fmla="*/ 2147483647 h 124"/>
                <a:gd name="T2" fmla="*/ 2147483647 w 116"/>
                <a:gd name="T3" fmla="*/ 2147483647 h 124"/>
                <a:gd name="T4" fmla="*/ 2147483647 w 116"/>
                <a:gd name="T5" fmla="*/ 2147483647 h 124"/>
                <a:gd name="T6" fmla="*/ 2147483647 w 116"/>
                <a:gd name="T7" fmla="*/ 2147483647 h 124"/>
                <a:gd name="T8" fmla="*/ 2147483647 w 116"/>
                <a:gd name="T9" fmla="*/ 2147483647 h 124"/>
                <a:gd name="T10" fmla="*/ 2147483647 w 116"/>
                <a:gd name="T11" fmla="*/ 2147483647 h 124"/>
                <a:gd name="T12" fmla="*/ 0 w 116"/>
                <a:gd name="T13" fmla="*/ 2147483647 h 124"/>
                <a:gd name="T14" fmla="*/ 2147483647 w 116"/>
                <a:gd name="T15" fmla="*/ 0 h 124"/>
                <a:gd name="T16" fmla="*/ 2147483647 w 116"/>
                <a:gd name="T17" fmla="*/ 2147483647 h 124"/>
                <a:gd name="T18" fmla="*/ 2147483647 w 116"/>
                <a:gd name="T19" fmla="*/ 2147483647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7 h 120"/>
                <a:gd name="T2" fmla="*/ 2147483647 w 66"/>
                <a:gd name="T3" fmla="*/ 2147483647 h 120"/>
                <a:gd name="T4" fmla="*/ 2147483647 w 66"/>
                <a:gd name="T5" fmla="*/ 2147483647 h 120"/>
                <a:gd name="T6" fmla="*/ 2147483647 w 66"/>
                <a:gd name="T7" fmla="*/ 0 h 120"/>
                <a:gd name="T8" fmla="*/ 2147483647 w 66"/>
                <a:gd name="T9" fmla="*/ 2147483647 h 120"/>
                <a:gd name="T10" fmla="*/ 2147483647 w 66"/>
                <a:gd name="T11" fmla="*/ 2147483647 h 120"/>
                <a:gd name="T12" fmla="*/ 2147483647 w 66"/>
                <a:gd name="T13" fmla="*/ 2147483647 h 120"/>
                <a:gd name="T14" fmla="*/ 2147483647 w 66"/>
                <a:gd name="T15" fmla="*/ 2147483647 h 120"/>
                <a:gd name="T16" fmla="*/ 2147483647 w 66"/>
                <a:gd name="T17" fmla="*/ 2147483647 h 120"/>
                <a:gd name="T18" fmla="*/ 0 w 66"/>
                <a:gd name="T19" fmla="*/ 2147483647 h 120"/>
                <a:gd name="T20" fmla="*/ 0 w 66"/>
                <a:gd name="T21" fmla="*/ 2147483647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7 w 110"/>
                <a:gd name="T1" fmla="*/ 2147483647 h 166"/>
                <a:gd name="T2" fmla="*/ 2147483647 w 110"/>
                <a:gd name="T3" fmla="*/ 2147483647 h 166"/>
                <a:gd name="T4" fmla="*/ 2147483647 w 110"/>
                <a:gd name="T5" fmla="*/ 2147483647 h 166"/>
                <a:gd name="T6" fmla="*/ 2147483647 w 110"/>
                <a:gd name="T7" fmla="*/ 2147483647 h 166"/>
                <a:gd name="T8" fmla="*/ 2147483647 w 110"/>
                <a:gd name="T9" fmla="*/ 2147483647 h 166"/>
                <a:gd name="T10" fmla="*/ 2147483647 w 110"/>
                <a:gd name="T11" fmla="*/ 2147483647 h 166"/>
                <a:gd name="T12" fmla="*/ 2147483647 w 110"/>
                <a:gd name="T13" fmla="*/ 2147483647 h 166"/>
                <a:gd name="T14" fmla="*/ 2147483647 w 110"/>
                <a:gd name="T15" fmla="*/ 2147483647 h 166"/>
                <a:gd name="T16" fmla="*/ 2147483647 w 110"/>
                <a:gd name="T17" fmla="*/ 2147483647 h 166"/>
                <a:gd name="T18" fmla="*/ 2147483647 w 110"/>
                <a:gd name="T19" fmla="*/ 2147483647 h 166"/>
                <a:gd name="T20" fmla="*/ 0 w 110"/>
                <a:gd name="T21" fmla="*/ 2147483647 h 166"/>
                <a:gd name="T22" fmla="*/ 2147483647 w 110"/>
                <a:gd name="T23" fmla="*/ 0 h 166"/>
                <a:gd name="T24" fmla="*/ 2147483647 w 110"/>
                <a:gd name="T25" fmla="*/ 2147483647 h 166"/>
                <a:gd name="T26" fmla="*/ 2147483647 w 110"/>
                <a:gd name="T27" fmla="*/ 2147483647 h 166"/>
                <a:gd name="T28" fmla="*/ 2147483647 w 110"/>
                <a:gd name="T29" fmla="*/ 2147483647 h 166"/>
                <a:gd name="T30" fmla="*/ 2147483647 w 110"/>
                <a:gd name="T31" fmla="*/ 2147483647 h 166"/>
                <a:gd name="T32" fmla="*/ 2147483647 w 110"/>
                <a:gd name="T33" fmla="*/ 2147483647 h 166"/>
                <a:gd name="T34" fmla="*/ 2147483647 w 110"/>
                <a:gd name="T35" fmla="*/ 2147483647 h 166"/>
                <a:gd name="T36" fmla="*/ 2147483647 w 110"/>
                <a:gd name="T37" fmla="*/ 2147483647 h 166"/>
                <a:gd name="T38" fmla="*/ 2147483647 w 110"/>
                <a:gd name="T39" fmla="*/ 2147483647 h 166"/>
                <a:gd name="T40" fmla="*/ 2147483647 w 110"/>
                <a:gd name="T41" fmla="*/ 2147483647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7 w 195"/>
                <a:gd name="T1" fmla="*/ 2147483647 h 92"/>
                <a:gd name="T2" fmla="*/ 2147483647 w 195"/>
                <a:gd name="T3" fmla="*/ 2147483647 h 92"/>
                <a:gd name="T4" fmla="*/ 2147483647 w 195"/>
                <a:gd name="T5" fmla="*/ 2147483647 h 92"/>
                <a:gd name="T6" fmla="*/ 2147483647 w 195"/>
                <a:gd name="T7" fmla="*/ 2147483647 h 92"/>
                <a:gd name="T8" fmla="*/ 2147483647 w 195"/>
                <a:gd name="T9" fmla="*/ 2147483647 h 92"/>
                <a:gd name="T10" fmla="*/ 2147483647 w 195"/>
                <a:gd name="T11" fmla="*/ 2147483647 h 92"/>
                <a:gd name="T12" fmla="*/ 2147483647 w 195"/>
                <a:gd name="T13" fmla="*/ 2147483647 h 92"/>
                <a:gd name="T14" fmla="*/ 2147483647 w 195"/>
                <a:gd name="T15" fmla="*/ 2147483647 h 92"/>
                <a:gd name="T16" fmla="*/ 2147483647 w 195"/>
                <a:gd name="T17" fmla="*/ 2147483647 h 92"/>
                <a:gd name="T18" fmla="*/ 2147483647 w 195"/>
                <a:gd name="T19" fmla="*/ 2147483647 h 92"/>
                <a:gd name="T20" fmla="*/ 2147483647 w 195"/>
                <a:gd name="T21" fmla="*/ 0 h 92"/>
                <a:gd name="T22" fmla="*/ 2147483647 w 195"/>
                <a:gd name="T23" fmla="*/ 0 h 92"/>
                <a:gd name="T24" fmla="*/ 2147483647 w 195"/>
                <a:gd name="T25" fmla="*/ 2147483647 h 92"/>
                <a:gd name="T26" fmla="*/ 2147483647 w 195"/>
                <a:gd name="T27" fmla="*/ 0 h 92"/>
                <a:gd name="T28" fmla="*/ 2147483647 w 195"/>
                <a:gd name="T29" fmla="*/ 0 h 92"/>
                <a:gd name="T30" fmla="*/ 2147483647 w 195"/>
                <a:gd name="T31" fmla="*/ 2147483647 h 92"/>
                <a:gd name="T32" fmla="*/ 2147483647 w 195"/>
                <a:gd name="T33" fmla="*/ 2147483647 h 92"/>
                <a:gd name="T34" fmla="*/ 2147483647 w 195"/>
                <a:gd name="T35" fmla="*/ 2147483647 h 92"/>
                <a:gd name="T36" fmla="*/ 2147483647 w 195"/>
                <a:gd name="T37" fmla="*/ 2147483647 h 92"/>
                <a:gd name="T38" fmla="*/ 2147483647 w 195"/>
                <a:gd name="T39" fmla="*/ 2147483647 h 92"/>
                <a:gd name="T40" fmla="*/ 2147483647 w 195"/>
                <a:gd name="T41" fmla="*/ 2147483647 h 92"/>
                <a:gd name="T42" fmla="*/ 0 w 195"/>
                <a:gd name="T43" fmla="*/ 2147483647 h 92"/>
                <a:gd name="T44" fmla="*/ 0 w 195"/>
                <a:gd name="T45" fmla="*/ 0 h 92"/>
                <a:gd name="T46" fmla="*/ 2147483647 w 195"/>
                <a:gd name="T47" fmla="*/ 0 h 92"/>
                <a:gd name="T48" fmla="*/ 2147483647 w 195"/>
                <a:gd name="T49" fmla="*/ 2147483647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990619433"/>
      </p:ext>
    </p:extLst>
  </p:cSld>
  <p:clrMapOvr>
    <a:masterClrMapping/>
  </p:clrMapOvr>
  <p:transition spd="med">
    <p:fade/>
  </p:transition>
  <p:hf sldNum="0" hdr="0" ftr="0"/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bg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3423001312"/>
      </p:ext>
    </p:extLst>
  </p:cSld>
  <p:clrMapOvr>
    <a:masterClrMapping/>
  </p:clrMapOvr>
  <p:transition spd="med">
    <p:fade/>
  </p:transition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472895194"/>
      </p:ext>
    </p:extLst>
  </p:cSld>
  <p:clrMapOvr>
    <a:masterClrMapping/>
  </p:clrMapOvr>
  <p:transition spd="med">
    <p:fad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0619804"/>
      </p:ext>
    </p:extLst>
  </p:cSld>
  <p:clrMapOvr>
    <a:masterClrMapping/>
  </p:clrMapOvr>
  <p:transition spd="med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/>
          <p:cNvSpPr txBox="1">
            <a:spLocks noChangeArrowheads="1"/>
          </p:cNvSpPr>
          <p:nvPr/>
        </p:nvSpPr>
        <p:spPr bwMode="auto">
          <a:xfrm>
            <a:off x="250825" y="4779963"/>
            <a:ext cx="344488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3" rIns="0" bIns="45713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253">
              <a:defRPr/>
            </a:pPr>
            <a:fld id="{2CA095D6-8D9C-450C-917E-4ED5DED59E9C}" type="slidenum">
              <a:rPr lang="fr-FR" altLang="fr-FR" sz="1200" smtClean="0">
                <a:solidFill>
                  <a:srgbClr val="000000"/>
                </a:solidFill>
                <a:latin typeface="Helvetica 55 Roman" panose="020B0604020202020204" pitchFamily="2" charset="0"/>
                <a:ea typeface="+mn-ea"/>
                <a:cs typeface="Arial" charset="0"/>
              </a:rPr>
              <a:pPr defTabSz="914253">
                <a:defRPr/>
              </a:pPr>
              <a:t>‹N°›</a:t>
            </a:fld>
            <a:endParaRPr lang="fr-FR" altLang="fr-FR" sz="1600" dirty="0" smtClean="0">
              <a:solidFill>
                <a:srgbClr val="000000"/>
              </a:solidFill>
              <a:latin typeface="Helvetica 55 Roman" panose="020B0604020202020204" pitchFamily="2" charset="0"/>
              <a:ea typeface="+mn-ea"/>
              <a:cs typeface="Arial" charset="0"/>
            </a:endParaRPr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250828" y="228601"/>
            <a:ext cx="8683625" cy="738188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 bwMode="gray">
          <a:xfrm>
            <a:off x="250825" y="1599643"/>
            <a:ext cx="4177160" cy="3071750"/>
          </a:xfrm>
        </p:spPr>
        <p:txBody>
          <a:bodyPr/>
          <a:lstStyle>
            <a:lvl1pPr>
              <a:buSzPct val="100000"/>
              <a:defRPr/>
            </a:lvl1pPr>
            <a:lvl3pPr>
              <a:buSzPct val="100000"/>
              <a:defRPr/>
            </a:lvl3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1"/>
          </p:nvPr>
        </p:nvSpPr>
        <p:spPr>
          <a:xfrm>
            <a:off x="4758450" y="1600629"/>
            <a:ext cx="4176000" cy="307735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lang="fr-FR" dirty="0" smtClean="0"/>
            </a:lvl1pPr>
            <a:lvl2pPr>
              <a:defRPr lang="fr-FR" dirty="0" smtClean="0"/>
            </a:lvl2pPr>
            <a:lvl3pPr>
              <a:defRPr lang="fr-FR" dirty="0" smtClean="0"/>
            </a:lvl3pPr>
            <a:lvl4pPr>
              <a:defRPr lang="fr-FR" dirty="0" smtClean="0"/>
            </a:lvl4pPr>
            <a:lvl5pPr>
              <a:defRPr lang="fr-FR" dirty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250829" y="1114090"/>
            <a:ext cx="4177159" cy="37754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marL="0" indent="0">
              <a:buNone/>
              <a:defRPr lang="fr-FR" sz="2000" b="1" dirty="0" smtClean="0">
                <a:solidFill>
                  <a:schemeClr val="tx2"/>
                </a:solidFill>
                <a:latin typeface="Helvetica 75 Bold" panose="020B0804020202020204" pitchFamily="34" charset="0"/>
              </a:defRPr>
            </a:lvl1pPr>
            <a:lvl2pPr>
              <a:defRPr lang="fr-FR" dirty="0" smtClean="0"/>
            </a:lvl2pPr>
            <a:lvl3pPr>
              <a:defRPr lang="fr-FR" dirty="0" smtClean="0"/>
            </a:lvl3pPr>
            <a:lvl4pPr>
              <a:defRPr lang="fr-FR" dirty="0" smtClean="0"/>
            </a:lvl4pPr>
            <a:lvl5pPr>
              <a:defRPr lang="fr-FR" dirty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4758453" y="1114090"/>
            <a:ext cx="4177159" cy="37754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marL="0" indent="0">
              <a:buNone/>
              <a:defRPr lang="fr-FR" sz="2000" b="1" dirty="0" smtClean="0">
                <a:solidFill>
                  <a:schemeClr val="tx2"/>
                </a:solidFill>
                <a:latin typeface="Helvetica 75 Bold" panose="020B0804020202020204" pitchFamily="34" charset="0"/>
              </a:defRPr>
            </a:lvl1pPr>
            <a:lvl2pPr>
              <a:defRPr lang="fr-FR" dirty="0" smtClean="0"/>
            </a:lvl2pPr>
            <a:lvl3pPr>
              <a:defRPr lang="fr-FR" dirty="0" smtClean="0"/>
            </a:lvl3pPr>
            <a:lvl4pPr>
              <a:defRPr lang="fr-FR" dirty="0" smtClean="0"/>
            </a:lvl4pPr>
            <a:lvl5pPr>
              <a:defRPr lang="fr-FR" dirty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141111116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2973445"/>
      </p:ext>
    </p:extLst>
  </p:cSld>
  <p:clrMapOvr>
    <a:masterClrMapping/>
  </p:clrMapOvr>
  <p:transition spd="med">
    <p:fad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3700782"/>
      </p:ext>
    </p:extLst>
  </p:cSld>
  <p:clrMapOvr>
    <a:masterClrMapping/>
  </p:clrMapOvr>
  <p:transition spd="med">
    <p:fade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2000955"/>
      </p:ext>
    </p:extLst>
  </p:cSld>
  <p:clrMapOvr>
    <a:masterClrMapping/>
  </p:clrMapOvr>
  <p:transition spd="med">
    <p:fade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807705"/>
      </p:ext>
    </p:extLst>
  </p:cSld>
  <p:clrMapOvr>
    <a:masterClrMapping/>
  </p:clrMapOvr>
  <p:transition spd="med"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0301621"/>
      </p:ext>
    </p:extLst>
  </p:cSld>
  <p:clrMapOvr>
    <a:masterClrMapping/>
  </p:clrMapOvr>
  <p:transition spd="med">
    <p:fade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2788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6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5pPr>
              <a:lvl6pPr marL="18811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6pPr>
              <a:lvl7pPr marL="23383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7pPr>
              <a:lvl8pPr marL="27955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8pPr>
              <a:lvl9pPr marL="32527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smtClean="0">
                <a:solidFill>
                  <a:srgbClr val="FF6600"/>
                </a:solidFill>
                <a:latin typeface="Helvetica 75 Bold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7 w 104"/>
                <a:gd name="T1" fmla="*/ 2147483647 h 122"/>
                <a:gd name="T2" fmla="*/ 2147483647 w 104"/>
                <a:gd name="T3" fmla="*/ 2147483647 h 122"/>
                <a:gd name="T4" fmla="*/ 2147483647 w 104"/>
                <a:gd name="T5" fmla="*/ 2147483647 h 122"/>
                <a:gd name="T6" fmla="*/ 2147483647 w 104"/>
                <a:gd name="T7" fmla="*/ 2147483647 h 122"/>
                <a:gd name="T8" fmla="*/ 2147483647 w 104"/>
                <a:gd name="T9" fmla="*/ 2147483647 h 122"/>
                <a:gd name="T10" fmla="*/ 2147483647 w 104"/>
                <a:gd name="T11" fmla="*/ 2147483647 h 122"/>
                <a:gd name="T12" fmla="*/ 2147483647 w 104"/>
                <a:gd name="T13" fmla="*/ 2147483647 h 122"/>
                <a:gd name="T14" fmla="*/ 0 w 104"/>
                <a:gd name="T15" fmla="*/ 2147483647 h 122"/>
                <a:gd name="T16" fmla="*/ 2147483647 w 104"/>
                <a:gd name="T17" fmla="*/ 2147483647 h 122"/>
                <a:gd name="T18" fmla="*/ 2147483647 w 104"/>
                <a:gd name="T19" fmla="*/ 2147483647 h 122"/>
                <a:gd name="T20" fmla="*/ 2147483647 w 104"/>
                <a:gd name="T21" fmla="*/ 2147483647 h 122"/>
                <a:gd name="T22" fmla="*/ 2147483647 w 104"/>
                <a:gd name="T23" fmla="*/ 2147483647 h 122"/>
                <a:gd name="T24" fmla="*/ 2147483647 w 104"/>
                <a:gd name="T25" fmla="*/ 2147483647 h 122"/>
                <a:gd name="T26" fmla="*/ 2147483647 w 104"/>
                <a:gd name="T27" fmla="*/ 0 h 122"/>
                <a:gd name="T28" fmla="*/ 2147483647 w 104"/>
                <a:gd name="T29" fmla="*/ 2147483647 h 122"/>
                <a:gd name="T30" fmla="*/ 2147483647 w 104"/>
                <a:gd name="T31" fmla="*/ 2147483647 h 122"/>
                <a:gd name="T32" fmla="*/ 2147483647 w 104"/>
                <a:gd name="T33" fmla="*/ 2147483647 h 122"/>
                <a:gd name="T34" fmla="*/ 2147483647 w 104"/>
                <a:gd name="T35" fmla="*/ 2147483647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7 h 120"/>
                <a:gd name="T2" fmla="*/ 2147483647 w 105"/>
                <a:gd name="T3" fmla="*/ 2147483647 h 120"/>
                <a:gd name="T4" fmla="*/ 2147483647 w 105"/>
                <a:gd name="T5" fmla="*/ 2147483647 h 120"/>
                <a:gd name="T6" fmla="*/ 2147483647 w 105"/>
                <a:gd name="T7" fmla="*/ 0 h 120"/>
                <a:gd name="T8" fmla="*/ 2147483647 w 105"/>
                <a:gd name="T9" fmla="*/ 2147483647 h 120"/>
                <a:gd name="T10" fmla="*/ 2147483647 w 105"/>
                <a:gd name="T11" fmla="*/ 2147483647 h 120"/>
                <a:gd name="T12" fmla="*/ 2147483647 w 105"/>
                <a:gd name="T13" fmla="*/ 2147483647 h 120"/>
                <a:gd name="T14" fmla="*/ 2147483647 w 105"/>
                <a:gd name="T15" fmla="*/ 2147483647 h 120"/>
                <a:gd name="T16" fmla="*/ 2147483647 w 105"/>
                <a:gd name="T17" fmla="*/ 2147483647 h 120"/>
                <a:gd name="T18" fmla="*/ 2147483647 w 105"/>
                <a:gd name="T19" fmla="*/ 2147483647 h 120"/>
                <a:gd name="T20" fmla="*/ 2147483647 w 105"/>
                <a:gd name="T21" fmla="*/ 2147483647 h 120"/>
                <a:gd name="T22" fmla="*/ 0 w 105"/>
                <a:gd name="T23" fmla="*/ 2147483647 h 120"/>
                <a:gd name="T24" fmla="*/ 0 w 105"/>
                <a:gd name="T25" fmla="*/ 2147483647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7 w 109"/>
                <a:gd name="T1" fmla="*/ 2147483647 h 122"/>
                <a:gd name="T2" fmla="*/ 2147483647 w 109"/>
                <a:gd name="T3" fmla="*/ 2147483647 h 122"/>
                <a:gd name="T4" fmla="*/ 2147483647 w 109"/>
                <a:gd name="T5" fmla="*/ 2147483647 h 122"/>
                <a:gd name="T6" fmla="*/ 2147483647 w 109"/>
                <a:gd name="T7" fmla="*/ 2147483647 h 122"/>
                <a:gd name="T8" fmla="*/ 2147483647 w 109"/>
                <a:gd name="T9" fmla="*/ 2147483647 h 122"/>
                <a:gd name="T10" fmla="*/ 0 w 109"/>
                <a:gd name="T11" fmla="*/ 2147483647 h 122"/>
                <a:gd name="T12" fmla="*/ 2147483647 w 109"/>
                <a:gd name="T13" fmla="*/ 0 h 122"/>
                <a:gd name="T14" fmla="*/ 2147483647 w 109"/>
                <a:gd name="T15" fmla="*/ 2147483647 h 122"/>
                <a:gd name="T16" fmla="*/ 2147483647 w 109"/>
                <a:gd name="T17" fmla="*/ 2147483647 h 122"/>
                <a:gd name="T18" fmla="*/ 2147483647 w 109"/>
                <a:gd name="T19" fmla="*/ 2147483647 h 122"/>
                <a:gd name="T20" fmla="*/ 2147483647 w 109"/>
                <a:gd name="T21" fmla="*/ 2147483647 h 122"/>
                <a:gd name="T22" fmla="*/ 2147483647 w 109"/>
                <a:gd name="T23" fmla="*/ 2147483647 h 122"/>
                <a:gd name="T24" fmla="*/ 2147483647 w 109"/>
                <a:gd name="T25" fmla="*/ 2147483647 h 122"/>
                <a:gd name="T26" fmla="*/ 2147483647 w 109"/>
                <a:gd name="T27" fmla="*/ 2147483647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7 w 116"/>
                <a:gd name="T1" fmla="*/ 2147483647 h 124"/>
                <a:gd name="T2" fmla="*/ 2147483647 w 116"/>
                <a:gd name="T3" fmla="*/ 2147483647 h 124"/>
                <a:gd name="T4" fmla="*/ 2147483647 w 116"/>
                <a:gd name="T5" fmla="*/ 2147483647 h 124"/>
                <a:gd name="T6" fmla="*/ 2147483647 w 116"/>
                <a:gd name="T7" fmla="*/ 2147483647 h 124"/>
                <a:gd name="T8" fmla="*/ 2147483647 w 116"/>
                <a:gd name="T9" fmla="*/ 2147483647 h 124"/>
                <a:gd name="T10" fmla="*/ 2147483647 w 116"/>
                <a:gd name="T11" fmla="*/ 2147483647 h 124"/>
                <a:gd name="T12" fmla="*/ 0 w 116"/>
                <a:gd name="T13" fmla="*/ 2147483647 h 124"/>
                <a:gd name="T14" fmla="*/ 2147483647 w 116"/>
                <a:gd name="T15" fmla="*/ 0 h 124"/>
                <a:gd name="T16" fmla="*/ 2147483647 w 116"/>
                <a:gd name="T17" fmla="*/ 2147483647 h 124"/>
                <a:gd name="T18" fmla="*/ 2147483647 w 116"/>
                <a:gd name="T19" fmla="*/ 2147483647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7 h 120"/>
                <a:gd name="T2" fmla="*/ 2147483647 w 66"/>
                <a:gd name="T3" fmla="*/ 2147483647 h 120"/>
                <a:gd name="T4" fmla="*/ 2147483647 w 66"/>
                <a:gd name="T5" fmla="*/ 2147483647 h 120"/>
                <a:gd name="T6" fmla="*/ 2147483647 w 66"/>
                <a:gd name="T7" fmla="*/ 0 h 120"/>
                <a:gd name="T8" fmla="*/ 2147483647 w 66"/>
                <a:gd name="T9" fmla="*/ 2147483647 h 120"/>
                <a:gd name="T10" fmla="*/ 2147483647 w 66"/>
                <a:gd name="T11" fmla="*/ 2147483647 h 120"/>
                <a:gd name="T12" fmla="*/ 2147483647 w 66"/>
                <a:gd name="T13" fmla="*/ 2147483647 h 120"/>
                <a:gd name="T14" fmla="*/ 2147483647 w 66"/>
                <a:gd name="T15" fmla="*/ 2147483647 h 120"/>
                <a:gd name="T16" fmla="*/ 2147483647 w 66"/>
                <a:gd name="T17" fmla="*/ 2147483647 h 120"/>
                <a:gd name="T18" fmla="*/ 0 w 66"/>
                <a:gd name="T19" fmla="*/ 2147483647 h 120"/>
                <a:gd name="T20" fmla="*/ 0 w 66"/>
                <a:gd name="T21" fmla="*/ 2147483647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7 w 110"/>
                <a:gd name="T1" fmla="*/ 2147483647 h 166"/>
                <a:gd name="T2" fmla="*/ 2147483647 w 110"/>
                <a:gd name="T3" fmla="*/ 2147483647 h 166"/>
                <a:gd name="T4" fmla="*/ 2147483647 w 110"/>
                <a:gd name="T5" fmla="*/ 2147483647 h 166"/>
                <a:gd name="T6" fmla="*/ 2147483647 w 110"/>
                <a:gd name="T7" fmla="*/ 2147483647 h 166"/>
                <a:gd name="T8" fmla="*/ 2147483647 w 110"/>
                <a:gd name="T9" fmla="*/ 2147483647 h 166"/>
                <a:gd name="T10" fmla="*/ 2147483647 w 110"/>
                <a:gd name="T11" fmla="*/ 2147483647 h 166"/>
                <a:gd name="T12" fmla="*/ 2147483647 w 110"/>
                <a:gd name="T13" fmla="*/ 2147483647 h 166"/>
                <a:gd name="T14" fmla="*/ 2147483647 w 110"/>
                <a:gd name="T15" fmla="*/ 2147483647 h 166"/>
                <a:gd name="T16" fmla="*/ 2147483647 w 110"/>
                <a:gd name="T17" fmla="*/ 2147483647 h 166"/>
                <a:gd name="T18" fmla="*/ 2147483647 w 110"/>
                <a:gd name="T19" fmla="*/ 2147483647 h 166"/>
                <a:gd name="T20" fmla="*/ 0 w 110"/>
                <a:gd name="T21" fmla="*/ 2147483647 h 166"/>
                <a:gd name="T22" fmla="*/ 2147483647 w 110"/>
                <a:gd name="T23" fmla="*/ 0 h 166"/>
                <a:gd name="T24" fmla="*/ 2147483647 w 110"/>
                <a:gd name="T25" fmla="*/ 2147483647 h 166"/>
                <a:gd name="T26" fmla="*/ 2147483647 w 110"/>
                <a:gd name="T27" fmla="*/ 2147483647 h 166"/>
                <a:gd name="T28" fmla="*/ 2147483647 w 110"/>
                <a:gd name="T29" fmla="*/ 2147483647 h 166"/>
                <a:gd name="T30" fmla="*/ 2147483647 w 110"/>
                <a:gd name="T31" fmla="*/ 2147483647 h 166"/>
                <a:gd name="T32" fmla="*/ 2147483647 w 110"/>
                <a:gd name="T33" fmla="*/ 2147483647 h 166"/>
                <a:gd name="T34" fmla="*/ 2147483647 w 110"/>
                <a:gd name="T35" fmla="*/ 2147483647 h 166"/>
                <a:gd name="T36" fmla="*/ 2147483647 w 110"/>
                <a:gd name="T37" fmla="*/ 2147483647 h 166"/>
                <a:gd name="T38" fmla="*/ 2147483647 w 110"/>
                <a:gd name="T39" fmla="*/ 2147483647 h 166"/>
                <a:gd name="T40" fmla="*/ 2147483647 w 110"/>
                <a:gd name="T41" fmla="*/ 2147483647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7 w 195"/>
                <a:gd name="T1" fmla="*/ 2147483647 h 92"/>
                <a:gd name="T2" fmla="*/ 2147483647 w 195"/>
                <a:gd name="T3" fmla="*/ 2147483647 h 92"/>
                <a:gd name="T4" fmla="*/ 2147483647 w 195"/>
                <a:gd name="T5" fmla="*/ 2147483647 h 92"/>
                <a:gd name="T6" fmla="*/ 2147483647 w 195"/>
                <a:gd name="T7" fmla="*/ 2147483647 h 92"/>
                <a:gd name="T8" fmla="*/ 2147483647 w 195"/>
                <a:gd name="T9" fmla="*/ 2147483647 h 92"/>
                <a:gd name="T10" fmla="*/ 2147483647 w 195"/>
                <a:gd name="T11" fmla="*/ 2147483647 h 92"/>
                <a:gd name="T12" fmla="*/ 2147483647 w 195"/>
                <a:gd name="T13" fmla="*/ 2147483647 h 92"/>
                <a:gd name="T14" fmla="*/ 2147483647 w 195"/>
                <a:gd name="T15" fmla="*/ 2147483647 h 92"/>
                <a:gd name="T16" fmla="*/ 2147483647 w 195"/>
                <a:gd name="T17" fmla="*/ 2147483647 h 92"/>
                <a:gd name="T18" fmla="*/ 2147483647 w 195"/>
                <a:gd name="T19" fmla="*/ 2147483647 h 92"/>
                <a:gd name="T20" fmla="*/ 2147483647 w 195"/>
                <a:gd name="T21" fmla="*/ 0 h 92"/>
                <a:gd name="T22" fmla="*/ 2147483647 w 195"/>
                <a:gd name="T23" fmla="*/ 0 h 92"/>
                <a:gd name="T24" fmla="*/ 2147483647 w 195"/>
                <a:gd name="T25" fmla="*/ 2147483647 h 92"/>
                <a:gd name="T26" fmla="*/ 2147483647 w 195"/>
                <a:gd name="T27" fmla="*/ 0 h 92"/>
                <a:gd name="T28" fmla="*/ 2147483647 w 195"/>
                <a:gd name="T29" fmla="*/ 0 h 92"/>
                <a:gd name="T30" fmla="*/ 2147483647 w 195"/>
                <a:gd name="T31" fmla="*/ 2147483647 h 92"/>
                <a:gd name="T32" fmla="*/ 2147483647 w 195"/>
                <a:gd name="T33" fmla="*/ 2147483647 h 92"/>
                <a:gd name="T34" fmla="*/ 2147483647 w 195"/>
                <a:gd name="T35" fmla="*/ 2147483647 h 92"/>
                <a:gd name="T36" fmla="*/ 2147483647 w 195"/>
                <a:gd name="T37" fmla="*/ 2147483647 h 92"/>
                <a:gd name="T38" fmla="*/ 2147483647 w 195"/>
                <a:gd name="T39" fmla="*/ 2147483647 h 92"/>
                <a:gd name="T40" fmla="*/ 2147483647 w 195"/>
                <a:gd name="T41" fmla="*/ 2147483647 h 92"/>
                <a:gd name="T42" fmla="*/ 0 w 195"/>
                <a:gd name="T43" fmla="*/ 2147483647 h 92"/>
                <a:gd name="T44" fmla="*/ 0 w 195"/>
                <a:gd name="T45" fmla="*/ 0 h 92"/>
                <a:gd name="T46" fmla="*/ 2147483647 w 195"/>
                <a:gd name="T47" fmla="*/ 0 h 92"/>
                <a:gd name="T48" fmla="*/ 2147483647 w 195"/>
                <a:gd name="T49" fmla="*/ 2147483647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142506329"/>
      </p:ext>
    </p:extLst>
  </p:cSld>
  <p:clrMapOvr>
    <a:masterClrMapping/>
  </p:clrMapOvr>
  <p:transition spd="med">
    <p:fade/>
  </p:transition>
  <p:hf sldNum="0" hdr="0" ftr="0"/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bg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3159638246"/>
      </p:ext>
    </p:extLst>
  </p:cSld>
  <p:clrMapOvr>
    <a:masterClrMapping/>
  </p:clrMapOvr>
  <p:transition spd="med">
    <p:fade/>
  </p:transition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091313803"/>
      </p:ext>
    </p:extLst>
  </p:cSld>
  <p:clrMapOvr>
    <a:masterClrMapping/>
  </p:clrMapOvr>
  <p:transition spd="med">
    <p:fade/>
  </p:transition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6760379"/>
      </p:ext>
    </p:extLst>
  </p:cSld>
  <p:clrMapOvr>
    <a:masterClrMapping/>
  </p:clrMapOvr>
  <p:transition spd="med">
    <p:fade/>
  </p:transition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1905848"/>
      </p:ext>
    </p:extLst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62"/>
          <p:cNvSpPr>
            <a:spLocks noChangeArrowheads="1"/>
          </p:cNvSpPr>
          <p:nvPr userDrawn="1"/>
        </p:nvSpPr>
        <p:spPr bwMode="auto">
          <a:xfrm rot="16200000">
            <a:off x="7676357" y="3601244"/>
            <a:ext cx="2795587" cy="18732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45713" rIns="0" bIns="45713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253" eaLnBrk="1" hangingPunct="1">
              <a:defRPr/>
            </a:pPr>
            <a:r>
              <a:rPr lang="en-GB" altLang="fr-FR" sz="700" dirty="0" smtClean="0">
                <a:solidFill>
                  <a:srgbClr val="7F7F7F"/>
                </a:solidFill>
                <a:latin typeface="Helvetica 55 Roman" pitchFamily="2" charset="0"/>
                <a:ea typeface="+mn-ea"/>
              </a:rPr>
              <a:t>Interne</a:t>
            </a:r>
            <a:r>
              <a:rPr lang="en-US" altLang="fr-FR" sz="700" dirty="0" smtClean="0">
                <a:solidFill>
                  <a:srgbClr val="7F7F7F"/>
                </a:solidFill>
                <a:latin typeface="Helvetica 55 Roman" pitchFamily="2" charset="0"/>
                <a:ea typeface="+mn-ea"/>
              </a:rPr>
              <a:t> Orange – DR Orange Open pro partagé </a:t>
            </a:r>
          </a:p>
        </p:txBody>
      </p:sp>
      <p:sp>
        <p:nvSpPr>
          <p:cNvPr id="4" name="ZoneTexte 3"/>
          <p:cNvSpPr txBox="1">
            <a:spLocks noChangeArrowheads="1"/>
          </p:cNvSpPr>
          <p:nvPr userDrawn="1"/>
        </p:nvSpPr>
        <p:spPr bwMode="auto">
          <a:xfrm>
            <a:off x="107950" y="4779963"/>
            <a:ext cx="23018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3" rIns="0" bIns="45713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253">
              <a:defRPr/>
            </a:pPr>
            <a:fld id="{01F4B155-FBD5-42F9-B26B-41DCC7C4B19F}" type="slidenum">
              <a:rPr lang="fr-FR" altLang="fr-FR" sz="800" smtClean="0">
                <a:solidFill>
                  <a:srgbClr val="000000"/>
                </a:solidFill>
                <a:latin typeface="Helvetica 55 Roman" panose="020B0604020202020204" pitchFamily="2" charset="0"/>
                <a:ea typeface="+mn-ea"/>
                <a:cs typeface="Arial" charset="0"/>
              </a:rPr>
              <a:pPr defTabSz="914253">
                <a:defRPr/>
              </a:pPr>
              <a:t>‹N°›</a:t>
            </a:fld>
            <a:endParaRPr lang="fr-FR" altLang="fr-FR" sz="800" dirty="0" smtClean="0">
              <a:solidFill>
                <a:srgbClr val="000000"/>
              </a:solidFill>
              <a:latin typeface="Helvetica 55 Roman" panose="020B0604020202020204" pitchFamily="2" charset="0"/>
              <a:ea typeface="+mn-ea"/>
              <a:cs typeface="Arial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0737920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0657472"/>
      </p:ext>
    </p:extLst>
  </p:cSld>
  <p:clrMapOvr>
    <a:masterClrMapping/>
  </p:clrMapOvr>
  <p:transition spd="med">
    <p:fade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854488"/>
      </p:ext>
    </p:extLst>
  </p:cSld>
  <p:clrMapOvr>
    <a:masterClrMapping/>
  </p:clrMapOvr>
  <p:transition spd="med">
    <p:fade/>
  </p:transition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6424232"/>
      </p:ext>
    </p:extLst>
  </p:cSld>
  <p:clrMapOvr>
    <a:masterClrMapping/>
  </p:clrMapOvr>
  <p:transition spd="med">
    <p:fade/>
  </p:transition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73114470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>
            <a:spLocks noChangeArrowheads="1"/>
          </p:cNvSpPr>
          <p:nvPr/>
        </p:nvSpPr>
        <p:spPr bwMode="auto">
          <a:xfrm>
            <a:off x="250825" y="4779963"/>
            <a:ext cx="250825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rIns="0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400">
              <a:defRPr/>
            </a:pPr>
            <a:fld id="{CC46AB0B-B48B-418B-9A9F-12F9B1F53F93}" type="slidenum">
              <a:rPr lang="fr-FR" altLang="fr-FR" sz="1200" smtClean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pPr defTabSz="914400">
                <a:defRPr/>
              </a:pPr>
              <a:t>‹N°›</a:t>
            </a:fld>
            <a:endParaRPr lang="fr-FR" altLang="fr-FR" sz="1600" dirty="0" smtClean="0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 bwMode="gray">
          <a:xfrm>
            <a:off x="250827" y="1059583"/>
            <a:ext cx="8664575" cy="3611810"/>
          </a:xfrm>
        </p:spPr>
        <p:txBody>
          <a:bodyPr/>
          <a:lstStyle>
            <a:lvl1pPr>
              <a:buSzPct val="100000"/>
              <a:defRPr/>
            </a:lvl1pPr>
            <a:lvl3pPr>
              <a:buSzPct val="100000"/>
              <a:defRPr/>
            </a:lvl3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40431668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/>
          <p:cNvSpPr txBox="1">
            <a:spLocks noChangeArrowheads="1"/>
          </p:cNvSpPr>
          <p:nvPr/>
        </p:nvSpPr>
        <p:spPr bwMode="auto">
          <a:xfrm>
            <a:off x="250825" y="4779963"/>
            <a:ext cx="252413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rIns="0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400">
              <a:defRPr/>
            </a:pPr>
            <a:fld id="{37B5F3EA-BAAF-4D5E-B1F9-BE5ADB899A1A}" type="slidenum">
              <a:rPr lang="fr-FR" altLang="fr-FR" sz="1200" smtClean="0">
                <a:solidFill>
                  <a:srgbClr val="000000"/>
                </a:solidFill>
                <a:latin typeface="Helvetica 55 Roman" panose="020B0604020202020204" pitchFamily="2" charset="0"/>
                <a:ea typeface="ＭＳ Ｐゴシック" pitchFamily="34" charset="-128"/>
                <a:cs typeface="Arial" charset="0"/>
              </a:rPr>
              <a:pPr defTabSz="914400">
                <a:defRPr/>
              </a:pPr>
              <a:t>‹N°›</a:t>
            </a:fld>
            <a:endParaRPr lang="fr-FR" altLang="fr-FR" sz="1600" dirty="0" smtClean="0">
              <a:solidFill>
                <a:srgbClr val="000000"/>
              </a:solidFill>
              <a:latin typeface="Helvetica 55 Roman" panose="020B0604020202020204" pitchFamily="2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250828" y="228601"/>
            <a:ext cx="8683625" cy="738188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 bwMode="gray">
          <a:xfrm>
            <a:off x="250825" y="1599643"/>
            <a:ext cx="4177160" cy="3071750"/>
          </a:xfrm>
        </p:spPr>
        <p:txBody>
          <a:bodyPr/>
          <a:lstStyle>
            <a:lvl1pPr>
              <a:buSzPct val="100000"/>
              <a:defRPr/>
            </a:lvl1pPr>
            <a:lvl3pPr>
              <a:buSzPct val="100000"/>
              <a:defRPr/>
            </a:lvl3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1"/>
          </p:nvPr>
        </p:nvSpPr>
        <p:spPr>
          <a:xfrm>
            <a:off x="4758450" y="1600628"/>
            <a:ext cx="4176000" cy="307735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lang="fr-FR" dirty="0" smtClean="0"/>
            </a:lvl1pPr>
            <a:lvl2pPr>
              <a:defRPr lang="fr-FR" dirty="0" smtClean="0"/>
            </a:lvl2pPr>
            <a:lvl3pPr>
              <a:defRPr lang="fr-FR" dirty="0" smtClean="0"/>
            </a:lvl3pPr>
            <a:lvl4pPr>
              <a:defRPr lang="fr-FR" dirty="0" smtClean="0"/>
            </a:lvl4pPr>
            <a:lvl5pPr>
              <a:defRPr lang="fr-FR" dirty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250825" y="1114090"/>
            <a:ext cx="4177159" cy="37754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marL="0" indent="0">
              <a:buNone/>
              <a:defRPr lang="fr-FR" sz="2000" b="1" dirty="0" smtClean="0">
                <a:solidFill>
                  <a:schemeClr val="tx2"/>
                </a:solidFill>
                <a:latin typeface="Helvetica 75 Bold" panose="020B0804020202020204" pitchFamily="34" charset="0"/>
              </a:defRPr>
            </a:lvl1pPr>
            <a:lvl2pPr>
              <a:defRPr lang="fr-FR" dirty="0" smtClean="0"/>
            </a:lvl2pPr>
            <a:lvl3pPr>
              <a:defRPr lang="fr-FR" dirty="0" smtClean="0"/>
            </a:lvl3pPr>
            <a:lvl4pPr>
              <a:defRPr lang="fr-FR" dirty="0" smtClean="0"/>
            </a:lvl4pPr>
            <a:lvl5pPr>
              <a:defRPr lang="fr-FR" dirty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4758453" y="1114090"/>
            <a:ext cx="4177159" cy="37754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marL="0" indent="0">
              <a:buNone/>
              <a:defRPr lang="fr-FR" sz="2000" b="1" dirty="0" smtClean="0">
                <a:solidFill>
                  <a:schemeClr val="tx2"/>
                </a:solidFill>
                <a:latin typeface="Helvetica 75 Bold" panose="020B0804020202020204" pitchFamily="34" charset="0"/>
              </a:defRPr>
            </a:lvl1pPr>
            <a:lvl2pPr>
              <a:defRPr lang="fr-FR" dirty="0" smtClean="0"/>
            </a:lvl2pPr>
            <a:lvl3pPr>
              <a:defRPr lang="fr-FR" dirty="0" smtClean="0"/>
            </a:lvl3pPr>
            <a:lvl4pPr>
              <a:defRPr lang="fr-FR" dirty="0" smtClean="0"/>
            </a:lvl4pPr>
            <a:lvl5pPr>
              <a:defRPr lang="fr-FR" dirty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058339575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/>
          <p:cNvSpPr txBox="1">
            <a:spLocks noChangeArrowheads="1"/>
          </p:cNvSpPr>
          <p:nvPr/>
        </p:nvSpPr>
        <p:spPr bwMode="auto">
          <a:xfrm>
            <a:off x="250825" y="4779963"/>
            <a:ext cx="252413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rIns="0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400">
              <a:defRPr/>
            </a:pPr>
            <a:fld id="{514980DD-C848-4F35-B7A4-EB3F1E506D0E}" type="slidenum">
              <a:rPr lang="fr-FR" altLang="fr-FR" sz="1200" smtClean="0">
                <a:solidFill>
                  <a:srgbClr val="000000"/>
                </a:solidFill>
                <a:latin typeface="Helvetica 55 Roman" panose="020B0604020202020204" pitchFamily="2" charset="0"/>
                <a:ea typeface="ＭＳ Ｐゴシック" pitchFamily="34" charset="-128"/>
                <a:cs typeface="Arial" charset="0"/>
              </a:rPr>
              <a:pPr defTabSz="914400">
                <a:defRPr/>
              </a:pPr>
              <a:t>‹N°›</a:t>
            </a:fld>
            <a:endParaRPr lang="fr-FR" altLang="fr-FR" sz="1600" dirty="0" smtClean="0">
              <a:solidFill>
                <a:srgbClr val="000000"/>
              </a:solidFill>
              <a:latin typeface="Helvetica 55 Roman" panose="020B0604020202020204" pitchFamily="2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0577339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>
            <a:spLocks noChangeArrowheads="1"/>
          </p:cNvSpPr>
          <p:nvPr/>
        </p:nvSpPr>
        <p:spPr bwMode="auto">
          <a:xfrm>
            <a:off x="250825" y="4779963"/>
            <a:ext cx="252413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rIns="0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400">
              <a:defRPr/>
            </a:pPr>
            <a:fld id="{FE24C930-4DBA-4F65-BEBC-FBA6F9B68F03}" type="slidenum">
              <a:rPr lang="fr-FR" altLang="fr-FR" sz="1200" smtClean="0">
                <a:solidFill>
                  <a:srgbClr val="000000"/>
                </a:solidFill>
                <a:latin typeface="Helvetica 55 Roman" panose="020B0604020202020204" pitchFamily="2" charset="0"/>
                <a:ea typeface="ＭＳ Ｐゴシック" pitchFamily="34" charset="-128"/>
                <a:cs typeface="Arial" charset="0"/>
              </a:rPr>
              <a:pPr defTabSz="914400">
                <a:defRPr/>
              </a:pPr>
              <a:t>‹N°›</a:t>
            </a:fld>
            <a:endParaRPr lang="fr-FR" altLang="fr-FR" sz="1600" dirty="0" smtClean="0">
              <a:solidFill>
                <a:srgbClr val="000000"/>
              </a:solidFill>
              <a:latin typeface="Helvetica 55 Roman" panose="020B0604020202020204" pitchFamily="2" charset="0"/>
              <a:ea typeface="ＭＳ Ｐゴシック" pitchFamily="34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2562611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EMTA8361\Documents\Divers\Logos\O BS logo bottom right_RGB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6338" y="4300538"/>
            <a:ext cx="1319212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63558" y="1597819"/>
            <a:ext cx="8474400" cy="839589"/>
          </a:xfrm>
        </p:spPr>
        <p:txBody>
          <a:bodyPr>
            <a:spAutoFit/>
          </a:bodyPr>
          <a:lstStyle>
            <a:lvl1pPr>
              <a:defRPr sz="4400" b="0"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363557" y="2400302"/>
            <a:ext cx="8474400" cy="473976"/>
          </a:xfrm>
        </p:spPr>
        <p:txBody>
          <a:bodyPr>
            <a:spAutoFit/>
          </a:bodyPr>
          <a:lstStyle>
            <a:lvl1pPr marL="344488" indent="-344488">
              <a:buClr>
                <a:schemeClr val="bg1">
                  <a:lumMod val="50000"/>
                  <a:lumOff val="50000"/>
                </a:schemeClr>
              </a:buClr>
              <a:buSzPct val="100000"/>
              <a:buFont typeface="Helvetica 35 Thin" pitchFamily="34" charset="0"/>
              <a:buChar char="&gt;"/>
              <a:defRPr sz="2800">
                <a:solidFill>
                  <a:schemeClr val="bg1">
                    <a:lumMod val="50000"/>
                    <a:lumOff val="50000"/>
                  </a:schemeClr>
                </a:solidFill>
                <a:latin typeface="Helvetica 75 Bold" panose="020B0804020202020204" pitchFamily="34" charset="0"/>
              </a:defRPr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1"/>
          </p:nvPr>
        </p:nvSpPr>
        <p:spPr>
          <a:xfrm>
            <a:off x="363556" y="3314702"/>
            <a:ext cx="8474400" cy="236988"/>
          </a:xfrm>
        </p:spPr>
        <p:txBody>
          <a:bodyPr>
            <a:spAutoFit/>
          </a:bodyPr>
          <a:lstStyle>
            <a:lvl1pPr marL="0" indent="0">
              <a:buNone/>
              <a:defRPr sz="1400"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820847960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63558" y="1598755"/>
            <a:ext cx="7772400" cy="251889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fr-FR" sz="6600" b="0"/>
            </a:lvl1pPr>
          </a:lstStyle>
          <a:p>
            <a:pPr lvl="0"/>
            <a:r>
              <a:rPr lang="fr-FR" smtClean="0"/>
              <a:t>Cliquez pour modifier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431449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4252002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62"/>
          <p:cNvSpPr>
            <a:spLocks noChangeArrowheads="1"/>
          </p:cNvSpPr>
          <p:nvPr userDrawn="1"/>
        </p:nvSpPr>
        <p:spPr bwMode="auto">
          <a:xfrm rot="16200000">
            <a:off x="7676357" y="3601244"/>
            <a:ext cx="2795587" cy="18732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45713" rIns="0" bIns="45713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253" eaLnBrk="1" hangingPunct="1">
              <a:defRPr/>
            </a:pPr>
            <a:r>
              <a:rPr lang="en-GB" altLang="fr-FR" sz="700" dirty="0" smtClean="0">
                <a:solidFill>
                  <a:srgbClr val="7F7F7F"/>
                </a:solidFill>
                <a:latin typeface="Helvetica 55 Roman" pitchFamily="2" charset="0"/>
                <a:ea typeface="+mn-ea"/>
              </a:rPr>
              <a:t>Interne</a:t>
            </a:r>
            <a:r>
              <a:rPr lang="en-US" altLang="fr-FR" sz="700" dirty="0" smtClean="0">
                <a:solidFill>
                  <a:srgbClr val="7F7F7F"/>
                </a:solidFill>
                <a:latin typeface="Helvetica 55 Roman" pitchFamily="2" charset="0"/>
                <a:ea typeface="+mn-ea"/>
              </a:rPr>
              <a:t> Orange – DR Orange Open pro partagé </a:t>
            </a:r>
          </a:p>
        </p:txBody>
      </p:sp>
      <p:sp>
        <p:nvSpPr>
          <p:cNvPr id="3" name="ZoneTexte 2"/>
          <p:cNvSpPr txBox="1">
            <a:spLocks noChangeArrowheads="1"/>
          </p:cNvSpPr>
          <p:nvPr userDrawn="1"/>
        </p:nvSpPr>
        <p:spPr bwMode="auto">
          <a:xfrm>
            <a:off x="107950" y="4779963"/>
            <a:ext cx="23018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3" rIns="0" bIns="45713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253">
              <a:defRPr/>
            </a:pPr>
            <a:fld id="{5B3432A3-D4A5-4642-A322-FDA6CFCAE761}" type="slidenum">
              <a:rPr lang="fr-FR" altLang="fr-FR" sz="800" smtClean="0">
                <a:solidFill>
                  <a:srgbClr val="000000"/>
                </a:solidFill>
                <a:latin typeface="Helvetica 55 Roman" panose="020B0604020202020204" pitchFamily="2" charset="0"/>
                <a:ea typeface="+mn-ea"/>
                <a:cs typeface="Arial" charset="0"/>
              </a:rPr>
              <a:pPr defTabSz="914253">
                <a:defRPr/>
              </a:pPr>
              <a:t>‹N°›</a:t>
            </a:fld>
            <a:endParaRPr lang="fr-FR" altLang="fr-FR" sz="800" dirty="0" smtClean="0">
              <a:solidFill>
                <a:srgbClr val="000000"/>
              </a:solidFill>
              <a:latin typeface="Helvetica 55 Roman" panose="020B0604020202020204" pitchFamily="2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3560779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2788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6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5pPr>
              <a:lvl6pPr marL="18811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6pPr>
              <a:lvl7pPr marL="23383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7pPr>
              <a:lvl8pPr marL="27955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8pPr>
              <a:lvl9pPr marL="32527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smtClean="0">
                <a:solidFill>
                  <a:srgbClr val="FF6600"/>
                </a:solidFill>
                <a:latin typeface="Helvetica 75 Bold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7 w 104"/>
                <a:gd name="T1" fmla="*/ 2147483647 h 122"/>
                <a:gd name="T2" fmla="*/ 2147483647 w 104"/>
                <a:gd name="T3" fmla="*/ 2147483647 h 122"/>
                <a:gd name="T4" fmla="*/ 2147483647 w 104"/>
                <a:gd name="T5" fmla="*/ 2147483647 h 122"/>
                <a:gd name="T6" fmla="*/ 2147483647 w 104"/>
                <a:gd name="T7" fmla="*/ 2147483647 h 122"/>
                <a:gd name="T8" fmla="*/ 2147483647 w 104"/>
                <a:gd name="T9" fmla="*/ 2147483647 h 122"/>
                <a:gd name="T10" fmla="*/ 2147483647 w 104"/>
                <a:gd name="T11" fmla="*/ 2147483647 h 122"/>
                <a:gd name="T12" fmla="*/ 2147483647 w 104"/>
                <a:gd name="T13" fmla="*/ 2147483647 h 122"/>
                <a:gd name="T14" fmla="*/ 0 w 104"/>
                <a:gd name="T15" fmla="*/ 2147483647 h 122"/>
                <a:gd name="T16" fmla="*/ 2147483647 w 104"/>
                <a:gd name="T17" fmla="*/ 2147483647 h 122"/>
                <a:gd name="T18" fmla="*/ 2147483647 w 104"/>
                <a:gd name="T19" fmla="*/ 2147483647 h 122"/>
                <a:gd name="T20" fmla="*/ 2147483647 w 104"/>
                <a:gd name="T21" fmla="*/ 2147483647 h 122"/>
                <a:gd name="T22" fmla="*/ 2147483647 w 104"/>
                <a:gd name="T23" fmla="*/ 2147483647 h 122"/>
                <a:gd name="T24" fmla="*/ 2147483647 w 104"/>
                <a:gd name="T25" fmla="*/ 2147483647 h 122"/>
                <a:gd name="T26" fmla="*/ 2147483647 w 104"/>
                <a:gd name="T27" fmla="*/ 0 h 122"/>
                <a:gd name="T28" fmla="*/ 2147483647 w 104"/>
                <a:gd name="T29" fmla="*/ 2147483647 h 122"/>
                <a:gd name="T30" fmla="*/ 2147483647 w 104"/>
                <a:gd name="T31" fmla="*/ 2147483647 h 122"/>
                <a:gd name="T32" fmla="*/ 2147483647 w 104"/>
                <a:gd name="T33" fmla="*/ 2147483647 h 122"/>
                <a:gd name="T34" fmla="*/ 2147483647 w 104"/>
                <a:gd name="T35" fmla="*/ 2147483647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7 h 120"/>
                <a:gd name="T2" fmla="*/ 2147483647 w 105"/>
                <a:gd name="T3" fmla="*/ 2147483647 h 120"/>
                <a:gd name="T4" fmla="*/ 2147483647 w 105"/>
                <a:gd name="T5" fmla="*/ 2147483647 h 120"/>
                <a:gd name="T6" fmla="*/ 2147483647 w 105"/>
                <a:gd name="T7" fmla="*/ 0 h 120"/>
                <a:gd name="T8" fmla="*/ 2147483647 w 105"/>
                <a:gd name="T9" fmla="*/ 2147483647 h 120"/>
                <a:gd name="T10" fmla="*/ 2147483647 w 105"/>
                <a:gd name="T11" fmla="*/ 2147483647 h 120"/>
                <a:gd name="T12" fmla="*/ 2147483647 w 105"/>
                <a:gd name="T13" fmla="*/ 2147483647 h 120"/>
                <a:gd name="T14" fmla="*/ 2147483647 w 105"/>
                <a:gd name="T15" fmla="*/ 2147483647 h 120"/>
                <a:gd name="T16" fmla="*/ 2147483647 w 105"/>
                <a:gd name="T17" fmla="*/ 2147483647 h 120"/>
                <a:gd name="T18" fmla="*/ 2147483647 w 105"/>
                <a:gd name="T19" fmla="*/ 2147483647 h 120"/>
                <a:gd name="T20" fmla="*/ 2147483647 w 105"/>
                <a:gd name="T21" fmla="*/ 2147483647 h 120"/>
                <a:gd name="T22" fmla="*/ 0 w 105"/>
                <a:gd name="T23" fmla="*/ 2147483647 h 120"/>
                <a:gd name="T24" fmla="*/ 0 w 105"/>
                <a:gd name="T25" fmla="*/ 2147483647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7 w 109"/>
                <a:gd name="T1" fmla="*/ 2147483647 h 122"/>
                <a:gd name="T2" fmla="*/ 2147483647 w 109"/>
                <a:gd name="T3" fmla="*/ 2147483647 h 122"/>
                <a:gd name="T4" fmla="*/ 2147483647 w 109"/>
                <a:gd name="T5" fmla="*/ 2147483647 h 122"/>
                <a:gd name="T6" fmla="*/ 2147483647 w 109"/>
                <a:gd name="T7" fmla="*/ 2147483647 h 122"/>
                <a:gd name="T8" fmla="*/ 2147483647 w 109"/>
                <a:gd name="T9" fmla="*/ 2147483647 h 122"/>
                <a:gd name="T10" fmla="*/ 0 w 109"/>
                <a:gd name="T11" fmla="*/ 2147483647 h 122"/>
                <a:gd name="T12" fmla="*/ 2147483647 w 109"/>
                <a:gd name="T13" fmla="*/ 0 h 122"/>
                <a:gd name="T14" fmla="*/ 2147483647 w 109"/>
                <a:gd name="T15" fmla="*/ 2147483647 h 122"/>
                <a:gd name="T16" fmla="*/ 2147483647 w 109"/>
                <a:gd name="T17" fmla="*/ 2147483647 h 122"/>
                <a:gd name="T18" fmla="*/ 2147483647 w 109"/>
                <a:gd name="T19" fmla="*/ 2147483647 h 122"/>
                <a:gd name="T20" fmla="*/ 2147483647 w 109"/>
                <a:gd name="T21" fmla="*/ 2147483647 h 122"/>
                <a:gd name="T22" fmla="*/ 2147483647 w 109"/>
                <a:gd name="T23" fmla="*/ 2147483647 h 122"/>
                <a:gd name="T24" fmla="*/ 2147483647 w 109"/>
                <a:gd name="T25" fmla="*/ 2147483647 h 122"/>
                <a:gd name="T26" fmla="*/ 2147483647 w 109"/>
                <a:gd name="T27" fmla="*/ 2147483647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7 w 116"/>
                <a:gd name="T1" fmla="*/ 2147483647 h 124"/>
                <a:gd name="T2" fmla="*/ 2147483647 w 116"/>
                <a:gd name="T3" fmla="*/ 2147483647 h 124"/>
                <a:gd name="T4" fmla="*/ 2147483647 w 116"/>
                <a:gd name="T5" fmla="*/ 2147483647 h 124"/>
                <a:gd name="T6" fmla="*/ 2147483647 w 116"/>
                <a:gd name="T7" fmla="*/ 2147483647 h 124"/>
                <a:gd name="T8" fmla="*/ 2147483647 w 116"/>
                <a:gd name="T9" fmla="*/ 2147483647 h 124"/>
                <a:gd name="T10" fmla="*/ 2147483647 w 116"/>
                <a:gd name="T11" fmla="*/ 2147483647 h 124"/>
                <a:gd name="T12" fmla="*/ 0 w 116"/>
                <a:gd name="T13" fmla="*/ 2147483647 h 124"/>
                <a:gd name="T14" fmla="*/ 2147483647 w 116"/>
                <a:gd name="T15" fmla="*/ 0 h 124"/>
                <a:gd name="T16" fmla="*/ 2147483647 w 116"/>
                <a:gd name="T17" fmla="*/ 2147483647 h 124"/>
                <a:gd name="T18" fmla="*/ 2147483647 w 116"/>
                <a:gd name="T19" fmla="*/ 2147483647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7 h 120"/>
                <a:gd name="T2" fmla="*/ 2147483647 w 66"/>
                <a:gd name="T3" fmla="*/ 2147483647 h 120"/>
                <a:gd name="T4" fmla="*/ 2147483647 w 66"/>
                <a:gd name="T5" fmla="*/ 2147483647 h 120"/>
                <a:gd name="T6" fmla="*/ 2147483647 w 66"/>
                <a:gd name="T7" fmla="*/ 0 h 120"/>
                <a:gd name="T8" fmla="*/ 2147483647 w 66"/>
                <a:gd name="T9" fmla="*/ 2147483647 h 120"/>
                <a:gd name="T10" fmla="*/ 2147483647 w 66"/>
                <a:gd name="T11" fmla="*/ 2147483647 h 120"/>
                <a:gd name="T12" fmla="*/ 2147483647 w 66"/>
                <a:gd name="T13" fmla="*/ 2147483647 h 120"/>
                <a:gd name="T14" fmla="*/ 2147483647 w 66"/>
                <a:gd name="T15" fmla="*/ 2147483647 h 120"/>
                <a:gd name="T16" fmla="*/ 2147483647 w 66"/>
                <a:gd name="T17" fmla="*/ 2147483647 h 120"/>
                <a:gd name="T18" fmla="*/ 0 w 66"/>
                <a:gd name="T19" fmla="*/ 2147483647 h 120"/>
                <a:gd name="T20" fmla="*/ 0 w 66"/>
                <a:gd name="T21" fmla="*/ 2147483647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7 w 110"/>
                <a:gd name="T1" fmla="*/ 2147483647 h 166"/>
                <a:gd name="T2" fmla="*/ 2147483647 w 110"/>
                <a:gd name="T3" fmla="*/ 2147483647 h 166"/>
                <a:gd name="T4" fmla="*/ 2147483647 w 110"/>
                <a:gd name="T5" fmla="*/ 2147483647 h 166"/>
                <a:gd name="T6" fmla="*/ 2147483647 w 110"/>
                <a:gd name="T7" fmla="*/ 2147483647 h 166"/>
                <a:gd name="T8" fmla="*/ 2147483647 w 110"/>
                <a:gd name="T9" fmla="*/ 2147483647 h 166"/>
                <a:gd name="T10" fmla="*/ 2147483647 w 110"/>
                <a:gd name="T11" fmla="*/ 2147483647 h 166"/>
                <a:gd name="T12" fmla="*/ 2147483647 w 110"/>
                <a:gd name="T13" fmla="*/ 2147483647 h 166"/>
                <a:gd name="T14" fmla="*/ 2147483647 w 110"/>
                <a:gd name="T15" fmla="*/ 2147483647 h 166"/>
                <a:gd name="T16" fmla="*/ 2147483647 w 110"/>
                <a:gd name="T17" fmla="*/ 2147483647 h 166"/>
                <a:gd name="T18" fmla="*/ 2147483647 w 110"/>
                <a:gd name="T19" fmla="*/ 2147483647 h 166"/>
                <a:gd name="T20" fmla="*/ 0 w 110"/>
                <a:gd name="T21" fmla="*/ 2147483647 h 166"/>
                <a:gd name="T22" fmla="*/ 2147483647 w 110"/>
                <a:gd name="T23" fmla="*/ 0 h 166"/>
                <a:gd name="T24" fmla="*/ 2147483647 w 110"/>
                <a:gd name="T25" fmla="*/ 2147483647 h 166"/>
                <a:gd name="T26" fmla="*/ 2147483647 w 110"/>
                <a:gd name="T27" fmla="*/ 2147483647 h 166"/>
                <a:gd name="T28" fmla="*/ 2147483647 w 110"/>
                <a:gd name="T29" fmla="*/ 2147483647 h 166"/>
                <a:gd name="T30" fmla="*/ 2147483647 w 110"/>
                <a:gd name="T31" fmla="*/ 2147483647 h 166"/>
                <a:gd name="T32" fmla="*/ 2147483647 w 110"/>
                <a:gd name="T33" fmla="*/ 2147483647 h 166"/>
                <a:gd name="T34" fmla="*/ 2147483647 w 110"/>
                <a:gd name="T35" fmla="*/ 2147483647 h 166"/>
                <a:gd name="T36" fmla="*/ 2147483647 w 110"/>
                <a:gd name="T37" fmla="*/ 2147483647 h 166"/>
                <a:gd name="T38" fmla="*/ 2147483647 w 110"/>
                <a:gd name="T39" fmla="*/ 2147483647 h 166"/>
                <a:gd name="T40" fmla="*/ 2147483647 w 110"/>
                <a:gd name="T41" fmla="*/ 2147483647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7 w 195"/>
                <a:gd name="T1" fmla="*/ 2147483647 h 92"/>
                <a:gd name="T2" fmla="*/ 2147483647 w 195"/>
                <a:gd name="T3" fmla="*/ 2147483647 h 92"/>
                <a:gd name="T4" fmla="*/ 2147483647 w 195"/>
                <a:gd name="T5" fmla="*/ 2147483647 h 92"/>
                <a:gd name="T6" fmla="*/ 2147483647 w 195"/>
                <a:gd name="T7" fmla="*/ 2147483647 h 92"/>
                <a:gd name="T8" fmla="*/ 2147483647 w 195"/>
                <a:gd name="T9" fmla="*/ 2147483647 h 92"/>
                <a:gd name="T10" fmla="*/ 2147483647 w 195"/>
                <a:gd name="T11" fmla="*/ 2147483647 h 92"/>
                <a:gd name="T12" fmla="*/ 2147483647 w 195"/>
                <a:gd name="T13" fmla="*/ 2147483647 h 92"/>
                <a:gd name="T14" fmla="*/ 2147483647 w 195"/>
                <a:gd name="T15" fmla="*/ 2147483647 h 92"/>
                <a:gd name="T16" fmla="*/ 2147483647 w 195"/>
                <a:gd name="T17" fmla="*/ 2147483647 h 92"/>
                <a:gd name="T18" fmla="*/ 2147483647 w 195"/>
                <a:gd name="T19" fmla="*/ 2147483647 h 92"/>
                <a:gd name="T20" fmla="*/ 2147483647 w 195"/>
                <a:gd name="T21" fmla="*/ 0 h 92"/>
                <a:gd name="T22" fmla="*/ 2147483647 w 195"/>
                <a:gd name="T23" fmla="*/ 0 h 92"/>
                <a:gd name="T24" fmla="*/ 2147483647 w 195"/>
                <a:gd name="T25" fmla="*/ 2147483647 h 92"/>
                <a:gd name="T26" fmla="*/ 2147483647 w 195"/>
                <a:gd name="T27" fmla="*/ 0 h 92"/>
                <a:gd name="T28" fmla="*/ 2147483647 w 195"/>
                <a:gd name="T29" fmla="*/ 0 h 92"/>
                <a:gd name="T30" fmla="*/ 2147483647 w 195"/>
                <a:gd name="T31" fmla="*/ 2147483647 h 92"/>
                <a:gd name="T32" fmla="*/ 2147483647 w 195"/>
                <a:gd name="T33" fmla="*/ 2147483647 h 92"/>
                <a:gd name="T34" fmla="*/ 2147483647 w 195"/>
                <a:gd name="T35" fmla="*/ 2147483647 h 92"/>
                <a:gd name="T36" fmla="*/ 2147483647 w 195"/>
                <a:gd name="T37" fmla="*/ 2147483647 h 92"/>
                <a:gd name="T38" fmla="*/ 2147483647 w 195"/>
                <a:gd name="T39" fmla="*/ 2147483647 h 92"/>
                <a:gd name="T40" fmla="*/ 2147483647 w 195"/>
                <a:gd name="T41" fmla="*/ 2147483647 h 92"/>
                <a:gd name="T42" fmla="*/ 0 w 195"/>
                <a:gd name="T43" fmla="*/ 2147483647 h 92"/>
                <a:gd name="T44" fmla="*/ 0 w 195"/>
                <a:gd name="T45" fmla="*/ 0 h 92"/>
                <a:gd name="T46" fmla="*/ 2147483647 w 195"/>
                <a:gd name="T47" fmla="*/ 0 h 92"/>
                <a:gd name="T48" fmla="*/ 2147483647 w 195"/>
                <a:gd name="T49" fmla="*/ 2147483647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296440320"/>
      </p:ext>
    </p:extLst>
  </p:cSld>
  <p:clrMapOvr>
    <a:masterClrMapping/>
  </p:clrMapOvr>
  <p:transition spd="med">
    <p:fade/>
  </p:transition>
  <p:hf sldNum="0" hdr="0" ftr="0"/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bg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3933818908"/>
      </p:ext>
    </p:extLst>
  </p:cSld>
  <p:clrMapOvr>
    <a:masterClrMapping/>
  </p:clrMapOvr>
  <p:transition spd="med">
    <p:fade/>
  </p:transition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314876445"/>
      </p:ext>
    </p:extLst>
  </p:cSld>
  <p:clrMapOvr>
    <a:masterClrMapping/>
  </p:clrMapOvr>
  <p:transition spd="med">
    <p:fade/>
  </p:transition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6033651"/>
      </p:ext>
    </p:extLst>
  </p:cSld>
  <p:clrMapOvr>
    <a:masterClrMapping/>
  </p:clrMapOvr>
  <p:transition spd="med">
    <p:fade/>
  </p:transition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2074341"/>
      </p:ext>
    </p:extLst>
  </p:cSld>
  <p:clrMapOvr>
    <a:masterClrMapping/>
  </p:clrMapOvr>
  <p:transition spd="med">
    <p:fade/>
  </p:transition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736587"/>
      </p:ext>
    </p:extLst>
  </p:cSld>
  <p:clrMapOvr>
    <a:masterClrMapping/>
  </p:clrMapOvr>
  <p:transition spd="med">
    <p:fade/>
  </p:transition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1543008"/>
      </p:ext>
    </p:extLst>
  </p:cSld>
  <p:clrMapOvr>
    <a:masterClrMapping/>
  </p:clrMapOvr>
  <p:transition spd="med">
    <p:fade/>
  </p:transition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2438137"/>
      </p:ext>
    </p:extLst>
  </p:cSld>
  <p:clrMapOvr>
    <a:masterClrMapping/>
  </p:clrMapOvr>
  <p:transition spd="med">
    <p:fade/>
  </p:transition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90646065"/>
      </p:ext>
    </p:extLst>
  </p:cSld>
  <p:clrMapOvr>
    <a:masterClrMapping/>
  </p:clrMapOvr>
  <p:transition spd="med">
    <p:fade/>
  </p:transition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2788"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grpSp>
        <p:nvGrpSpPr>
          <p:cNvPr id="6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200">
                  <a:solidFill>
                    <a:schemeClr val="tx1"/>
                  </a:solidFill>
                  <a:latin typeface="Helvetica 55 Roman" pitchFamily="2" charset="0"/>
                  <a:cs typeface="Arial" pitchFamily="34" charset="0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Helvetica 55 Roman" pitchFamily="2" charset="0"/>
                  <a:cs typeface="Arial" pitchFamily="34" charset="0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Helvetica 55 Roman" pitchFamily="2" charset="0"/>
                  <a:cs typeface="Arial" pitchFamily="34" charset="0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Helvetica 55 Roman" pitchFamily="2" charset="0"/>
                  <a:cs typeface="Arial" pitchFamily="34" charset="0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Helvetica 55 Roman" pitchFamily="2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Helvetica 55 Roman" pitchFamily="2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Helvetica 55 Roman" pitchFamily="2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Helvetica 55 Roman" pitchFamily="2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Helvetica 55 Roman" pitchFamily="2" charset="0"/>
                  <a:cs typeface="Arial" pitchFamily="34" charset="0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altLang="fr-FR" sz="1800" smtClean="0">
                <a:solidFill>
                  <a:srgbClr val="FF6600"/>
                </a:solidFill>
                <a:latin typeface="Helvetica 75 Bold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7 w 104"/>
                <a:gd name="T1" fmla="*/ 2147483647 h 122"/>
                <a:gd name="T2" fmla="*/ 2147483647 w 104"/>
                <a:gd name="T3" fmla="*/ 2147483647 h 122"/>
                <a:gd name="T4" fmla="*/ 2147483647 w 104"/>
                <a:gd name="T5" fmla="*/ 2147483647 h 122"/>
                <a:gd name="T6" fmla="*/ 2147483647 w 104"/>
                <a:gd name="T7" fmla="*/ 2147483647 h 122"/>
                <a:gd name="T8" fmla="*/ 2147483647 w 104"/>
                <a:gd name="T9" fmla="*/ 2147483647 h 122"/>
                <a:gd name="T10" fmla="*/ 2147483647 w 104"/>
                <a:gd name="T11" fmla="*/ 2147483647 h 122"/>
                <a:gd name="T12" fmla="*/ 2147483647 w 104"/>
                <a:gd name="T13" fmla="*/ 2147483647 h 122"/>
                <a:gd name="T14" fmla="*/ 0 w 104"/>
                <a:gd name="T15" fmla="*/ 2147483647 h 122"/>
                <a:gd name="T16" fmla="*/ 2147483647 w 104"/>
                <a:gd name="T17" fmla="*/ 2147483647 h 122"/>
                <a:gd name="T18" fmla="*/ 2147483647 w 104"/>
                <a:gd name="T19" fmla="*/ 2147483647 h 122"/>
                <a:gd name="T20" fmla="*/ 2147483647 w 104"/>
                <a:gd name="T21" fmla="*/ 2147483647 h 122"/>
                <a:gd name="T22" fmla="*/ 2147483647 w 104"/>
                <a:gd name="T23" fmla="*/ 2147483647 h 122"/>
                <a:gd name="T24" fmla="*/ 2147483647 w 104"/>
                <a:gd name="T25" fmla="*/ 2147483647 h 122"/>
                <a:gd name="T26" fmla="*/ 2147483647 w 104"/>
                <a:gd name="T27" fmla="*/ 0 h 122"/>
                <a:gd name="T28" fmla="*/ 2147483647 w 104"/>
                <a:gd name="T29" fmla="*/ 2147483647 h 122"/>
                <a:gd name="T30" fmla="*/ 2147483647 w 104"/>
                <a:gd name="T31" fmla="*/ 2147483647 h 122"/>
                <a:gd name="T32" fmla="*/ 2147483647 w 104"/>
                <a:gd name="T33" fmla="*/ 2147483647 h 122"/>
                <a:gd name="T34" fmla="*/ 2147483647 w 104"/>
                <a:gd name="T35" fmla="*/ 2147483647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7 h 120"/>
                <a:gd name="T2" fmla="*/ 2147483647 w 105"/>
                <a:gd name="T3" fmla="*/ 2147483647 h 120"/>
                <a:gd name="T4" fmla="*/ 2147483647 w 105"/>
                <a:gd name="T5" fmla="*/ 2147483647 h 120"/>
                <a:gd name="T6" fmla="*/ 2147483647 w 105"/>
                <a:gd name="T7" fmla="*/ 0 h 120"/>
                <a:gd name="T8" fmla="*/ 2147483647 w 105"/>
                <a:gd name="T9" fmla="*/ 2147483647 h 120"/>
                <a:gd name="T10" fmla="*/ 2147483647 w 105"/>
                <a:gd name="T11" fmla="*/ 2147483647 h 120"/>
                <a:gd name="T12" fmla="*/ 2147483647 w 105"/>
                <a:gd name="T13" fmla="*/ 2147483647 h 120"/>
                <a:gd name="T14" fmla="*/ 2147483647 w 105"/>
                <a:gd name="T15" fmla="*/ 2147483647 h 120"/>
                <a:gd name="T16" fmla="*/ 2147483647 w 105"/>
                <a:gd name="T17" fmla="*/ 2147483647 h 120"/>
                <a:gd name="T18" fmla="*/ 2147483647 w 105"/>
                <a:gd name="T19" fmla="*/ 2147483647 h 120"/>
                <a:gd name="T20" fmla="*/ 2147483647 w 105"/>
                <a:gd name="T21" fmla="*/ 2147483647 h 120"/>
                <a:gd name="T22" fmla="*/ 0 w 105"/>
                <a:gd name="T23" fmla="*/ 2147483647 h 120"/>
                <a:gd name="T24" fmla="*/ 0 w 105"/>
                <a:gd name="T25" fmla="*/ 2147483647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7 w 109"/>
                <a:gd name="T1" fmla="*/ 2147483647 h 122"/>
                <a:gd name="T2" fmla="*/ 2147483647 w 109"/>
                <a:gd name="T3" fmla="*/ 2147483647 h 122"/>
                <a:gd name="T4" fmla="*/ 2147483647 w 109"/>
                <a:gd name="T5" fmla="*/ 2147483647 h 122"/>
                <a:gd name="T6" fmla="*/ 2147483647 w 109"/>
                <a:gd name="T7" fmla="*/ 2147483647 h 122"/>
                <a:gd name="T8" fmla="*/ 2147483647 w 109"/>
                <a:gd name="T9" fmla="*/ 2147483647 h 122"/>
                <a:gd name="T10" fmla="*/ 0 w 109"/>
                <a:gd name="T11" fmla="*/ 2147483647 h 122"/>
                <a:gd name="T12" fmla="*/ 2147483647 w 109"/>
                <a:gd name="T13" fmla="*/ 0 h 122"/>
                <a:gd name="T14" fmla="*/ 2147483647 w 109"/>
                <a:gd name="T15" fmla="*/ 2147483647 h 122"/>
                <a:gd name="T16" fmla="*/ 2147483647 w 109"/>
                <a:gd name="T17" fmla="*/ 2147483647 h 122"/>
                <a:gd name="T18" fmla="*/ 2147483647 w 109"/>
                <a:gd name="T19" fmla="*/ 2147483647 h 122"/>
                <a:gd name="T20" fmla="*/ 2147483647 w 109"/>
                <a:gd name="T21" fmla="*/ 2147483647 h 122"/>
                <a:gd name="T22" fmla="*/ 2147483647 w 109"/>
                <a:gd name="T23" fmla="*/ 2147483647 h 122"/>
                <a:gd name="T24" fmla="*/ 2147483647 w 109"/>
                <a:gd name="T25" fmla="*/ 2147483647 h 122"/>
                <a:gd name="T26" fmla="*/ 2147483647 w 109"/>
                <a:gd name="T27" fmla="*/ 2147483647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7 w 116"/>
                <a:gd name="T1" fmla="*/ 2147483647 h 124"/>
                <a:gd name="T2" fmla="*/ 2147483647 w 116"/>
                <a:gd name="T3" fmla="*/ 2147483647 h 124"/>
                <a:gd name="T4" fmla="*/ 2147483647 w 116"/>
                <a:gd name="T5" fmla="*/ 2147483647 h 124"/>
                <a:gd name="T6" fmla="*/ 2147483647 w 116"/>
                <a:gd name="T7" fmla="*/ 2147483647 h 124"/>
                <a:gd name="T8" fmla="*/ 2147483647 w 116"/>
                <a:gd name="T9" fmla="*/ 2147483647 h 124"/>
                <a:gd name="T10" fmla="*/ 2147483647 w 116"/>
                <a:gd name="T11" fmla="*/ 2147483647 h 124"/>
                <a:gd name="T12" fmla="*/ 0 w 116"/>
                <a:gd name="T13" fmla="*/ 2147483647 h 124"/>
                <a:gd name="T14" fmla="*/ 2147483647 w 116"/>
                <a:gd name="T15" fmla="*/ 0 h 124"/>
                <a:gd name="T16" fmla="*/ 2147483647 w 116"/>
                <a:gd name="T17" fmla="*/ 2147483647 h 124"/>
                <a:gd name="T18" fmla="*/ 2147483647 w 116"/>
                <a:gd name="T19" fmla="*/ 2147483647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7 h 120"/>
                <a:gd name="T2" fmla="*/ 2147483647 w 66"/>
                <a:gd name="T3" fmla="*/ 2147483647 h 120"/>
                <a:gd name="T4" fmla="*/ 2147483647 w 66"/>
                <a:gd name="T5" fmla="*/ 2147483647 h 120"/>
                <a:gd name="T6" fmla="*/ 2147483647 w 66"/>
                <a:gd name="T7" fmla="*/ 0 h 120"/>
                <a:gd name="T8" fmla="*/ 2147483647 w 66"/>
                <a:gd name="T9" fmla="*/ 2147483647 h 120"/>
                <a:gd name="T10" fmla="*/ 2147483647 w 66"/>
                <a:gd name="T11" fmla="*/ 2147483647 h 120"/>
                <a:gd name="T12" fmla="*/ 2147483647 w 66"/>
                <a:gd name="T13" fmla="*/ 2147483647 h 120"/>
                <a:gd name="T14" fmla="*/ 2147483647 w 66"/>
                <a:gd name="T15" fmla="*/ 2147483647 h 120"/>
                <a:gd name="T16" fmla="*/ 2147483647 w 66"/>
                <a:gd name="T17" fmla="*/ 2147483647 h 120"/>
                <a:gd name="T18" fmla="*/ 0 w 66"/>
                <a:gd name="T19" fmla="*/ 2147483647 h 120"/>
                <a:gd name="T20" fmla="*/ 0 w 66"/>
                <a:gd name="T21" fmla="*/ 2147483647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7 w 110"/>
                <a:gd name="T1" fmla="*/ 2147483647 h 166"/>
                <a:gd name="T2" fmla="*/ 2147483647 w 110"/>
                <a:gd name="T3" fmla="*/ 2147483647 h 166"/>
                <a:gd name="T4" fmla="*/ 2147483647 w 110"/>
                <a:gd name="T5" fmla="*/ 2147483647 h 166"/>
                <a:gd name="T6" fmla="*/ 2147483647 w 110"/>
                <a:gd name="T7" fmla="*/ 2147483647 h 166"/>
                <a:gd name="T8" fmla="*/ 2147483647 w 110"/>
                <a:gd name="T9" fmla="*/ 2147483647 h 166"/>
                <a:gd name="T10" fmla="*/ 2147483647 w 110"/>
                <a:gd name="T11" fmla="*/ 2147483647 h 166"/>
                <a:gd name="T12" fmla="*/ 2147483647 w 110"/>
                <a:gd name="T13" fmla="*/ 2147483647 h 166"/>
                <a:gd name="T14" fmla="*/ 2147483647 w 110"/>
                <a:gd name="T15" fmla="*/ 2147483647 h 166"/>
                <a:gd name="T16" fmla="*/ 2147483647 w 110"/>
                <a:gd name="T17" fmla="*/ 2147483647 h 166"/>
                <a:gd name="T18" fmla="*/ 2147483647 w 110"/>
                <a:gd name="T19" fmla="*/ 2147483647 h 166"/>
                <a:gd name="T20" fmla="*/ 0 w 110"/>
                <a:gd name="T21" fmla="*/ 2147483647 h 166"/>
                <a:gd name="T22" fmla="*/ 2147483647 w 110"/>
                <a:gd name="T23" fmla="*/ 0 h 166"/>
                <a:gd name="T24" fmla="*/ 2147483647 w 110"/>
                <a:gd name="T25" fmla="*/ 2147483647 h 166"/>
                <a:gd name="T26" fmla="*/ 2147483647 w 110"/>
                <a:gd name="T27" fmla="*/ 2147483647 h 166"/>
                <a:gd name="T28" fmla="*/ 2147483647 w 110"/>
                <a:gd name="T29" fmla="*/ 2147483647 h 166"/>
                <a:gd name="T30" fmla="*/ 2147483647 w 110"/>
                <a:gd name="T31" fmla="*/ 2147483647 h 166"/>
                <a:gd name="T32" fmla="*/ 2147483647 w 110"/>
                <a:gd name="T33" fmla="*/ 2147483647 h 166"/>
                <a:gd name="T34" fmla="*/ 2147483647 w 110"/>
                <a:gd name="T35" fmla="*/ 2147483647 h 166"/>
                <a:gd name="T36" fmla="*/ 2147483647 w 110"/>
                <a:gd name="T37" fmla="*/ 2147483647 h 166"/>
                <a:gd name="T38" fmla="*/ 2147483647 w 110"/>
                <a:gd name="T39" fmla="*/ 2147483647 h 166"/>
                <a:gd name="T40" fmla="*/ 2147483647 w 110"/>
                <a:gd name="T41" fmla="*/ 2147483647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7 w 195"/>
                <a:gd name="T1" fmla="*/ 2147483647 h 92"/>
                <a:gd name="T2" fmla="*/ 2147483647 w 195"/>
                <a:gd name="T3" fmla="*/ 2147483647 h 92"/>
                <a:gd name="T4" fmla="*/ 2147483647 w 195"/>
                <a:gd name="T5" fmla="*/ 2147483647 h 92"/>
                <a:gd name="T6" fmla="*/ 2147483647 w 195"/>
                <a:gd name="T7" fmla="*/ 2147483647 h 92"/>
                <a:gd name="T8" fmla="*/ 2147483647 w 195"/>
                <a:gd name="T9" fmla="*/ 2147483647 h 92"/>
                <a:gd name="T10" fmla="*/ 2147483647 w 195"/>
                <a:gd name="T11" fmla="*/ 2147483647 h 92"/>
                <a:gd name="T12" fmla="*/ 2147483647 w 195"/>
                <a:gd name="T13" fmla="*/ 2147483647 h 92"/>
                <a:gd name="T14" fmla="*/ 2147483647 w 195"/>
                <a:gd name="T15" fmla="*/ 2147483647 h 92"/>
                <a:gd name="T16" fmla="*/ 2147483647 w 195"/>
                <a:gd name="T17" fmla="*/ 2147483647 h 92"/>
                <a:gd name="T18" fmla="*/ 2147483647 w 195"/>
                <a:gd name="T19" fmla="*/ 2147483647 h 92"/>
                <a:gd name="T20" fmla="*/ 2147483647 w 195"/>
                <a:gd name="T21" fmla="*/ 0 h 92"/>
                <a:gd name="T22" fmla="*/ 2147483647 w 195"/>
                <a:gd name="T23" fmla="*/ 0 h 92"/>
                <a:gd name="T24" fmla="*/ 2147483647 w 195"/>
                <a:gd name="T25" fmla="*/ 2147483647 h 92"/>
                <a:gd name="T26" fmla="*/ 2147483647 w 195"/>
                <a:gd name="T27" fmla="*/ 0 h 92"/>
                <a:gd name="T28" fmla="*/ 2147483647 w 195"/>
                <a:gd name="T29" fmla="*/ 0 h 92"/>
                <a:gd name="T30" fmla="*/ 2147483647 w 195"/>
                <a:gd name="T31" fmla="*/ 2147483647 h 92"/>
                <a:gd name="T32" fmla="*/ 2147483647 w 195"/>
                <a:gd name="T33" fmla="*/ 2147483647 h 92"/>
                <a:gd name="T34" fmla="*/ 2147483647 w 195"/>
                <a:gd name="T35" fmla="*/ 2147483647 h 92"/>
                <a:gd name="T36" fmla="*/ 2147483647 w 195"/>
                <a:gd name="T37" fmla="*/ 2147483647 h 92"/>
                <a:gd name="T38" fmla="*/ 2147483647 w 195"/>
                <a:gd name="T39" fmla="*/ 2147483647 h 92"/>
                <a:gd name="T40" fmla="*/ 2147483647 w 195"/>
                <a:gd name="T41" fmla="*/ 2147483647 h 92"/>
                <a:gd name="T42" fmla="*/ 0 w 195"/>
                <a:gd name="T43" fmla="*/ 2147483647 h 92"/>
                <a:gd name="T44" fmla="*/ 0 w 195"/>
                <a:gd name="T45" fmla="*/ 0 h 92"/>
                <a:gd name="T46" fmla="*/ 2147483647 w 195"/>
                <a:gd name="T47" fmla="*/ 0 h 92"/>
                <a:gd name="T48" fmla="*/ 2147483647 w 195"/>
                <a:gd name="T49" fmla="*/ 2147483647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570279764"/>
      </p:ext>
    </p:extLst>
  </p:cSld>
  <p:clrMapOvr>
    <a:masterClrMapping/>
  </p:clrMapOvr>
  <p:transition spd="med">
    <p:fade/>
  </p:transition>
  <p:hf sldNum="0" hdr="0" ftr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EMTA8361\Documents\Divers\Logos\O BS logo bottom right_RGB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6338" y="4300538"/>
            <a:ext cx="1319212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63558" y="1597821"/>
            <a:ext cx="8474400" cy="1679178"/>
          </a:xfrm>
        </p:spPr>
        <p:txBody>
          <a:bodyPr>
            <a:spAutoFit/>
          </a:bodyPr>
          <a:lstStyle>
            <a:lvl1pPr>
              <a:defRPr sz="4400" b="0"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363557" y="2400302"/>
            <a:ext cx="8474400" cy="947952"/>
          </a:xfrm>
        </p:spPr>
        <p:txBody>
          <a:bodyPr>
            <a:spAutoFit/>
          </a:bodyPr>
          <a:lstStyle>
            <a:lvl1pPr marL="344433" indent="-344433">
              <a:buClr>
                <a:schemeClr val="bg1">
                  <a:lumMod val="50000"/>
                  <a:lumOff val="50000"/>
                </a:schemeClr>
              </a:buClr>
              <a:buSzPct val="100000"/>
              <a:buFont typeface="Helvetica 35 Thin" pitchFamily="34" charset="0"/>
              <a:buChar char="&gt;"/>
              <a:defRPr sz="2800">
                <a:solidFill>
                  <a:schemeClr val="bg1">
                    <a:lumMod val="50000"/>
                    <a:lumOff val="50000"/>
                  </a:schemeClr>
                </a:solidFill>
                <a:latin typeface="Helvetica 75 Bold" panose="020B0804020202020204" pitchFamily="34" charset="0"/>
              </a:defRPr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1"/>
          </p:nvPr>
        </p:nvSpPr>
        <p:spPr>
          <a:xfrm>
            <a:off x="363556" y="3314703"/>
            <a:ext cx="8474400" cy="236988"/>
          </a:xfrm>
        </p:spPr>
        <p:txBody>
          <a:bodyPr>
            <a:spAutoFit/>
          </a:bodyPr>
          <a:lstStyle>
            <a:lvl1pPr marL="0" indent="0">
              <a:buNone/>
              <a:defRPr sz="1400"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146786630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3869137242"/>
      </p:ext>
    </p:extLst>
  </p:cSld>
  <p:clrMapOvr>
    <a:masterClrMapping/>
  </p:clrMapOvr>
  <p:transition spd="med">
    <p:fade/>
  </p:transition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485996045"/>
      </p:ext>
    </p:extLst>
  </p:cSld>
  <p:clrMapOvr>
    <a:masterClrMapping/>
  </p:clrMapOvr>
  <p:transition spd="med">
    <p:fade/>
  </p:transition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2535211"/>
      </p:ext>
    </p:extLst>
  </p:cSld>
  <p:clrMapOvr>
    <a:masterClrMapping/>
  </p:clrMapOvr>
  <p:transition spd="med">
    <p:fade/>
  </p:transition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6228687"/>
      </p:ext>
    </p:extLst>
  </p:cSld>
  <p:clrMapOvr>
    <a:masterClrMapping/>
  </p:clrMapOvr>
  <p:transition spd="med">
    <p:fade/>
  </p:transition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777803"/>
      </p:ext>
    </p:extLst>
  </p:cSld>
  <p:clrMapOvr>
    <a:masterClrMapping/>
  </p:clrMapOvr>
  <p:transition spd="med">
    <p:fade/>
  </p:transition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2370851"/>
      </p:ext>
    </p:extLst>
  </p:cSld>
  <p:clrMapOvr>
    <a:masterClrMapping/>
  </p:clrMapOvr>
  <p:transition spd="med">
    <p:fade/>
  </p:transition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939451"/>
      </p:ext>
    </p:extLst>
  </p:cSld>
  <p:clrMapOvr>
    <a:masterClrMapping/>
  </p:clrMapOvr>
  <p:transition spd="med">
    <p:fade/>
  </p:transition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41916712"/>
      </p:ext>
    </p:extLst>
  </p:cSld>
  <p:clrMapOvr>
    <a:masterClrMapping/>
  </p:clrMapOvr>
  <p:transition spd="med">
    <p:fade/>
  </p:transition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56935902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737812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>
            <a:spLocks noChangeArrowheads="1"/>
          </p:cNvSpPr>
          <p:nvPr userDrawn="1"/>
        </p:nvSpPr>
        <p:spPr bwMode="auto">
          <a:xfrm>
            <a:off x="107950" y="4779963"/>
            <a:ext cx="23018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7" rIns="0" bIns="45717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327">
              <a:defRPr/>
            </a:pPr>
            <a:fld id="{7993AAB8-8575-471F-BED4-879052970F1D}" type="slidenum">
              <a:rPr lang="fr-FR" altLang="fr-FR" sz="800" smtClean="0">
                <a:solidFill>
                  <a:srgbClr val="000000"/>
                </a:solidFill>
                <a:latin typeface="Helvetica 55 Roman" panose="020B0604020202020204" pitchFamily="2" charset="0"/>
                <a:ea typeface="+mn-ea"/>
                <a:cs typeface="Arial" charset="0"/>
              </a:rPr>
              <a:pPr defTabSz="914327">
                <a:defRPr/>
              </a:pPr>
              <a:t>‹N°›</a:t>
            </a:fld>
            <a:endParaRPr lang="fr-FR" altLang="fr-FR" sz="800" dirty="0" smtClean="0">
              <a:solidFill>
                <a:srgbClr val="000000"/>
              </a:solidFill>
              <a:latin typeface="Helvetica 55 Roman" panose="020B0604020202020204" pitchFamily="2" charset="0"/>
              <a:ea typeface="+mn-ea"/>
              <a:cs typeface="Arial" charset="0"/>
            </a:endParaRPr>
          </a:p>
        </p:txBody>
      </p:sp>
      <p:sp>
        <p:nvSpPr>
          <p:cNvPr id="5" name="Rectangle 762"/>
          <p:cNvSpPr>
            <a:spLocks noChangeArrowheads="1"/>
          </p:cNvSpPr>
          <p:nvPr userDrawn="1"/>
        </p:nvSpPr>
        <p:spPr bwMode="auto">
          <a:xfrm rot="16200000">
            <a:off x="7676357" y="3601244"/>
            <a:ext cx="2795587" cy="18732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45717" rIns="0" bIns="45717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327" eaLnBrk="1" hangingPunct="1">
              <a:defRPr/>
            </a:pPr>
            <a:r>
              <a:rPr lang="en-GB" altLang="fr-FR" sz="700" dirty="0" smtClean="0">
                <a:solidFill>
                  <a:srgbClr val="7F7F7F"/>
                </a:solidFill>
                <a:latin typeface="Helvetica 55 Roman" pitchFamily="2" charset="0"/>
                <a:ea typeface="+mn-ea"/>
              </a:rPr>
              <a:t>Interne</a:t>
            </a:r>
            <a:r>
              <a:rPr lang="en-US" altLang="fr-FR" sz="700" dirty="0" smtClean="0">
                <a:solidFill>
                  <a:srgbClr val="7F7F7F"/>
                </a:solidFill>
                <a:latin typeface="Helvetica 55 Roman" pitchFamily="2" charset="0"/>
                <a:ea typeface="+mn-ea"/>
              </a:rPr>
              <a:t> Orange – DR Orange Open pro partagé 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 bwMode="gray">
          <a:xfrm>
            <a:off x="250829" y="1059583"/>
            <a:ext cx="8664575" cy="3611810"/>
          </a:xfrm>
        </p:spPr>
        <p:txBody>
          <a:bodyPr/>
          <a:lstStyle>
            <a:lvl1pPr>
              <a:buSzPct val="100000"/>
              <a:defRPr/>
            </a:lvl1pPr>
            <a:lvl3pPr>
              <a:buSzPct val="100000"/>
              <a:defRPr/>
            </a:lvl3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05811418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80292090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ces simp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016213" y="302400"/>
            <a:ext cx="7084800" cy="737100"/>
          </a:xfrm>
        </p:spPr>
        <p:txBody>
          <a:bodyPr/>
          <a:lstStyle>
            <a:lvl1pPr algn="l">
              <a:defRPr baseline="0"/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26" name="Espace réservé du contenu 2"/>
          <p:cNvSpPr>
            <a:spLocks noGrp="1"/>
          </p:cNvSpPr>
          <p:nvPr>
            <p:ph idx="1"/>
          </p:nvPr>
        </p:nvSpPr>
        <p:spPr>
          <a:xfrm>
            <a:off x="1042993" y="1329929"/>
            <a:ext cx="7058025" cy="2915840"/>
          </a:xfrm>
        </p:spPr>
        <p:txBody>
          <a:bodyPr/>
          <a:lstStyle>
            <a:lvl1pPr>
              <a:defRPr sz="1800" baseline="0"/>
            </a:lvl1pPr>
            <a:lvl2pPr>
              <a:spcAft>
                <a:spcPct val="0"/>
              </a:spcAft>
              <a:buFont typeface="Arial" charset="0"/>
              <a:buChar char="–"/>
              <a:defRPr/>
            </a:lvl2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724062040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2788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6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5pPr>
              <a:lvl6pPr marL="18811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6pPr>
              <a:lvl7pPr marL="23383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7pPr>
              <a:lvl8pPr marL="27955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8pPr>
              <a:lvl9pPr marL="32527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smtClean="0">
                <a:solidFill>
                  <a:srgbClr val="FF6600"/>
                </a:solidFill>
                <a:latin typeface="Helvetica 75 Bold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7 w 104"/>
                <a:gd name="T1" fmla="*/ 2147483647 h 122"/>
                <a:gd name="T2" fmla="*/ 2147483647 w 104"/>
                <a:gd name="T3" fmla="*/ 2147483647 h 122"/>
                <a:gd name="T4" fmla="*/ 2147483647 w 104"/>
                <a:gd name="T5" fmla="*/ 2147483647 h 122"/>
                <a:gd name="T6" fmla="*/ 2147483647 w 104"/>
                <a:gd name="T7" fmla="*/ 2147483647 h 122"/>
                <a:gd name="T8" fmla="*/ 2147483647 w 104"/>
                <a:gd name="T9" fmla="*/ 2147483647 h 122"/>
                <a:gd name="T10" fmla="*/ 2147483647 w 104"/>
                <a:gd name="T11" fmla="*/ 2147483647 h 122"/>
                <a:gd name="T12" fmla="*/ 2147483647 w 104"/>
                <a:gd name="T13" fmla="*/ 2147483647 h 122"/>
                <a:gd name="T14" fmla="*/ 0 w 104"/>
                <a:gd name="T15" fmla="*/ 2147483647 h 122"/>
                <a:gd name="T16" fmla="*/ 2147483647 w 104"/>
                <a:gd name="T17" fmla="*/ 2147483647 h 122"/>
                <a:gd name="T18" fmla="*/ 2147483647 w 104"/>
                <a:gd name="T19" fmla="*/ 2147483647 h 122"/>
                <a:gd name="T20" fmla="*/ 2147483647 w 104"/>
                <a:gd name="T21" fmla="*/ 2147483647 h 122"/>
                <a:gd name="T22" fmla="*/ 2147483647 w 104"/>
                <a:gd name="T23" fmla="*/ 2147483647 h 122"/>
                <a:gd name="T24" fmla="*/ 2147483647 w 104"/>
                <a:gd name="T25" fmla="*/ 2147483647 h 122"/>
                <a:gd name="T26" fmla="*/ 2147483647 w 104"/>
                <a:gd name="T27" fmla="*/ 0 h 122"/>
                <a:gd name="T28" fmla="*/ 2147483647 w 104"/>
                <a:gd name="T29" fmla="*/ 2147483647 h 122"/>
                <a:gd name="T30" fmla="*/ 2147483647 w 104"/>
                <a:gd name="T31" fmla="*/ 2147483647 h 122"/>
                <a:gd name="T32" fmla="*/ 2147483647 w 104"/>
                <a:gd name="T33" fmla="*/ 2147483647 h 122"/>
                <a:gd name="T34" fmla="*/ 2147483647 w 104"/>
                <a:gd name="T35" fmla="*/ 2147483647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7 h 120"/>
                <a:gd name="T2" fmla="*/ 2147483647 w 105"/>
                <a:gd name="T3" fmla="*/ 2147483647 h 120"/>
                <a:gd name="T4" fmla="*/ 2147483647 w 105"/>
                <a:gd name="T5" fmla="*/ 2147483647 h 120"/>
                <a:gd name="T6" fmla="*/ 2147483647 w 105"/>
                <a:gd name="T7" fmla="*/ 0 h 120"/>
                <a:gd name="T8" fmla="*/ 2147483647 w 105"/>
                <a:gd name="T9" fmla="*/ 2147483647 h 120"/>
                <a:gd name="T10" fmla="*/ 2147483647 w 105"/>
                <a:gd name="T11" fmla="*/ 2147483647 h 120"/>
                <a:gd name="T12" fmla="*/ 2147483647 w 105"/>
                <a:gd name="T13" fmla="*/ 2147483647 h 120"/>
                <a:gd name="T14" fmla="*/ 2147483647 w 105"/>
                <a:gd name="T15" fmla="*/ 2147483647 h 120"/>
                <a:gd name="T16" fmla="*/ 2147483647 w 105"/>
                <a:gd name="T17" fmla="*/ 2147483647 h 120"/>
                <a:gd name="T18" fmla="*/ 2147483647 w 105"/>
                <a:gd name="T19" fmla="*/ 2147483647 h 120"/>
                <a:gd name="T20" fmla="*/ 2147483647 w 105"/>
                <a:gd name="T21" fmla="*/ 2147483647 h 120"/>
                <a:gd name="T22" fmla="*/ 0 w 105"/>
                <a:gd name="T23" fmla="*/ 2147483647 h 120"/>
                <a:gd name="T24" fmla="*/ 0 w 105"/>
                <a:gd name="T25" fmla="*/ 2147483647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7 w 109"/>
                <a:gd name="T1" fmla="*/ 2147483647 h 122"/>
                <a:gd name="T2" fmla="*/ 2147483647 w 109"/>
                <a:gd name="T3" fmla="*/ 2147483647 h 122"/>
                <a:gd name="T4" fmla="*/ 2147483647 w 109"/>
                <a:gd name="T5" fmla="*/ 2147483647 h 122"/>
                <a:gd name="T6" fmla="*/ 2147483647 w 109"/>
                <a:gd name="T7" fmla="*/ 2147483647 h 122"/>
                <a:gd name="T8" fmla="*/ 2147483647 w 109"/>
                <a:gd name="T9" fmla="*/ 2147483647 h 122"/>
                <a:gd name="T10" fmla="*/ 0 w 109"/>
                <a:gd name="T11" fmla="*/ 2147483647 h 122"/>
                <a:gd name="T12" fmla="*/ 2147483647 w 109"/>
                <a:gd name="T13" fmla="*/ 0 h 122"/>
                <a:gd name="T14" fmla="*/ 2147483647 w 109"/>
                <a:gd name="T15" fmla="*/ 2147483647 h 122"/>
                <a:gd name="T16" fmla="*/ 2147483647 w 109"/>
                <a:gd name="T17" fmla="*/ 2147483647 h 122"/>
                <a:gd name="T18" fmla="*/ 2147483647 w 109"/>
                <a:gd name="T19" fmla="*/ 2147483647 h 122"/>
                <a:gd name="T20" fmla="*/ 2147483647 w 109"/>
                <a:gd name="T21" fmla="*/ 2147483647 h 122"/>
                <a:gd name="T22" fmla="*/ 2147483647 w 109"/>
                <a:gd name="T23" fmla="*/ 2147483647 h 122"/>
                <a:gd name="T24" fmla="*/ 2147483647 w 109"/>
                <a:gd name="T25" fmla="*/ 2147483647 h 122"/>
                <a:gd name="T26" fmla="*/ 2147483647 w 109"/>
                <a:gd name="T27" fmla="*/ 2147483647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7 w 116"/>
                <a:gd name="T1" fmla="*/ 2147483647 h 124"/>
                <a:gd name="T2" fmla="*/ 2147483647 w 116"/>
                <a:gd name="T3" fmla="*/ 2147483647 h 124"/>
                <a:gd name="T4" fmla="*/ 2147483647 w 116"/>
                <a:gd name="T5" fmla="*/ 2147483647 h 124"/>
                <a:gd name="T6" fmla="*/ 2147483647 w 116"/>
                <a:gd name="T7" fmla="*/ 2147483647 h 124"/>
                <a:gd name="T8" fmla="*/ 2147483647 w 116"/>
                <a:gd name="T9" fmla="*/ 2147483647 h 124"/>
                <a:gd name="T10" fmla="*/ 2147483647 w 116"/>
                <a:gd name="T11" fmla="*/ 2147483647 h 124"/>
                <a:gd name="T12" fmla="*/ 0 w 116"/>
                <a:gd name="T13" fmla="*/ 2147483647 h 124"/>
                <a:gd name="T14" fmla="*/ 2147483647 w 116"/>
                <a:gd name="T15" fmla="*/ 0 h 124"/>
                <a:gd name="T16" fmla="*/ 2147483647 w 116"/>
                <a:gd name="T17" fmla="*/ 2147483647 h 124"/>
                <a:gd name="T18" fmla="*/ 2147483647 w 116"/>
                <a:gd name="T19" fmla="*/ 2147483647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7 h 120"/>
                <a:gd name="T2" fmla="*/ 2147483647 w 66"/>
                <a:gd name="T3" fmla="*/ 2147483647 h 120"/>
                <a:gd name="T4" fmla="*/ 2147483647 w 66"/>
                <a:gd name="T5" fmla="*/ 2147483647 h 120"/>
                <a:gd name="T6" fmla="*/ 2147483647 w 66"/>
                <a:gd name="T7" fmla="*/ 0 h 120"/>
                <a:gd name="T8" fmla="*/ 2147483647 w 66"/>
                <a:gd name="T9" fmla="*/ 2147483647 h 120"/>
                <a:gd name="T10" fmla="*/ 2147483647 w 66"/>
                <a:gd name="T11" fmla="*/ 2147483647 h 120"/>
                <a:gd name="T12" fmla="*/ 2147483647 w 66"/>
                <a:gd name="T13" fmla="*/ 2147483647 h 120"/>
                <a:gd name="T14" fmla="*/ 2147483647 w 66"/>
                <a:gd name="T15" fmla="*/ 2147483647 h 120"/>
                <a:gd name="T16" fmla="*/ 2147483647 w 66"/>
                <a:gd name="T17" fmla="*/ 2147483647 h 120"/>
                <a:gd name="T18" fmla="*/ 0 w 66"/>
                <a:gd name="T19" fmla="*/ 2147483647 h 120"/>
                <a:gd name="T20" fmla="*/ 0 w 66"/>
                <a:gd name="T21" fmla="*/ 2147483647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7 w 110"/>
                <a:gd name="T1" fmla="*/ 2147483647 h 166"/>
                <a:gd name="T2" fmla="*/ 2147483647 w 110"/>
                <a:gd name="T3" fmla="*/ 2147483647 h 166"/>
                <a:gd name="T4" fmla="*/ 2147483647 w 110"/>
                <a:gd name="T5" fmla="*/ 2147483647 h 166"/>
                <a:gd name="T6" fmla="*/ 2147483647 w 110"/>
                <a:gd name="T7" fmla="*/ 2147483647 h 166"/>
                <a:gd name="T8" fmla="*/ 2147483647 w 110"/>
                <a:gd name="T9" fmla="*/ 2147483647 h 166"/>
                <a:gd name="T10" fmla="*/ 2147483647 w 110"/>
                <a:gd name="T11" fmla="*/ 2147483647 h 166"/>
                <a:gd name="T12" fmla="*/ 2147483647 w 110"/>
                <a:gd name="T13" fmla="*/ 2147483647 h 166"/>
                <a:gd name="T14" fmla="*/ 2147483647 w 110"/>
                <a:gd name="T15" fmla="*/ 2147483647 h 166"/>
                <a:gd name="T16" fmla="*/ 2147483647 w 110"/>
                <a:gd name="T17" fmla="*/ 2147483647 h 166"/>
                <a:gd name="T18" fmla="*/ 2147483647 w 110"/>
                <a:gd name="T19" fmla="*/ 2147483647 h 166"/>
                <a:gd name="T20" fmla="*/ 0 w 110"/>
                <a:gd name="T21" fmla="*/ 2147483647 h 166"/>
                <a:gd name="T22" fmla="*/ 2147483647 w 110"/>
                <a:gd name="T23" fmla="*/ 0 h 166"/>
                <a:gd name="T24" fmla="*/ 2147483647 w 110"/>
                <a:gd name="T25" fmla="*/ 2147483647 h 166"/>
                <a:gd name="T26" fmla="*/ 2147483647 w 110"/>
                <a:gd name="T27" fmla="*/ 2147483647 h 166"/>
                <a:gd name="T28" fmla="*/ 2147483647 w 110"/>
                <a:gd name="T29" fmla="*/ 2147483647 h 166"/>
                <a:gd name="T30" fmla="*/ 2147483647 w 110"/>
                <a:gd name="T31" fmla="*/ 2147483647 h 166"/>
                <a:gd name="T32" fmla="*/ 2147483647 w 110"/>
                <a:gd name="T33" fmla="*/ 2147483647 h 166"/>
                <a:gd name="T34" fmla="*/ 2147483647 w 110"/>
                <a:gd name="T35" fmla="*/ 2147483647 h 166"/>
                <a:gd name="T36" fmla="*/ 2147483647 w 110"/>
                <a:gd name="T37" fmla="*/ 2147483647 h 166"/>
                <a:gd name="T38" fmla="*/ 2147483647 w 110"/>
                <a:gd name="T39" fmla="*/ 2147483647 h 166"/>
                <a:gd name="T40" fmla="*/ 2147483647 w 110"/>
                <a:gd name="T41" fmla="*/ 2147483647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7 w 195"/>
                <a:gd name="T1" fmla="*/ 2147483647 h 92"/>
                <a:gd name="T2" fmla="*/ 2147483647 w 195"/>
                <a:gd name="T3" fmla="*/ 2147483647 h 92"/>
                <a:gd name="T4" fmla="*/ 2147483647 w 195"/>
                <a:gd name="T5" fmla="*/ 2147483647 h 92"/>
                <a:gd name="T6" fmla="*/ 2147483647 w 195"/>
                <a:gd name="T7" fmla="*/ 2147483647 h 92"/>
                <a:gd name="T8" fmla="*/ 2147483647 w 195"/>
                <a:gd name="T9" fmla="*/ 2147483647 h 92"/>
                <a:gd name="T10" fmla="*/ 2147483647 w 195"/>
                <a:gd name="T11" fmla="*/ 2147483647 h 92"/>
                <a:gd name="T12" fmla="*/ 2147483647 w 195"/>
                <a:gd name="T13" fmla="*/ 2147483647 h 92"/>
                <a:gd name="T14" fmla="*/ 2147483647 w 195"/>
                <a:gd name="T15" fmla="*/ 2147483647 h 92"/>
                <a:gd name="T16" fmla="*/ 2147483647 w 195"/>
                <a:gd name="T17" fmla="*/ 2147483647 h 92"/>
                <a:gd name="T18" fmla="*/ 2147483647 w 195"/>
                <a:gd name="T19" fmla="*/ 2147483647 h 92"/>
                <a:gd name="T20" fmla="*/ 2147483647 w 195"/>
                <a:gd name="T21" fmla="*/ 0 h 92"/>
                <a:gd name="T22" fmla="*/ 2147483647 w 195"/>
                <a:gd name="T23" fmla="*/ 0 h 92"/>
                <a:gd name="T24" fmla="*/ 2147483647 w 195"/>
                <a:gd name="T25" fmla="*/ 2147483647 h 92"/>
                <a:gd name="T26" fmla="*/ 2147483647 w 195"/>
                <a:gd name="T27" fmla="*/ 0 h 92"/>
                <a:gd name="T28" fmla="*/ 2147483647 w 195"/>
                <a:gd name="T29" fmla="*/ 0 h 92"/>
                <a:gd name="T30" fmla="*/ 2147483647 w 195"/>
                <a:gd name="T31" fmla="*/ 2147483647 h 92"/>
                <a:gd name="T32" fmla="*/ 2147483647 w 195"/>
                <a:gd name="T33" fmla="*/ 2147483647 h 92"/>
                <a:gd name="T34" fmla="*/ 2147483647 w 195"/>
                <a:gd name="T35" fmla="*/ 2147483647 h 92"/>
                <a:gd name="T36" fmla="*/ 2147483647 w 195"/>
                <a:gd name="T37" fmla="*/ 2147483647 h 92"/>
                <a:gd name="T38" fmla="*/ 2147483647 w 195"/>
                <a:gd name="T39" fmla="*/ 2147483647 h 92"/>
                <a:gd name="T40" fmla="*/ 2147483647 w 195"/>
                <a:gd name="T41" fmla="*/ 2147483647 h 92"/>
                <a:gd name="T42" fmla="*/ 0 w 195"/>
                <a:gd name="T43" fmla="*/ 2147483647 h 92"/>
                <a:gd name="T44" fmla="*/ 0 w 195"/>
                <a:gd name="T45" fmla="*/ 0 h 92"/>
                <a:gd name="T46" fmla="*/ 2147483647 w 195"/>
                <a:gd name="T47" fmla="*/ 0 h 92"/>
                <a:gd name="T48" fmla="*/ 2147483647 w 195"/>
                <a:gd name="T49" fmla="*/ 2147483647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409506004"/>
      </p:ext>
    </p:extLst>
  </p:cSld>
  <p:clrMapOvr>
    <a:masterClrMapping/>
  </p:clrMapOvr>
  <p:transition spd="med">
    <p:fade/>
  </p:transition>
  <p:hf sldNum="0" hdr="0" ftr="0"/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bg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76262726"/>
      </p:ext>
    </p:extLst>
  </p:cSld>
  <p:clrMapOvr>
    <a:masterClrMapping/>
  </p:clrMapOvr>
  <p:transition spd="med">
    <p:fade/>
  </p:transition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900753757"/>
      </p:ext>
    </p:extLst>
  </p:cSld>
  <p:clrMapOvr>
    <a:masterClrMapping/>
  </p:clrMapOvr>
  <p:transition spd="med">
    <p:fade/>
  </p:transition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6346537"/>
      </p:ext>
    </p:extLst>
  </p:cSld>
  <p:clrMapOvr>
    <a:masterClrMapping/>
  </p:clrMapOvr>
  <p:transition spd="med">
    <p:fade/>
  </p:transition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8869984"/>
      </p:ext>
    </p:extLst>
  </p:cSld>
  <p:clrMapOvr>
    <a:masterClrMapping/>
  </p:clrMapOvr>
  <p:transition spd="med">
    <p:fade/>
  </p:transition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7921698"/>
      </p:ext>
    </p:extLst>
  </p:cSld>
  <p:clrMapOvr>
    <a:masterClrMapping/>
  </p:clrMapOvr>
  <p:transition spd="med">
    <p:fade/>
  </p:transition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640624"/>
      </p:ext>
    </p:extLst>
  </p:cSld>
  <p:clrMapOvr>
    <a:masterClrMapping/>
  </p:clrMapOvr>
  <p:transition spd="med">
    <p:fade/>
  </p:transition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091537"/>
      </p:ext>
    </p:extLst>
  </p:cSld>
  <p:clrMapOvr>
    <a:masterClrMapping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/>
          <p:cNvSpPr txBox="1">
            <a:spLocks noChangeArrowheads="1"/>
          </p:cNvSpPr>
          <p:nvPr/>
        </p:nvSpPr>
        <p:spPr bwMode="auto">
          <a:xfrm>
            <a:off x="250825" y="4779963"/>
            <a:ext cx="344488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7" rIns="0" bIns="45717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327">
              <a:defRPr/>
            </a:pPr>
            <a:fld id="{3A954211-F350-4EF2-81B2-AB9D15BFFE3B}" type="slidenum">
              <a:rPr lang="fr-FR" altLang="fr-FR" sz="1200" smtClean="0">
                <a:solidFill>
                  <a:srgbClr val="000000"/>
                </a:solidFill>
                <a:latin typeface="Helvetica 55 Roman" panose="020B0604020202020204" pitchFamily="2" charset="0"/>
                <a:ea typeface="+mn-ea"/>
                <a:cs typeface="Arial" charset="0"/>
              </a:rPr>
              <a:pPr defTabSz="914327">
                <a:defRPr/>
              </a:pPr>
              <a:t>‹N°›</a:t>
            </a:fld>
            <a:endParaRPr lang="fr-FR" altLang="fr-FR" sz="1600" dirty="0" smtClean="0">
              <a:solidFill>
                <a:srgbClr val="000000"/>
              </a:solidFill>
              <a:latin typeface="Helvetica 55 Roman" panose="020B0604020202020204" pitchFamily="2" charset="0"/>
              <a:ea typeface="+mn-ea"/>
              <a:cs typeface="Arial" charset="0"/>
            </a:endParaRPr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250828" y="228601"/>
            <a:ext cx="8683625" cy="738188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 bwMode="gray">
          <a:xfrm>
            <a:off x="250825" y="1599643"/>
            <a:ext cx="4177160" cy="3071750"/>
          </a:xfrm>
        </p:spPr>
        <p:txBody>
          <a:bodyPr/>
          <a:lstStyle>
            <a:lvl1pPr>
              <a:buSzPct val="100000"/>
              <a:defRPr/>
            </a:lvl1pPr>
            <a:lvl3pPr>
              <a:buSzPct val="100000"/>
              <a:defRPr/>
            </a:lvl3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1"/>
          </p:nvPr>
        </p:nvSpPr>
        <p:spPr>
          <a:xfrm>
            <a:off x="4758450" y="1600629"/>
            <a:ext cx="4176000" cy="307735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lang="fr-FR" dirty="0" smtClean="0"/>
            </a:lvl1pPr>
            <a:lvl2pPr>
              <a:defRPr lang="fr-FR" dirty="0" smtClean="0"/>
            </a:lvl2pPr>
            <a:lvl3pPr>
              <a:defRPr lang="fr-FR" dirty="0" smtClean="0"/>
            </a:lvl3pPr>
            <a:lvl4pPr>
              <a:defRPr lang="fr-FR" dirty="0" smtClean="0"/>
            </a:lvl4pPr>
            <a:lvl5pPr>
              <a:defRPr lang="fr-FR" dirty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250827" y="1114090"/>
            <a:ext cx="4177159" cy="37754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marL="0" indent="0">
              <a:buNone/>
              <a:defRPr lang="fr-FR" sz="2000" b="1" dirty="0" smtClean="0">
                <a:solidFill>
                  <a:schemeClr val="tx2"/>
                </a:solidFill>
                <a:latin typeface="Helvetica 75 Bold" panose="020B0804020202020204" pitchFamily="34" charset="0"/>
              </a:defRPr>
            </a:lvl1pPr>
            <a:lvl2pPr>
              <a:defRPr lang="fr-FR" dirty="0" smtClean="0"/>
            </a:lvl2pPr>
            <a:lvl3pPr>
              <a:defRPr lang="fr-FR" dirty="0" smtClean="0"/>
            </a:lvl3pPr>
            <a:lvl4pPr>
              <a:defRPr lang="fr-FR" dirty="0" smtClean="0"/>
            </a:lvl4pPr>
            <a:lvl5pPr>
              <a:defRPr lang="fr-FR" dirty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4758453" y="1114090"/>
            <a:ext cx="4177159" cy="37754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marL="0" indent="0">
              <a:buNone/>
              <a:defRPr lang="fr-FR" sz="2000" b="1" dirty="0" smtClean="0">
                <a:solidFill>
                  <a:schemeClr val="tx2"/>
                </a:solidFill>
                <a:latin typeface="Helvetica 75 Bold" panose="020B0804020202020204" pitchFamily="34" charset="0"/>
              </a:defRPr>
            </a:lvl1pPr>
            <a:lvl2pPr>
              <a:defRPr lang="fr-FR" dirty="0" smtClean="0"/>
            </a:lvl2pPr>
            <a:lvl3pPr>
              <a:defRPr lang="fr-FR" dirty="0" smtClean="0"/>
            </a:lvl3pPr>
            <a:lvl4pPr>
              <a:defRPr lang="fr-FR" dirty="0" smtClean="0"/>
            </a:lvl4pPr>
            <a:lvl5pPr>
              <a:defRPr lang="fr-FR" dirty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663279024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21479333"/>
      </p:ext>
    </p:extLst>
  </p:cSld>
  <p:clrMapOvr>
    <a:masterClrMapping/>
  </p:clrMapOvr>
  <p:transition spd="med">
    <p:fade/>
  </p:transition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2788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6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5pPr>
              <a:lvl6pPr marL="18811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6pPr>
              <a:lvl7pPr marL="23383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7pPr>
              <a:lvl8pPr marL="27955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8pPr>
              <a:lvl9pPr marL="32527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smtClean="0">
                <a:solidFill>
                  <a:srgbClr val="FF6600"/>
                </a:solidFill>
                <a:latin typeface="Helvetica 75 Bold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7 w 104"/>
                <a:gd name="T1" fmla="*/ 2147483647 h 122"/>
                <a:gd name="T2" fmla="*/ 2147483647 w 104"/>
                <a:gd name="T3" fmla="*/ 2147483647 h 122"/>
                <a:gd name="T4" fmla="*/ 2147483647 w 104"/>
                <a:gd name="T5" fmla="*/ 2147483647 h 122"/>
                <a:gd name="T6" fmla="*/ 2147483647 w 104"/>
                <a:gd name="T7" fmla="*/ 2147483647 h 122"/>
                <a:gd name="T8" fmla="*/ 2147483647 w 104"/>
                <a:gd name="T9" fmla="*/ 2147483647 h 122"/>
                <a:gd name="T10" fmla="*/ 2147483647 w 104"/>
                <a:gd name="T11" fmla="*/ 2147483647 h 122"/>
                <a:gd name="T12" fmla="*/ 2147483647 w 104"/>
                <a:gd name="T13" fmla="*/ 2147483647 h 122"/>
                <a:gd name="T14" fmla="*/ 0 w 104"/>
                <a:gd name="T15" fmla="*/ 2147483647 h 122"/>
                <a:gd name="T16" fmla="*/ 2147483647 w 104"/>
                <a:gd name="T17" fmla="*/ 2147483647 h 122"/>
                <a:gd name="T18" fmla="*/ 2147483647 w 104"/>
                <a:gd name="T19" fmla="*/ 2147483647 h 122"/>
                <a:gd name="T20" fmla="*/ 2147483647 w 104"/>
                <a:gd name="T21" fmla="*/ 2147483647 h 122"/>
                <a:gd name="T22" fmla="*/ 2147483647 w 104"/>
                <a:gd name="T23" fmla="*/ 2147483647 h 122"/>
                <a:gd name="T24" fmla="*/ 2147483647 w 104"/>
                <a:gd name="T25" fmla="*/ 2147483647 h 122"/>
                <a:gd name="T26" fmla="*/ 2147483647 w 104"/>
                <a:gd name="T27" fmla="*/ 0 h 122"/>
                <a:gd name="T28" fmla="*/ 2147483647 w 104"/>
                <a:gd name="T29" fmla="*/ 2147483647 h 122"/>
                <a:gd name="T30" fmla="*/ 2147483647 w 104"/>
                <a:gd name="T31" fmla="*/ 2147483647 h 122"/>
                <a:gd name="T32" fmla="*/ 2147483647 w 104"/>
                <a:gd name="T33" fmla="*/ 2147483647 h 122"/>
                <a:gd name="T34" fmla="*/ 2147483647 w 104"/>
                <a:gd name="T35" fmla="*/ 2147483647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7 h 120"/>
                <a:gd name="T2" fmla="*/ 2147483647 w 105"/>
                <a:gd name="T3" fmla="*/ 2147483647 h 120"/>
                <a:gd name="T4" fmla="*/ 2147483647 w 105"/>
                <a:gd name="T5" fmla="*/ 2147483647 h 120"/>
                <a:gd name="T6" fmla="*/ 2147483647 w 105"/>
                <a:gd name="T7" fmla="*/ 0 h 120"/>
                <a:gd name="T8" fmla="*/ 2147483647 w 105"/>
                <a:gd name="T9" fmla="*/ 2147483647 h 120"/>
                <a:gd name="T10" fmla="*/ 2147483647 w 105"/>
                <a:gd name="T11" fmla="*/ 2147483647 h 120"/>
                <a:gd name="T12" fmla="*/ 2147483647 w 105"/>
                <a:gd name="T13" fmla="*/ 2147483647 h 120"/>
                <a:gd name="T14" fmla="*/ 2147483647 w 105"/>
                <a:gd name="T15" fmla="*/ 2147483647 h 120"/>
                <a:gd name="T16" fmla="*/ 2147483647 w 105"/>
                <a:gd name="T17" fmla="*/ 2147483647 h 120"/>
                <a:gd name="T18" fmla="*/ 2147483647 w 105"/>
                <a:gd name="T19" fmla="*/ 2147483647 h 120"/>
                <a:gd name="T20" fmla="*/ 2147483647 w 105"/>
                <a:gd name="T21" fmla="*/ 2147483647 h 120"/>
                <a:gd name="T22" fmla="*/ 0 w 105"/>
                <a:gd name="T23" fmla="*/ 2147483647 h 120"/>
                <a:gd name="T24" fmla="*/ 0 w 105"/>
                <a:gd name="T25" fmla="*/ 2147483647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7 w 109"/>
                <a:gd name="T1" fmla="*/ 2147483647 h 122"/>
                <a:gd name="T2" fmla="*/ 2147483647 w 109"/>
                <a:gd name="T3" fmla="*/ 2147483647 h 122"/>
                <a:gd name="T4" fmla="*/ 2147483647 w 109"/>
                <a:gd name="T5" fmla="*/ 2147483647 h 122"/>
                <a:gd name="T6" fmla="*/ 2147483647 w 109"/>
                <a:gd name="T7" fmla="*/ 2147483647 h 122"/>
                <a:gd name="T8" fmla="*/ 2147483647 w 109"/>
                <a:gd name="T9" fmla="*/ 2147483647 h 122"/>
                <a:gd name="T10" fmla="*/ 0 w 109"/>
                <a:gd name="T11" fmla="*/ 2147483647 h 122"/>
                <a:gd name="T12" fmla="*/ 2147483647 w 109"/>
                <a:gd name="T13" fmla="*/ 0 h 122"/>
                <a:gd name="T14" fmla="*/ 2147483647 w 109"/>
                <a:gd name="T15" fmla="*/ 2147483647 h 122"/>
                <a:gd name="T16" fmla="*/ 2147483647 w 109"/>
                <a:gd name="T17" fmla="*/ 2147483647 h 122"/>
                <a:gd name="T18" fmla="*/ 2147483647 w 109"/>
                <a:gd name="T19" fmla="*/ 2147483647 h 122"/>
                <a:gd name="T20" fmla="*/ 2147483647 w 109"/>
                <a:gd name="T21" fmla="*/ 2147483647 h 122"/>
                <a:gd name="T22" fmla="*/ 2147483647 w 109"/>
                <a:gd name="T23" fmla="*/ 2147483647 h 122"/>
                <a:gd name="T24" fmla="*/ 2147483647 w 109"/>
                <a:gd name="T25" fmla="*/ 2147483647 h 122"/>
                <a:gd name="T26" fmla="*/ 2147483647 w 109"/>
                <a:gd name="T27" fmla="*/ 2147483647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7 w 116"/>
                <a:gd name="T1" fmla="*/ 2147483647 h 124"/>
                <a:gd name="T2" fmla="*/ 2147483647 w 116"/>
                <a:gd name="T3" fmla="*/ 2147483647 h 124"/>
                <a:gd name="T4" fmla="*/ 2147483647 w 116"/>
                <a:gd name="T5" fmla="*/ 2147483647 h 124"/>
                <a:gd name="T6" fmla="*/ 2147483647 w 116"/>
                <a:gd name="T7" fmla="*/ 2147483647 h 124"/>
                <a:gd name="T8" fmla="*/ 2147483647 w 116"/>
                <a:gd name="T9" fmla="*/ 2147483647 h 124"/>
                <a:gd name="T10" fmla="*/ 2147483647 w 116"/>
                <a:gd name="T11" fmla="*/ 2147483647 h 124"/>
                <a:gd name="T12" fmla="*/ 0 w 116"/>
                <a:gd name="T13" fmla="*/ 2147483647 h 124"/>
                <a:gd name="T14" fmla="*/ 2147483647 w 116"/>
                <a:gd name="T15" fmla="*/ 0 h 124"/>
                <a:gd name="T16" fmla="*/ 2147483647 w 116"/>
                <a:gd name="T17" fmla="*/ 2147483647 h 124"/>
                <a:gd name="T18" fmla="*/ 2147483647 w 116"/>
                <a:gd name="T19" fmla="*/ 2147483647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7 h 120"/>
                <a:gd name="T2" fmla="*/ 2147483647 w 66"/>
                <a:gd name="T3" fmla="*/ 2147483647 h 120"/>
                <a:gd name="T4" fmla="*/ 2147483647 w 66"/>
                <a:gd name="T5" fmla="*/ 2147483647 h 120"/>
                <a:gd name="T6" fmla="*/ 2147483647 w 66"/>
                <a:gd name="T7" fmla="*/ 0 h 120"/>
                <a:gd name="T8" fmla="*/ 2147483647 w 66"/>
                <a:gd name="T9" fmla="*/ 2147483647 h 120"/>
                <a:gd name="T10" fmla="*/ 2147483647 w 66"/>
                <a:gd name="T11" fmla="*/ 2147483647 h 120"/>
                <a:gd name="T12" fmla="*/ 2147483647 w 66"/>
                <a:gd name="T13" fmla="*/ 2147483647 h 120"/>
                <a:gd name="T14" fmla="*/ 2147483647 w 66"/>
                <a:gd name="T15" fmla="*/ 2147483647 h 120"/>
                <a:gd name="T16" fmla="*/ 2147483647 w 66"/>
                <a:gd name="T17" fmla="*/ 2147483647 h 120"/>
                <a:gd name="T18" fmla="*/ 0 w 66"/>
                <a:gd name="T19" fmla="*/ 2147483647 h 120"/>
                <a:gd name="T20" fmla="*/ 0 w 66"/>
                <a:gd name="T21" fmla="*/ 2147483647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7 w 110"/>
                <a:gd name="T1" fmla="*/ 2147483647 h 166"/>
                <a:gd name="T2" fmla="*/ 2147483647 w 110"/>
                <a:gd name="T3" fmla="*/ 2147483647 h 166"/>
                <a:gd name="T4" fmla="*/ 2147483647 w 110"/>
                <a:gd name="T5" fmla="*/ 2147483647 h 166"/>
                <a:gd name="T6" fmla="*/ 2147483647 w 110"/>
                <a:gd name="T7" fmla="*/ 2147483647 h 166"/>
                <a:gd name="T8" fmla="*/ 2147483647 w 110"/>
                <a:gd name="T9" fmla="*/ 2147483647 h 166"/>
                <a:gd name="T10" fmla="*/ 2147483647 w 110"/>
                <a:gd name="T11" fmla="*/ 2147483647 h 166"/>
                <a:gd name="T12" fmla="*/ 2147483647 w 110"/>
                <a:gd name="T13" fmla="*/ 2147483647 h 166"/>
                <a:gd name="T14" fmla="*/ 2147483647 w 110"/>
                <a:gd name="T15" fmla="*/ 2147483647 h 166"/>
                <a:gd name="T16" fmla="*/ 2147483647 w 110"/>
                <a:gd name="T17" fmla="*/ 2147483647 h 166"/>
                <a:gd name="T18" fmla="*/ 2147483647 w 110"/>
                <a:gd name="T19" fmla="*/ 2147483647 h 166"/>
                <a:gd name="T20" fmla="*/ 0 w 110"/>
                <a:gd name="T21" fmla="*/ 2147483647 h 166"/>
                <a:gd name="T22" fmla="*/ 2147483647 w 110"/>
                <a:gd name="T23" fmla="*/ 0 h 166"/>
                <a:gd name="T24" fmla="*/ 2147483647 w 110"/>
                <a:gd name="T25" fmla="*/ 2147483647 h 166"/>
                <a:gd name="T26" fmla="*/ 2147483647 w 110"/>
                <a:gd name="T27" fmla="*/ 2147483647 h 166"/>
                <a:gd name="T28" fmla="*/ 2147483647 w 110"/>
                <a:gd name="T29" fmla="*/ 2147483647 h 166"/>
                <a:gd name="T30" fmla="*/ 2147483647 w 110"/>
                <a:gd name="T31" fmla="*/ 2147483647 h 166"/>
                <a:gd name="T32" fmla="*/ 2147483647 w 110"/>
                <a:gd name="T33" fmla="*/ 2147483647 h 166"/>
                <a:gd name="T34" fmla="*/ 2147483647 w 110"/>
                <a:gd name="T35" fmla="*/ 2147483647 h 166"/>
                <a:gd name="T36" fmla="*/ 2147483647 w 110"/>
                <a:gd name="T37" fmla="*/ 2147483647 h 166"/>
                <a:gd name="T38" fmla="*/ 2147483647 w 110"/>
                <a:gd name="T39" fmla="*/ 2147483647 h 166"/>
                <a:gd name="T40" fmla="*/ 2147483647 w 110"/>
                <a:gd name="T41" fmla="*/ 2147483647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7 w 195"/>
                <a:gd name="T1" fmla="*/ 2147483647 h 92"/>
                <a:gd name="T2" fmla="*/ 2147483647 w 195"/>
                <a:gd name="T3" fmla="*/ 2147483647 h 92"/>
                <a:gd name="T4" fmla="*/ 2147483647 w 195"/>
                <a:gd name="T5" fmla="*/ 2147483647 h 92"/>
                <a:gd name="T6" fmla="*/ 2147483647 w 195"/>
                <a:gd name="T7" fmla="*/ 2147483647 h 92"/>
                <a:gd name="T8" fmla="*/ 2147483647 w 195"/>
                <a:gd name="T9" fmla="*/ 2147483647 h 92"/>
                <a:gd name="T10" fmla="*/ 2147483647 w 195"/>
                <a:gd name="T11" fmla="*/ 2147483647 h 92"/>
                <a:gd name="T12" fmla="*/ 2147483647 w 195"/>
                <a:gd name="T13" fmla="*/ 2147483647 h 92"/>
                <a:gd name="T14" fmla="*/ 2147483647 w 195"/>
                <a:gd name="T15" fmla="*/ 2147483647 h 92"/>
                <a:gd name="T16" fmla="*/ 2147483647 w 195"/>
                <a:gd name="T17" fmla="*/ 2147483647 h 92"/>
                <a:gd name="T18" fmla="*/ 2147483647 w 195"/>
                <a:gd name="T19" fmla="*/ 2147483647 h 92"/>
                <a:gd name="T20" fmla="*/ 2147483647 w 195"/>
                <a:gd name="T21" fmla="*/ 0 h 92"/>
                <a:gd name="T22" fmla="*/ 2147483647 w 195"/>
                <a:gd name="T23" fmla="*/ 0 h 92"/>
                <a:gd name="T24" fmla="*/ 2147483647 w 195"/>
                <a:gd name="T25" fmla="*/ 2147483647 h 92"/>
                <a:gd name="T26" fmla="*/ 2147483647 w 195"/>
                <a:gd name="T27" fmla="*/ 0 h 92"/>
                <a:gd name="T28" fmla="*/ 2147483647 w 195"/>
                <a:gd name="T29" fmla="*/ 0 h 92"/>
                <a:gd name="T30" fmla="*/ 2147483647 w 195"/>
                <a:gd name="T31" fmla="*/ 2147483647 h 92"/>
                <a:gd name="T32" fmla="*/ 2147483647 w 195"/>
                <a:gd name="T33" fmla="*/ 2147483647 h 92"/>
                <a:gd name="T34" fmla="*/ 2147483647 w 195"/>
                <a:gd name="T35" fmla="*/ 2147483647 h 92"/>
                <a:gd name="T36" fmla="*/ 2147483647 w 195"/>
                <a:gd name="T37" fmla="*/ 2147483647 h 92"/>
                <a:gd name="T38" fmla="*/ 2147483647 w 195"/>
                <a:gd name="T39" fmla="*/ 2147483647 h 92"/>
                <a:gd name="T40" fmla="*/ 2147483647 w 195"/>
                <a:gd name="T41" fmla="*/ 2147483647 h 92"/>
                <a:gd name="T42" fmla="*/ 0 w 195"/>
                <a:gd name="T43" fmla="*/ 2147483647 h 92"/>
                <a:gd name="T44" fmla="*/ 0 w 195"/>
                <a:gd name="T45" fmla="*/ 0 h 92"/>
                <a:gd name="T46" fmla="*/ 2147483647 w 195"/>
                <a:gd name="T47" fmla="*/ 0 h 92"/>
                <a:gd name="T48" fmla="*/ 2147483647 w 195"/>
                <a:gd name="T49" fmla="*/ 2147483647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394413101"/>
      </p:ext>
    </p:extLst>
  </p:cSld>
  <p:clrMapOvr>
    <a:masterClrMapping/>
  </p:clrMapOvr>
  <p:transition spd="med">
    <p:fade/>
  </p:transition>
  <p:hf sldNum="0" hdr="0" ftr="0"/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bg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367813226"/>
      </p:ext>
    </p:extLst>
  </p:cSld>
  <p:clrMapOvr>
    <a:masterClrMapping/>
  </p:clrMapOvr>
  <p:transition spd="med">
    <p:fade/>
  </p:transition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96555271"/>
      </p:ext>
    </p:extLst>
  </p:cSld>
  <p:clrMapOvr>
    <a:masterClrMapping/>
  </p:clrMapOvr>
  <p:transition spd="med">
    <p:fade/>
  </p:transition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9633449"/>
      </p:ext>
    </p:extLst>
  </p:cSld>
  <p:clrMapOvr>
    <a:masterClrMapping/>
  </p:clrMapOvr>
  <p:transition spd="med">
    <p:fade/>
  </p:transition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236225"/>
      </p:ext>
    </p:extLst>
  </p:cSld>
  <p:clrMapOvr>
    <a:masterClrMapping/>
  </p:clrMapOvr>
  <p:transition spd="med">
    <p:fade/>
  </p:transition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8673142"/>
      </p:ext>
    </p:extLst>
  </p:cSld>
  <p:clrMapOvr>
    <a:masterClrMapping/>
  </p:clrMapOvr>
  <p:transition spd="med">
    <p:fade/>
  </p:transition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0281468"/>
      </p:ext>
    </p:extLst>
  </p:cSld>
  <p:clrMapOvr>
    <a:masterClrMapping/>
  </p:clrMapOvr>
  <p:transition spd="med">
    <p:fade/>
  </p:transition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4554056"/>
      </p:ext>
    </p:extLst>
  </p:cSld>
  <p:clrMapOvr>
    <a:masterClrMapping/>
  </p:clrMapOvr>
  <p:transition spd="med">
    <p:fade/>
  </p:transition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5156201"/>
      </p:ext>
    </p:extLst>
  </p:cSld>
  <p:clrMapOvr>
    <a:masterClrMapping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62"/>
          <p:cNvSpPr>
            <a:spLocks noChangeArrowheads="1"/>
          </p:cNvSpPr>
          <p:nvPr userDrawn="1"/>
        </p:nvSpPr>
        <p:spPr bwMode="auto">
          <a:xfrm rot="16200000">
            <a:off x="7676357" y="3601244"/>
            <a:ext cx="2795587" cy="18732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45717" rIns="0" bIns="45717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327" eaLnBrk="1" hangingPunct="1">
              <a:defRPr/>
            </a:pPr>
            <a:r>
              <a:rPr lang="en-GB" altLang="fr-FR" sz="700" dirty="0" smtClean="0">
                <a:solidFill>
                  <a:srgbClr val="7F7F7F"/>
                </a:solidFill>
                <a:latin typeface="Helvetica 55 Roman" pitchFamily="2" charset="0"/>
                <a:ea typeface="+mn-ea"/>
              </a:rPr>
              <a:t>Interne</a:t>
            </a:r>
            <a:r>
              <a:rPr lang="en-US" altLang="fr-FR" sz="700" dirty="0" smtClean="0">
                <a:solidFill>
                  <a:srgbClr val="7F7F7F"/>
                </a:solidFill>
                <a:latin typeface="Helvetica 55 Roman" pitchFamily="2" charset="0"/>
                <a:ea typeface="+mn-ea"/>
              </a:rPr>
              <a:t> Orange – DR Orange Open pro partagé </a:t>
            </a:r>
          </a:p>
        </p:txBody>
      </p:sp>
      <p:sp>
        <p:nvSpPr>
          <p:cNvPr id="4" name="ZoneTexte 3"/>
          <p:cNvSpPr txBox="1">
            <a:spLocks noChangeArrowheads="1"/>
          </p:cNvSpPr>
          <p:nvPr userDrawn="1"/>
        </p:nvSpPr>
        <p:spPr bwMode="auto">
          <a:xfrm>
            <a:off x="107950" y="4779963"/>
            <a:ext cx="23018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7" rIns="0" bIns="45717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327">
              <a:defRPr/>
            </a:pPr>
            <a:fld id="{9BE77B51-4373-4A4A-A0BE-20FC84C685AE}" type="slidenum">
              <a:rPr lang="fr-FR" altLang="fr-FR" sz="800" smtClean="0">
                <a:solidFill>
                  <a:srgbClr val="000000"/>
                </a:solidFill>
                <a:latin typeface="Helvetica 55 Roman" panose="020B0604020202020204" pitchFamily="2" charset="0"/>
                <a:ea typeface="+mn-ea"/>
                <a:cs typeface="Arial" charset="0"/>
              </a:rPr>
              <a:pPr defTabSz="914327">
                <a:defRPr/>
              </a:pPr>
              <a:t>‹N°›</a:t>
            </a:fld>
            <a:endParaRPr lang="fr-FR" altLang="fr-FR" sz="800" dirty="0" smtClean="0">
              <a:solidFill>
                <a:srgbClr val="000000"/>
              </a:solidFill>
              <a:latin typeface="Helvetica 55 Roman" panose="020B0604020202020204" pitchFamily="2" charset="0"/>
              <a:ea typeface="+mn-ea"/>
              <a:cs typeface="Arial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333280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62"/>
          <p:cNvGrpSpPr>
            <a:grpSpLocks/>
          </p:cNvGrpSpPr>
          <p:nvPr userDrawn="1"/>
        </p:nvGrpSpPr>
        <p:grpSpPr bwMode="auto">
          <a:xfrm>
            <a:off x="339725" y="4132263"/>
            <a:ext cx="1873250" cy="682625"/>
            <a:chOff x="339725" y="4132263"/>
            <a:chExt cx="1873251" cy="682625"/>
          </a:xfrm>
        </p:grpSpPr>
        <p:grpSp>
          <p:nvGrpSpPr>
            <p:cNvPr id="6" name="Group 60"/>
            <p:cNvGrpSpPr>
              <a:grpSpLocks/>
            </p:cNvGrpSpPr>
            <p:nvPr userDrawn="1"/>
          </p:nvGrpSpPr>
          <p:grpSpPr bwMode="auto">
            <a:xfrm>
              <a:off x="339725" y="4132263"/>
              <a:ext cx="674688" cy="677863"/>
              <a:chOff x="339725" y="4132263"/>
              <a:chExt cx="674688" cy="677863"/>
            </a:xfrm>
          </p:grpSpPr>
          <p:sp>
            <p:nvSpPr>
              <p:cNvPr id="24" name="Rectangle 7"/>
              <p:cNvSpPr>
                <a:spLocks noChangeArrowheads="1"/>
              </p:cNvSpPr>
              <p:nvPr userDrawn="1"/>
            </p:nvSpPr>
            <p:spPr bwMode="auto">
              <a:xfrm>
                <a:off x="339725" y="4132263"/>
                <a:ext cx="674688" cy="677862"/>
              </a:xfrm>
              <a:prstGeom prst="rect">
                <a:avLst/>
              </a:prstGeom>
              <a:solidFill>
                <a:srgbClr val="FF66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712788" eaLnBrk="0" hangingPunct="0">
                  <a:defRPr sz="1400">
                    <a:solidFill>
                      <a:schemeClr val="tx1"/>
                    </a:solidFill>
                    <a:latin typeface="Helvetica 75"/>
                    <a:ea typeface="MS PGothic" pitchFamily="34" charset="-128"/>
                  </a:defRPr>
                </a:lvl1pPr>
                <a:lvl2pPr defTabSz="712788" eaLnBrk="0" hangingPunct="0">
                  <a:defRPr sz="1400">
                    <a:solidFill>
                      <a:schemeClr val="tx1"/>
                    </a:solidFill>
                    <a:latin typeface="Helvetica 75"/>
                    <a:ea typeface="MS PGothic" pitchFamily="34" charset="-128"/>
                  </a:defRPr>
                </a:lvl2pPr>
                <a:lvl3pPr defTabSz="712788" eaLnBrk="0" hangingPunct="0">
                  <a:defRPr sz="1400">
                    <a:solidFill>
                      <a:schemeClr val="tx1"/>
                    </a:solidFill>
                    <a:latin typeface="Helvetica 75"/>
                    <a:ea typeface="MS PGothic" pitchFamily="34" charset="-128"/>
                  </a:defRPr>
                </a:lvl3pPr>
                <a:lvl4pPr defTabSz="712788" eaLnBrk="0" hangingPunct="0">
                  <a:defRPr sz="1400">
                    <a:solidFill>
                      <a:schemeClr val="tx1"/>
                    </a:solidFill>
                    <a:latin typeface="Helvetica 75"/>
                    <a:ea typeface="MS PGothic" pitchFamily="34" charset="-128"/>
                  </a:defRPr>
                </a:lvl4pPr>
                <a:lvl5pPr defTabSz="712788" eaLnBrk="0" hangingPunct="0">
                  <a:defRPr sz="1400">
                    <a:solidFill>
                      <a:schemeClr val="tx1"/>
                    </a:solidFill>
                    <a:latin typeface="Helvetica 75"/>
                    <a:ea typeface="MS PGothic" pitchFamily="34" charset="-128"/>
                  </a:defRPr>
                </a:lvl5pPr>
                <a:lvl6pPr marL="1881188" indent="401638" defTabSz="7127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Helvetica 75"/>
                    <a:ea typeface="MS PGothic" pitchFamily="34" charset="-128"/>
                  </a:defRPr>
                </a:lvl6pPr>
                <a:lvl7pPr marL="2338388" indent="401638" defTabSz="7127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Helvetica 75"/>
                    <a:ea typeface="MS PGothic" pitchFamily="34" charset="-128"/>
                  </a:defRPr>
                </a:lvl7pPr>
                <a:lvl8pPr marL="2795588" indent="401638" defTabSz="7127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Helvetica 75"/>
                    <a:ea typeface="MS PGothic" pitchFamily="34" charset="-128"/>
                  </a:defRPr>
                </a:lvl8pPr>
                <a:lvl9pPr marL="3252788" indent="401638" defTabSz="7127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Helvetica 75"/>
                    <a:ea typeface="MS PGothic" pitchFamily="34" charset="-128"/>
                  </a:defRPr>
                </a:lvl9pPr>
              </a:lstStyle>
              <a:p>
                <a:pPr eaLnBrk="1" hangingPunct="1">
                  <a:defRPr/>
                </a:pPr>
                <a:endParaRPr lang="fr-FR" altLang="fr-FR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5" name="Freeform 8"/>
              <p:cNvSpPr>
                <a:spLocks noEditPoints="1"/>
              </p:cNvSpPr>
              <p:nvPr userDrawn="1"/>
            </p:nvSpPr>
            <p:spPr bwMode="auto">
              <a:xfrm>
                <a:off x="546100" y="4656138"/>
                <a:ext cx="82550" cy="98425"/>
              </a:xfrm>
              <a:custGeom>
                <a:avLst/>
                <a:gdLst>
                  <a:gd name="T0" fmla="*/ 2147483647 w 65"/>
                  <a:gd name="T1" fmla="*/ 2147483647 h 76"/>
                  <a:gd name="T2" fmla="*/ 2147483647 w 65"/>
                  <a:gd name="T3" fmla="*/ 2147483647 h 76"/>
                  <a:gd name="T4" fmla="*/ 0 w 65"/>
                  <a:gd name="T5" fmla="*/ 2147483647 h 76"/>
                  <a:gd name="T6" fmla="*/ 2147483647 w 65"/>
                  <a:gd name="T7" fmla="*/ 2147483647 h 76"/>
                  <a:gd name="T8" fmla="*/ 2147483647 w 65"/>
                  <a:gd name="T9" fmla="*/ 2147483647 h 76"/>
                  <a:gd name="T10" fmla="*/ 2147483647 w 65"/>
                  <a:gd name="T11" fmla="*/ 2147483647 h 76"/>
                  <a:gd name="T12" fmla="*/ 2147483647 w 65"/>
                  <a:gd name="T13" fmla="*/ 2147483647 h 76"/>
                  <a:gd name="T14" fmla="*/ 2147483647 w 65"/>
                  <a:gd name="T15" fmla="*/ 2147483647 h 76"/>
                  <a:gd name="T16" fmla="*/ 2147483647 w 65"/>
                  <a:gd name="T17" fmla="*/ 0 h 76"/>
                  <a:gd name="T18" fmla="*/ 2147483647 w 65"/>
                  <a:gd name="T19" fmla="*/ 2147483647 h 76"/>
                  <a:gd name="T20" fmla="*/ 2147483647 w 65"/>
                  <a:gd name="T21" fmla="*/ 2147483647 h 76"/>
                  <a:gd name="T22" fmla="*/ 2147483647 w 65"/>
                  <a:gd name="T23" fmla="*/ 2147483647 h 76"/>
                  <a:gd name="T24" fmla="*/ 2147483647 w 65"/>
                  <a:gd name="T25" fmla="*/ 2147483647 h 76"/>
                  <a:gd name="T26" fmla="*/ 2147483647 w 65"/>
                  <a:gd name="T27" fmla="*/ 2147483647 h 76"/>
                  <a:gd name="T28" fmla="*/ 2147483647 w 65"/>
                  <a:gd name="T29" fmla="*/ 2147483647 h 76"/>
                  <a:gd name="T30" fmla="*/ 2147483647 w 65"/>
                  <a:gd name="T31" fmla="*/ 2147483647 h 76"/>
                  <a:gd name="T32" fmla="*/ 2147483647 w 65"/>
                  <a:gd name="T33" fmla="*/ 2147483647 h 76"/>
                  <a:gd name="T34" fmla="*/ 2147483647 w 65"/>
                  <a:gd name="T35" fmla="*/ 2147483647 h 7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65" h="76">
                    <a:moveTo>
                      <a:pt x="46" y="69"/>
                    </a:moveTo>
                    <a:cubicBezTo>
                      <a:pt x="38" y="73"/>
                      <a:pt x="30" y="76"/>
                      <a:pt x="22" y="76"/>
                    </a:cubicBezTo>
                    <a:cubicBezTo>
                      <a:pt x="8" y="76"/>
                      <a:pt x="0" y="67"/>
                      <a:pt x="0" y="55"/>
                    </a:cubicBezTo>
                    <a:cubicBezTo>
                      <a:pt x="0" y="38"/>
                      <a:pt x="15" y="29"/>
                      <a:pt x="46" y="26"/>
                    </a:cubicBezTo>
                    <a:cubicBezTo>
                      <a:pt x="46" y="22"/>
                      <a:pt x="46" y="22"/>
                      <a:pt x="46" y="22"/>
                    </a:cubicBezTo>
                    <a:cubicBezTo>
                      <a:pt x="46" y="17"/>
                      <a:pt x="42" y="14"/>
                      <a:pt x="35" y="14"/>
                    </a:cubicBezTo>
                    <a:cubicBezTo>
                      <a:pt x="27" y="14"/>
                      <a:pt x="21" y="16"/>
                      <a:pt x="17" y="22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11" y="5"/>
                      <a:pt x="21" y="0"/>
                      <a:pt x="35" y="0"/>
                    </a:cubicBezTo>
                    <a:cubicBezTo>
                      <a:pt x="54" y="0"/>
                      <a:pt x="65" y="8"/>
                      <a:pt x="65" y="22"/>
                    </a:cubicBezTo>
                    <a:cubicBezTo>
                      <a:pt x="65" y="22"/>
                      <a:pt x="65" y="75"/>
                      <a:pt x="65" y="75"/>
                    </a:cubicBezTo>
                    <a:cubicBezTo>
                      <a:pt x="48" y="75"/>
                      <a:pt x="48" y="75"/>
                      <a:pt x="48" y="75"/>
                    </a:cubicBezTo>
                    <a:lnTo>
                      <a:pt x="46" y="69"/>
                    </a:lnTo>
                    <a:close/>
                    <a:moveTo>
                      <a:pt x="19" y="53"/>
                    </a:moveTo>
                    <a:cubicBezTo>
                      <a:pt x="19" y="58"/>
                      <a:pt x="22" y="63"/>
                      <a:pt x="28" y="63"/>
                    </a:cubicBezTo>
                    <a:cubicBezTo>
                      <a:pt x="34" y="63"/>
                      <a:pt x="40" y="60"/>
                      <a:pt x="45" y="55"/>
                    </a:cubicBezTo>
                    <a:cubicBezTo>
                      <a:pt x="45" y="38"/>
                      <a:pt x="45" y="38"/>
                      <a:pt x="45" y="38"/>
                    </a:cubicBezTo>
                    <a:cubicBezTo>
                      <a:pt x="27" y="40"/>
                      <a:pt x="19" y="44"/>
                      <a:pt x="19" y="5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6" name="Freeform 9"/>
              <p:cNvSpPr>
                <a:spLocks/>
              </p:cNvSpPr>
              <p:nvPr userDrawn="1"/>
            </p:nvSpPr>
            <p:spPr bwMode="auto">
              <a:xfrm>
                <a:off x="647700" y="4656138"/>
                <a:ext cx="85725" cy="96838"/>
              </a:xfrm>
              <a:custGeom>
                <a:avLst/>
                <a:gdLst>
                  <a:gd name="T0" fmla="*/ 0 w 66"/>
                  <a:gd name="T1" fmla="*/ 2147483647 h 75"/>
                  <a:gd name="T2" fmla="*/ 2147483647 w 66"/>
                  <a:gd name="T3" fmla="*/ 2147483647 h 75"/>
                  <a:gd name="T4" fmla="*/ 2147483647 w 66"/>
                  <a:gd name="T5" fmla="*/ 2147483647 h 75"/>
                  <a:gd name="T6" fmla="*/ 2147483647 w 66"/>
                  <a:gd name="T7" fmla="*/ 0 h 75"/>
                  <a:gd name="T8" fmla="*/ 2147483647 w 66"/>
                  <a:gd name="T9" fmla="*/ 2147483647 h 75"/>
                  <a:gd name="T10" fmla="*/ 2147483647 w 66"/>
                  <a:gd name="T11" fmla="*/ 2147483647 h 75"/>
                  <a:gd name="T12" fmla="*/ 2147483647 w 66"/>
                  <a:gd name="T13" fmla="*/ 2147483647 h 75"/>
                  <a:gd name="T14" fmla="*/ 2147483647 w 66"/>
                  <a:gd name="T15" fmla="*/ 2147483647 h 75"/>
                  <a:gd name="T16" fmla="*/ 2147483647 w 66"/>
                  <a:gd name="T17" fmla="*/ 2147483647 h 75"/>
                  <a:gd name="T18" fmla="*/ 2147483647 w 66"/>
                  <a:gd name="T19" fmla="*/ 2147483647 h 75"/>
                  <a:gd name="T20" fmla="*/ 2147483647 w 66"/>
                  <a:gd name="T21" fmla="*/ 2147483647 h 75"/>
                  <a:gd name="T22" fmla="*/ 0 w 66"/>
                  <a:gd name="T23" fmla="*/ 2147483647 h 75"/>
                  <a:gd name="T24" fmla="*/ 0 w 66"/>
                  <a:gd name="T25" fmla="*/ 2147483647 h 7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66" h="75">
                    <a:moveTo>
                      <a:pt x="0" y="4"/>
                    </a:moveTo>
                    <a:cubicBezTo>
                      <a:pt x="16" y="2"/>
                      <a:pt x="16" y="2"/>
                      <a:pt x="16" y="2"/>
                    </a:cubicBezTo>
                    <a:cubicBezTo>
                      <a:pt x="18" y="10"/>
                      <a:pt x="18" y="10"/>
                      <a:pt x="18" y="10"/>
                    </a:cubicBezTo>
                    <a:cubicBezTo>
                      <a:pt x="27" y="4"/>
                      <a:pt x="34" y="0"/>
                      <a:pt x="43" y="0"/>
                    </a:cubicBezTo>
                    <a:cubicBezTo>
                      <a:pt x="58" y="0"/>
                      <a:pt x="66" y="8"/>
                      <a:pt x="66" y="24"/>
                    </a:cubicBezTo>
                    <a:cubicBezTo>
                      <a:pt x="66" y="75"/>
                      <a:pt x="66" y="75"/>
                      <a:pt x="66" y="75"/>
                    </a:cubicBezTo>
                    <a:cubicBezTo>
                      <a:pt x="46" y="75"/>
                      <a:pt x="46" y="75"/>
                      <a:pt x="46" y="75"/>
                    </a:cubicBezTo>
                    <a:cubicBezTo>
                      <a:pt x="46" y="27"/>
                      <a:pt x="46" y="27"/>
                      <a:pt x="46" y="27"/>
                    </a:cubicBezTo>
                    <a:cubicBezTo>
                      <a:pt x="46" y="18"/>
                      <a:pt x="44" y="14"/>
                      <a:pt x="37" y="14"/>
                    </a:cubicBezTo>
                    <a:cubicBezTo>
                      <a:pt x="31" y="14"/>
                      <a:pt x="26" y="17"/>
                      <a:pt x="19" y="22"/>
                    </a:cubicBezTo>
                    <a:cubicBezTo>
                      <a:pt x="19" y="75"/>
                      <a:pt x="19" y="75"/>
                      <a:pt x="19" y="75"/>
                    </a:cubicBezTo>
                    <a:cubicBezTo>
                      <a:pt x="0" y="75"/>
                      <a:pt x="0" y="75"/>
                      <a:pt x="0" y="75"/>
                    </a:cubicBez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7" name="Freeform 10"/>
              <p:cNvSpPr>
                <a:spLocks noEditPoints="1"/>
              </p:cNvSpPr>
              <p:nvPr userDrawn="1"/>
            </p:nvSpPr>
            <p:spPr bwMode="auto">
              <a:xfrm>
                <a:off x="852488" y="4656138"/>
                <a:ext cx="87313" cy="98425"/>
              </a:xfrm>
              <a:custGeom>
                <a:avLst/>
                <a:gdLst>
                  <a:gd name="T0" fmla="*/ 2147483647 w 67"/>
                  <a:gd name="T1" fmla="*/ 2147483647 h 76"/>
                  <a:gd name="T2" fmla="*/ 0 w 67"/>
                  <a:gd name="T3" fmla="*/ 2147483647 h 76"/>
                  <a:gd name="T4" fmla="*/ 2147483647 w 67"/>
                  <a:gd name="T5" fmla="*/ 0 h 76"/>
                  <a:gd name="T6" fmla="*/ 2147483647 w 67"/>
                  <a:gd name="T7" fmla="*/ 2147483647 h 76"/>
                  <a:gd name="T8" fmla="*/ 2147483647 w 67"/>
                  <a:gd name="T9" fmla="*/ 2147483647 h 76"/>
                  <a:gd name="T10" fmla="*/ 2147483647 w 67"/>
                  <a:gd name="T11" fmla="*/ 2147483647 h 76"/>
                  <a:gd name="T12" fmla="*/ 2147483647 w 67"/>
                  <a:gd name="T13" fmla="*/ 2147483647 h 76"/>
                  <a:gd name="T14" fmla="*/ 2147483647 w 67"/>
                  <a:gd name="T15" fmla="*/ 2147483647 h 76"/>
                  <a:gd name="T16" fmla="*/ 2147483647 w 67"/>
                  <a:gd name="T17" fmla="*/ 2147483647 h 76"/>
                  <a:gd name="T18" fmla="*/ 2147483647 w 67"/>
                  <a:gd name="T19" fmla="*/ 2147483647 h 76"/>
                  <a:gd name="T20" fmla="*/ 2147483647 w 67"/>
                  <a:gd name="T21" fmla="*/ 2147483647 h 76"/>
                  <a:gd name="T22" fmla="*/ 2147483647 w 67"/>
                  <a:gd name="T23" fmla="*/ 2147483647 h 76"/>
                  <a:gd name="T24" fmla="*/ 2147483647 w 67"/>
                  <a:gd name="T25" fmla="*/ 2147483647 h 76"/>
                  <a:gd name="T26" fmla="*/ 2147483647 w 67"/>
                  <a:gd name="T27" fmla="*/ 2147483647 h 7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7" h="76">
                    <a:moveTo>
                      <a:pt x="34" y="76"/>
                    </a:moveTo>
                    <a:cubicBezTo>
                      <a:pt x="13" y="76"/>
                      <a:pt x="0" y="62"/>
                      <a:pt x="0" y="38"/>
                    </a:cubicBezTo>
                    <a:cubicBezTo>
                      <a:pt x="0" y="14"/>
                      <a:pt x="13" y="0"/>
                      <a:pt x="34" y="0"/>
                    </a:cubicBezTo>
                    <a:cubicBezTo>
                      <a:pt x="55" y="0"/>
                      <a:pt x="67" y="14"/>
                      <a:pt x="67" y="37"/>
                    </a:cubicBezTo>
                    <a:cubicBezTo>
                      <a:pt x="67" y="39"/>
                      <a:pt x="67" y="40"/>
                      <a:pt x="67" y="41"/>
                    </a:cubicBezTo>
                    <a:cubicBezTo>
                      <a:pt x="19" y="41"/>
                      <a:pt x="19" y="41"/>
                      <a:pt x="19" y="41"/>
                    </a:cubicBezTo>
                    <a:cubicBezTo>
                      <a:pt x="19" y="55"/>
                      <a:pt x="24" y="62"/>
                      <a:pt x="36" y="62"/>
                    </a:cubicBezTo>
                    <a:cubicBezTo>
                      <a:pt x="43" y="62"/>
                      <a:pt x="48" y="59"/>
                      <a:pt x="52" y="53"/>
                    </a:cubicBezTo>
                    <a:cubicBezTo>
                      <a:pt x="67" y="60"/>
                      <a:pt x="67" y="60"/>
                      <a:pt x="67" y="60"/>
                    </a:cubicBezTo>
                    <a:cubicBezTo>
                      <a:pt x="60" y="71"/>
                      <a:pt x="49" y="76"/>
                      <a:pt x="34" y="76"/>
                    </a:cubicBezTo>
                    <a:close/>
                    <a:moveTo>
                      <a:pt x="49" y="29"/>
                    </a:moveTo>
                    <a:cubicBezTo>
                      <a:pt x="49" y="19"/>
                      <a:pt x="43" y="13"/>
                      <a:pt x="34" y="13"/>
                    </a:cubicBezTo>
                    <a:cubicBezTo>
                      <a:pt x="25" y="13"/>
                      <a:pt x="20" y="19"/>
                      <a:pt x="19" y="29"/>
                    </a:cubicBezTo>
                    <a:lnTo>
                      <a:pt x="49" y="2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8" name="Freeform 11"/>
              <p:cNvSpPr>
                <a:spLocks noEditPoints="1"/>
              </p:cNvSpPr>
              <p:nvPr userDrawn="1"/>
            </p:nvSpPr>
            <p:spPr bwMode="auto">
              <a:xfrm>
                <a:off x="376238" y="4656138"/>
                <a:ext cx="93663" cy="100013"/>
              </a:xfrm>
              <a:custGeom>
                <a:avLst/>
                <a:gdLst>
                  <a:gd name="T0" fmla="*/ 2147483647 w 73"/>
                  <a:gd name="T1" fmla="*/ 2147483647 h 77"/>
                  <a:gd name="T2" fmla="*/ 0 w 73"/>
                  <a:gd name="T3" fmla="*/ 2147483647 h 77"/>
                  <a:gd name="T4" fmla="*/ 2147483647 w 73"/>
                  <a:gd name="T5" fmla="*/ 0 h 77"/>
                  <a:gd name="T6" fmla="*/ 2147483647 w 73"/>
                  <a:gd name="T7" fmla="*/ 2147483647 h 77"/>
                  <a:gd name="T8" fmla="*/ 2147483647 w 73"/>
                  <a:gd name="T9" fmla="*/ 2147483647 h 77"/>
                  <a:gd name="T10" fmla="*/ 2147483647 w 73"/>
                  <a:gd name="T11" fmla="*/ 2147483647 h 77"/>
                  <a:gd name="T12" fmla="*/ 2147483647 w 73"/>
                  <a:gd name="T13" fmla="*/ 2147483647 h 77"/>
                  <a:gd name="T14" fmla="*/ 2147483647 w 73"/>
                  <a:gd name="T15" fmla="*/ 2147483647 h 77"/>
                  <a:gd name="T16" fmla="*/ 2147483647 w 73"/>
                  <a:gd name="T17" fmla="*/ 2147483647 h 77"/>
                  <a:gd name="T18" fmla="*/ 2147483647 w 73"/>
                  <a:gd name="T19" fmla="*/ 2147483647 h 7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73" h="77">
                    <a:moveTo>
                      <a:pt x="36" y="77"/>
                    </a:moveTo>
                    <a:cubicBezTo>
                      <a:pt x="17" y="77"/>
                      <a:pt x="0" y="65"/>
                      <a:pt x="0" y="38"/>
                    </a:cubicBezTo>
                    <a:cubicBezTo>
                      <a:pt x="0" y="12"/>
                      <a:pt x="17" y="0"/>
                      <a:pt x="36" y="0"/>
                    </a:cubicBezTo>
                    <a:cubicBezTo>
                      <a:pt x="55" y="0"/>
                      <a:pt x="73" y="12"/>
                      <a:pt x="73" y="38"/>
                    </a:cubicBezTo>
                    <a:cubicBezTo>
                      <a:pt x="73" y="65"/>
                      <a:pt x="55" y="77"/>
                      <a:pt x="36" y="77"/>
                    </a:cubicBezTo>
                    <a:close/>
                    <a:moveTo>
                      <a:pt x="36" y="16"/>
                    </a:moveTo>
                    <a:cubicBezTo>
                      <a:pt x="22" y="16"/>
                      <a:pt x="19" y="29"/>
                      <a:pt x="19" y="38"/>
                    </a:cubicBezTo>
                    <a:cubicBezTo>
                      <a:pt x="19" y="48"/>
                      <a:pt x="22" y="61"/>
                      <a:pt x="36" y="61"/>
                    </a:cubicBezTo>
                    <a:cubicBezTo>
                      <a:pt x="51" y="61"/>
                      <a:pt x="53" y="48"/>
                      <a:pt x="53" y="38"/>
                    </a:cubicBezTo>
                    <a:cubicBezTo>
                      <a:pt x="53" y="29"/>
                      <a:pt x="51" y="16"/>
                      <a:pt x="36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9" name="Freeform 12"/>
              <p:cNvSpPr>
                <a:spLocks/>
              </p:cNvSpPr>
              <p:nvPr userDrawn="1"/>
            </p:nvSpPr>
            <p:spPr bwMode="auto">
              <a:xfrm>
                <a:off x="485775" y="4656138"/>
                <a:ext cx="53975" cy="96838"/>
              </a:xfrm>
              <a:custGeom>
                <a:avLst/>
                <a:gdLst>
                  <a:gd name="T0" fmla="*/ 0 w 41"/>
                  <a:gd name="T1" fmla="*/ 2147483647 h 75"/>
                  <a:gd name="T2" fmla="*/ 2147483647 w 41"/>
                  <a:gd name="T3" fmla="*/ 2147483647 h 75"/>
                  <a:gd name="T4" fmla="*/ 2147483647 w 41"/>
                  <a:gd name="T5" fmla="*/ 2147483647 h 75"/>
                  <a:gd name="T6" fmla="*/ 2147483647 w 41"/>
                  <a:gd name="T7" fmla="*/ 0 h 75"/>
                  <a:gd name="T8" fmla="*/ 2147483647 w 41"/>
                  <a:gd name="T9" fmla="*/ 0 h 75"/>
                  <a:gd name="T10" fmla="*/ 2147483647 w 41"/>
                  <a:gd name="T11" fmla="*/ 2147483647 h 75"/>
                  <a:gd name="T12" fmla="*/ 2147483647 w 41"/>
                  <a:gd name="T13" fmla="*/ 2147483647 h 75"/>
                  <a:gd name="T14" fmla="*/ 2147483647 w 41"/>
                  <a:gd name="T15" fmla="*/ 2147483647 h 75"/>
                  <a:gd name="T16" fmla="*/ 2147483647 w 41"/>
                  <a:gd name="T17" fmla="*/ 2147483647 h 75"/>
                  <a:gd name="T18" fmla="*/ 0 w 41"/>
                  <a:gd name="T19" fmla="*/ 2147483647 h 75"/>
                  <a:gd name="T20" fmla="*/ 0 w 41"/>
                  <a:gd name="T21" fmla="*/ 2147483647 h 7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41" h="75">
                    <a:moveTo>
                      <a:pt x="0" y="2"/>
                    </a:moveTo>
                    <a:cubicBezTo>
                      <a:pt x="18" y="2"/>
                      <a:pt x="18" y="2"/>
                      <a:pt x="18" y="2"/>
                    </a:cubicBezTo>
                    <a:cubicBezTo>
                      <a:pt x="18" y="10"/>
                      <a:pt x="18" y="10"/>
                      <a:pt x="18" y="10"/>
                    </a:cubicBezTo>
                    <a:cubicBezTo>
                      <a:pt x="22" y="6"/>
                      <a:pt x="30" y="0"/>
                      <a:pt x="38" y="0"/>
                    </a:cubicBezTo>
                    <a:cubicBezTo>
                      <a:pt x="39" y="0"/>
                      <a:pt x="40" y="0"/>
                      <a:pt x="41" y="0"/>
                    </a:cubicBezTo>
                    <a:cubicBezTo>
                      <a:pt x="41" y="18"/>
                      <a:pt x="41" y="18"/>
                      <a:pt x="41" y="18"/>
                    </a:cubicBezTo>
                    <a:cubicBezTo>
                      <a:pt x="40" y="18"/>
                      <a:pt x="40" y="18"/>
                      <a:pt x="40" y="18"/>
                    </a:cubicBezTo>
                    <a:cubicBezTo>
                      <a:pt x="31" y="18"/>
                      <a:pt x="22" y="20"/>
                      <a:pt x="19" y="26"/>
                    </a:cubicBezTo>
                    <a:cubicBezTo>
                      <a:pt x="19" y="75"/>
                      <a:pt x="19" y="75"/>
                      <a:pt x="19" y="75"/>
                    </a:cubicBezTo>
                    <a:cubicBezTo>
                      <a:pt x="0" y="75"/>
                      <a:pt x="0" y="75"/>
                      <a:pt x="0" y="75"/>
                    </a:cubicBez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30" name="Freeform 13"/>
              <p:cNvSpPr>
                <a:spLocks noEditPoints="1"/>
              </p:cNvSpPr>
              <p:nvPr userDrawn="1"/>
            </p:nvSpPr>
            <p:spPr bwMode="auto">
              <a:xfrm>
                <a:off x="749300" y="4656138"/>
                <a:ext cx="88900" cy="133350"/>
              </a:xfrm>
              <a:custGeom>
                <a:avLst/>
                <a:gdLst>
                  <a:gd name="T0" fmla="*/ 2147483647 w 68"/>
                  <a:gd name="T1" fmla="*/ 2147483647 h 103"/>
                  <a:gd name="T2" fmla="*/ 2147483647 w 68"/>
                  <a:gd name="T3" fmla="*/ 2147483647 h 103"/>
                  <a:gd name="T4" fmla="*/ 2147483647 w 68"/>
                  <a:gd name="T5" fmla="*/ 2147483647 h 103"/>
                  <a:gd name="T6" fmla="*/ 2147483647 w 68"/>
                  <a:gd name="T7" fmla="*/ 2147483647 h 103"/>
                  <a:gd name="T8" fmla="*/ 2147483647 w 68"/>
                  <a:gd name="T9" fmla="*/ 2147483647 h 103"/>
                  <a:gd name="T10" fmla="*/ 2147483647 w 68"/>
                  <a:gd name="T11" fmla="*/ 2147483647 h 103"/>
                  <a:gd name="T12" fmla="*/ 2147483647 w 68"/>
                  <a:gd name="T13" fmla="*/ 2147483647 h 103"/>
                  <a:gd name="T14" fmla="*/ 2147483647 w 68"/>
                  <a:gd name="T15" fmla="*/ 2147483647 h 103"/>
                  <a:gd name="T16" fmla="*/ 2147483647 w 68"/>
                  <a:gd name="T17" fmla="*/ 2147483647 h 103"/>
                  <a:gd name="T18" fmla="*/ 2147483647 w 68"/>
                  <a:gd name="T19" fmla="*/ 2147483647 h 103"/>
                  <a:gd name="T20" fmla="*/ 2147483647 w 68"/>
                  <a:gd name="T21" fmla="*/ 2147483647 h 103"/>
                  <a:gd name="T22" fmla="*/ 2147483647 w 68"/>
                  <a:gd name="T23" fmla="*/ 2147483647 h 103"/>
                  <a:gd name="T24" fmla="*/ 2147483647 w 68"/>
                  <a:gd name="T25" fmla="*/ 2147483647 h 103"/>
                  <a:gd name="T26" fmla="*/ 2147483647 w 68"/>
                  <a:gd name="T27" fmla="*/ 2147483647 h 103"/>
                  <a:gd name="T28" fmla="*/ 2147483647 w 68"/>
                  <a:gd name="T29" fmla="*/ 2147483647 h 103"/>
                  <a:gd name="T30" fmla="*/ 0 w 68"/>
                  <a:gd name="T31" fmla="*/ 2147483647 h 103"/>
                  <a:gd name="T32" fmla="*/ 2147483647 w 68"/>
                  <a:gd name="T33" fmla="*/ 0 h 103"/>
                  <a:gd name="T34" fmla="*/ 2147483647 w 68"/>
                  <a:gd name="T35" fmla="*/ 2147483647 h 103"/>
                  <a:gd name="T36" fmla="*/ 2147483647 w 68"/>
                  <a:gd name="T37" fmla="*/ 2147483647 h 103"/>
                  <a:gd name="T38" fmla="*/ 2147483647 w 68"/>
                  <a:gd name="T39" fmla="*/ 2147483647 h 103"/>
                  <a:gd name="T40" fmla="*/ 2147483647 w 68"/>
                  <a:gd name="T41" fmla="*/ 2147483647 h 103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68" h="103">
                    <a:moveTo>
                      <a:pt x="34" y="59"/>
                    </a:moveTo>
                    <a:cubicBezTo>
                      <a:pt x="48" y="59"/>
                      <a:pt x="50" y="44"/>
                      <a:pt x="50" y="35"/>
                    </a:cubicBezTo>
                    <a:cubicBezTo>
                      <a:pt x="50" y="23"/>
                      <a:pt x="44" y="14"/>
                      <a:pt x="34" y="14"/>
                    </a:cubicBezTo>
                    <a:cubicBezTo>
                      <a:pt x="27" y="14"/>
                      <a:pt x="19" y="19"/>
                      <a:pt x="19" y="35"/>
                    </a:cubicBezTo>
                    <a:cubicBezTo>
                      <a:pt x="19" y="44"/>
                      <a:pt x="20" y="59"/>
                      <a:pt x="34" y="59"/>
                    </a:cubicBezTo>
                    <a:close/>
                    <a:moveTo>
                      <a:pt x="68" y="1"/>
                    </a:moveTo>
                    <a:cubicBezTo>
                      <a:pt x="68" y="71"/>
                      <a:pt x="68" y="71"/>
                      <a:pt x="68" y="71"/>
                    </a:cubicBezTo>
                    <a:cubicBezTo>
                      <a:pt x="68" y="83"/>
                      <a:pt x="67" y="103"/>
                      <a:pt x="32" y="103"/>
                    </a:cubicBezTo>
                    <a:cubicBezTo>
                      <a:pt x="18" y="103"/>
                      <a:pt x="5" y="98"/>
                      <a:pt x="2" y="85"/>
                    </a:cubicBezTo>
                    <a:cubicBezTo>
                      <a:pt x="21" y="82"/>
                      <a:pt x="21" y="82"/>
                      <a:pt x="21" y="82"/>
                    </a:cubicBezTo>
                    <a:cubicBezTo>
                      <a:pt x="22" y="86"/>
                      <a:pt x="24" y="89"/>
                      <a:pt x="35" y="89"/>
                    </a:cubicBezTo>
                    <a:cubicBezTo>
                      <a:pt x="45" y="89"/>
                      <a:pt x="49" y="84"/>
                      <a:pt x="49" y="73"/>
                    </a:cubicBezTo>
                    <a:cubicBezTo>
                      <a:pt x="49" y="65"/>
                      <a:pt x="49" y="65"/>
                      <a:pt x="49" y="65"/>
                    </a:cubicBezTo>
                    <a:cubicBezTo>
                      <a:pt x="49" y="64"/>
                      <a:pt x="49" y="64"/>
                      <a:pt x="49" y="64"/>
                    </a:cubicBezTo>
                    <a:cubicBezTo>
                      <a:pt x="46" y="70"/>
                      <a:pt x="41" y="75"/>
                      <a:pt x="30" y="75"/>
                    </a:cubicBezTo>
                    <a:cubicBezTo>
                      <a:pt x="13" y="75"/>
                      <a:pt x="0" y="63"/>
                      <a:pt x="0" y="38"/>
                    </a:cubicBezTo>
                    <a:cubicBezTo>
                      <a:pt x="0" y="14"/>
                      <a:pt x="14" y="0"/>
                      <a:pt x="29" y="0"/>
                    </a:cubicBezTo>
                    <a:cubicBezTo>
                      <a:pt x="44" y="0"/>
                      <a:pt x="49" y="7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2" y="1"/>
                      <a:pt x="52" y="1"/>
                      <a:pt x="52" y="1"/>
                    </a:cubicBezTo>
                    <a:lnTo>
                      <a:pt x="68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31" name="Freeform 14"/>
              <p:cNvSpPr>
                <a:spLocks noEditPoints="1"/>
              </p:cNvSpPr>
              <p:nvPr userDrawn="1"/>
            </p:nvSpPr>
            <p:spPr bwMode="auto">
              <a:xfrm>
                <a:off x="925513" y="4622801"/>
                <a:ext cx="65088" cy="30163"/>
              </a:xfrm>
              <a:custGeom>
                <a:avLst/>
                <a:gdLst>
                  <a:gd name="T0" fmla="*/ 2147483647 w 41"/>
                  <a:gd name="T1" fmla="*/ 2147483647 h 19"/>
                  <a:gd name="T2" fmla="*/ 2147483647 w 41"/>
                  <a:gd name="T3" fmla="*/ 2147483647 h 19"/>
                  <a:gd name="T4" fmla="*/ 2147483647 w 41"/>
                  <a:gd name="T5" fmla="*/ 2147483647 h 19"/>
                  <a:gd name="T6" fmla="*/ 2147483647 w 41"/>
                  <a:gd name="T7" fmla="*/ 2147483647 h 19"/>
                  <a:gd name="T8" fmla="*/ 2147483647 w 41"/>
                  <a:gd name="T9" fmla="*/ 2147483647 h 19"/>
                  <a:gd name="T10" fmla="*/ 0 w 41"/>
                  <a:gd name="T11" fmla="*/ 2147483647 h 19"/>
                  <a:gd name="T12" fmla="*/ 0 w 41"/>
                  <a:gd name="T13" fmla="*/ 0 h 19"/>
                  <a:gd name="T14" fmla="*/ 2147483647 w 41"/>
                  <a:gd name="T15" fmla="*/ 0 h 19"/>
                  <a:gd name="T16" fmla="*/ 2147483647 w 41"/>
                  <a:gd name="T17" fmla="*/ 2147483647 h 19"/>
                  <a:gd name="T18" fmla="*/ 2147483647 w 41"/>
                  <a:gd name="T19" fmla="*/ 2147483647 h 19"/>
                  <a:gd name="T20" fmla="*/ 2147483647 w 41"/>
                  <a:gd name="T21" fmla="*/ 2147483647 h 19"/>
                  <a:gd name="T22" fmla="*/ 2147483647 w 41"/>
                  <a:gd name="T23" fmla="*/ 2147483647 h 19"/>
                  <a:gd name="T24" fmla="*/ 2147483647 w 41"/>
                  <a:gd name="T25" fmla="*/ 2147483647 h 19"/>
                  <a:gd name="T26" fmla="*/ 2147483647 w 41"/>
                  <a:gd name="T27" fmla="*/ 2147483647 h 19"/>
                  <a:gd name="T28" fmla="*/ 2147483647 w 41"/>
                  <a:gd name="T29" fmla="*/ 2147483647 h 19"/>
                  <a:gd name="T30" fmla="*/ 2147483647 w 41"/>
                  <a:gd name="T31" fmla="*/ 2147483647 h 19"/>
                  <a:gd name="T32" fmla="*/ 2147483647 w 41"/>
                  <a:gd name="T33" fmla="*/ 2147483647 h 19"/>
                  <a:gd name="T34" fmla="*/ 2147483647 w 41"/>
                  <a:gd name="T35" fmla="*/ 2147483647 h 19"/>
                  <a:gd name="T36" fmla="*/ 2147483647 w 41"/>
                  <a:gd name="T37" fmla="*/ 2147483647 h 19"/>
                  <a:gd name="T38" fmla="*/ 2147483647 w 41"/>
                  <a:gd name="T39" fmla="*/ 0 h 19"/>
                  <a:gd name="T40" fmla="*/ 2147483647 w 41"/>
                  <a:gd name="T41" fmla="*/ 0 h 19"/>
                  <a:gd name="T42" fmla="*/ 2147483647 w 41"/>
                  <a:gd name="T43" fmla="*/ 2147483647 h 19"/>
                  <a:gd name="T44" fmla="*/ 2147483647 w 41"/>
                  <a:gd name="T45" fmla="*/ 0 h 19"/>
                  <a:gd name="T46" fmla="*/ 2147483647 w 41"/>
                  <a:gd name="T47" fmla="*/ 0 h 19"/>
                  <a:gd name="T48" fmla="*/ 2147483647 w 41"/>
                  <a:gd name="T49" fmla="*/ 2147483647 h 19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1" h="19">
                    <a:moveTo>
                      <a:pt x="15" y="2"/>
                    </a:moveTo>
                    <a:lnTo>
                      <a:pt x="9" y="2"/>
                    </a:lnTo>
                    <a:lnTo>
                      <a:pt x="9" y="19"/>
                    </a:lnTo>
                    <a:lnTo>
                      <a:pt x="5" y="19"/>
                    </a:lnTo>
                    <a:lnTo>
                      <a:pt x="5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15" y="2"/>
                    </a:lnTo>
                    <a:close/>
                    <a:moveTo>
                      <a:pt x="41" y="19"/>
                    </a:moveTo>
                    <a:lnTo>
                      <a:pt x="38" y="19"/>
                    </a:lnTo>
                    <a:lnTo>
                      <a:pt x="38" y="3"/>
                    </a:lnTo>
                    <a:lnTo>
                      <a:pt x="37" y="3"/>
                    </a:lnTo>
                    <a:lnTo>
                      <a:pt x="31" y="19"/>
                    </a:lnTo>
                    <a:lnTo>
                      <a:pt x="29" y="19"/>
                    </a:lnTo>
                    <a:lnTo>
                      <a:pt x="22" y="3"/>
                    </a:lnTo>
                    <a:lnTo>
                      <a:pt x="22" y="19"/>
                    </a:lnTo>
                    <a:lnTo>
                      <a:pt x="19" y="19"/>
                    </a:lnTo>
                    <a:lnTo>
                      <a:pt x="19" y="0"/>
                    </a:lnTo>
                    <a:lnTo>
                      <a:pt x="24" y="0"/>
                    </a:lnTo>
                    <a:lnTo>
                      <a:pt x="30" y="15"/>
                    </a:lnTo>
                    <a:lnTo>
                      <a:pt x="35" y="0"/>
                    </a:lnTo>
                    <a:lnTo>
                      <a:pt x="41" y="0"/>
                    </a:lnTo>
                    <a:lnTo>
                      <a:pt x="4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</p:grpSp>
        <p:grpSp>
          <p:nvGrpSpPr>
            <p:cNvPr id="7" name="Group 61"/>
            <p:cNvGrpSpPr>
              <a:grpSpLocks/>
            </p:cNvGrpSpPr>
            <p:nvPr userDrawn="1"/>
          </p:nvGrpSpPr>
          <p:grpSpPr bwMode="auto">
            <a:xfrm>
              <a:off x="1173163" y="4383088"/>
              <a:ext cx="1039813" cy="431800"/>
              <a:chOff x="1173163" y="4383088"/>
              <a:chExt cx="1039813" cy="431800"/>
            </a:xfrm>
          </p:grpSpPr>
          <p:sp>
            <p:nvSpPr>
              <p:cNvPr id="8" name="Freeform 15"/>
              <p:cNvSpPr>
                <a:spLocks noEditPoints="1"/>
              </p:cNvSpPr>
              <p:nvPr userDrawn="1"/>
            </p:nvSpPr>
            <p:spPr bwMode="auto">
              <a:xfrm>
                <a:off x="1184275" y="4383088"/>
                <a:ext cx="149225" cy="177800"/>
              </a:xfrm>
              <a:custGeom>
                <a:avLst/>
                <a:gdLst>
                  <a:gd name="T0" fmla="*/ 2147483647 w 116"/>
                  <a:gd name="T1" fmla="*/ 0 h 138"/>
                  <a:gd name="T2" fmla="*/ 2147483647 w 116"/>
                  <a:gd name="T3" fmla="*/ 2147483647 h 138"/>
                  <a:gd name="T4" fmla="*/ 2147483647 w 116"/>
                  <a:gd name="T5" fmla="*/ 2147483647 h 138"/>
                  <a:gd name="T6" fmla="*/ 2147483647 w 116"/>
                  <a:gd name="T7" fmla="*/ 2147483647 h 138"/>
                  <a:gd name="T8" fmla="*/ 2147483647 w 116"/>
                  <a:gd name="T9" fmla="*/ 2147483647 h 138"/>
                  <a:gd name="T10" fmla="*/ 2147483647 w 116"/>
                  <a:gd name="T11" fmla="*/ 2147483647 h 138"/>
                  <a:gd name="T12" fmla="*/ 2147483647 w 116"/>
                  <a:gd name="T13" fmla="*/ 2147483647 h 138"/>
                  <a:gd name="T14" fmla="*/ 2147483647 w 116"/>
                  <a:gd name="T15" fmla="*/ 2147483647 h 138"/>
                  <a:gd name="T16" fmla="*/ 2147483647 w 116"/>
                  <a:gd name="T17" fmla="*/ 2147483647 h 138"/>
                  <a:gd name="T18" fmla="*/ 2147483647 w 116"/>
                  <a:gd name="T19" fmla="*/ 2147483647 h 138"/>
                  <a:gd name="T20" fmla="*/ 2147483647 w 116"/>
                  <a:gd name="T21" fmla="*/ 2147483647 h 138"/>
                  <a:gd name="T22" fmla="*/ 2147483647 w 116"/>
                  <a:gd name="T23" fmla="*/ 2147483647 h 138"/>
                  <a:gd name="T24" fmla="*/ 2147483647 w 116"/>
                  <a:gd name="T25" fmla="*/ 2147483647 h 138"/>
                  <a:gd name="T26" fmla="*/ 0 w 116"/>
                  <a:gd name="T27" fmla="*/ 2147483647 h 138"/>
                  <a:gd name="T28" fmla="*/ 0 w 116"/>
                  <a:gd name="T29" fmla="*/ 0 h 138"/>
                  <a:gd name="T30" fmla="*/ 2147483647 w 116"/>
                  <a:gd name="T31" fmla="*/ 0 h 138"/>
                  <a:gd name="T32" fmla="*/ 2147483647 w 116"/>
                  <a:gd name="T33" fmla="*/ 2147483647 h 138"/>
                  <a:gd name="T34" fmla="*/ 2147483647 w 116"/>
                  <a:gd name="T35" fmla="*/ 2147483647 h 138"/>
                  <a:gd name="T36" fmla="*/ 2147483647 w 116"/>
                  <a:gd name="T37" fmla="*/ 2147483647 h 138"/>
                  <a:gd name="T38" fmla="*/ 2147483647 w 116"/>
                  <a:gd name="T39" fmla="*/ 2147483647 h 138"/>
                  <a:gd name="T40" fmla="*/ 2147483647 w 116"/>
                  <a:gd name="T41" fmla="*/ 2147483647 h 138"/>
                  <a:gd name="T42" fmla="*/ 2147483647 w 116"/>
                  <a:gd name="T43" fmla="*/ 2147483647 h 138"/>
                  <a:gd name="T44" fmla="*/ 2147483647 w 116"/>
                  <a:gd name="T45" fmla="*/ 2147483647 h 138"/>
                  <a:gd name="T46" fmla="*/ 2147483647 w 116"/>
                  <a:gd name="T47" fmla="*/ 2147483647 h 138"/>
                  <a:gd name="T48" fmla="*/ 2147483647 w 116"/>
                  <a:gd name="T49" fmla="*/ 2147483647 h 138"/>
                  <a:gd name="T50" fmla="*/ 2147483647 w 116"/>
                  <a:gd name="T51" fmla="*/ 2147483647 h 138"/>
                  <a:gd name="T52" fmla="*/ 2147483647 w 116"/>
                  <a:gd name="T53" fmla="*/ 2147483647 h 138"/>
                  <a:gd name="T54" fmla="*/ 2147483647 w 116"/>
                  <a:gd name="T55" fmla="*/ 2147483647 h 138"/>
                  <a:gd name="T56" fmla="*/ 2147483647 w 116"/>
                  <a:gd name="T57" fmla="*/ 2147483647 h 138"/>
                  <a:gd name="T58" fmla="*/ 2147483647 w 116"/>
                  <a:gd name="T59" fmla="*/ 2147483647 h 138"/>
                  <a:gd name="T60" fmla="*/ 2147483647 w 116"/>
                  <a:gd name="T61" fmla="*/ 2147483647 h 138"/>
                  <a:gd name="T62" fmla="*/ 2147483647 w 116"/>
                  <a:gd name="T63" fmla="*/ 2147483647 h 138"/>
                  <a:gd name="T64" fmla="*/ 2147483647 w 116"/>
                  <a:gd name="T65" fmla="*/ 2147483647 h 138"/>
                  <a:gd name="T66" fmla="*/ 2147483647 w 116"/>
                  <a:gd name="T67" fmla="*/ 2147483647 h 138"/>
                  <a:gd name="T68" fmla="*/ 2147483647 w 116"/>
                  <a:gd name="T69" fmla="*/ 2147483647 h 138"/>
                  <a:gd name="T70" fmla="*/ 2147483647 w 116"/>
                  <a:gd name="T71" fmla="*/ 2147483647 h 13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116" h="138">
                    <a:moveTo>
                      <a:pt x="65" y="0"/>
                    </a:moveTo>
                    <a:cubicBezTo>
                      <a:pt x="72" y="0"/>
                      <a:pt x="78" y="1"/>
                      <a:pt x="83" y="2"/>
                    </a:cubicBezTo>
                    <a:cubicBezTo>
                      <a:pt x="88" y="3"/>
                      <a:pt x="93" y="5"/>
                      <a:pt x="97" y="7"/>
                    </a:cubicBezTo>
                    <a:cubicBezTo>
                      <a:pt x="101" y="10"/>
                      <a:pt x="104" y="14"/>
                      <a:pt x="106" y="18"/>
                    </a:cubicBezTo>
                    <a:cubicBezTo>
                      <a:pt x="108" y="22"/>
                      <a:pt x="109" y="28"/>
                      <a:pt x="109" y="34"/>
                    </a:cubicBezTo>
                    <a:cubicBezTo>
                      <a:pt x="109" y="41"/>
                      <a:pt x="107" y="47"/>
                      <a:pt x="104" y="52"/>
                    </a:cubicBezTo>
                    <a:cubicBezTo>
                      <a:pt x="101" y="56"/>
                      <a:pt x="96" y="60"/>
                      <a:pt x="90" y="63"/>
                    </a:cubicBezTo>
                    <a:cubicBezTo>
                      <a:pt x="99" y="66"/>
                      <a:pt x="105" y="70"/>
                      <a:pt x="109" y="76"/>
                    </a:cubicBezTo>
                    <a:cubicBezTo>
                      <a:pt x="114" y="82"/>
                      <a:pt x="116" y="89"/>
                      <a:pt x="116" y="98"/>
                    </a:cubicBezTo>
                    <a:cubicBezTo>
                      <a:pt x="116" y="105"/>
                      <a:pt x="114" y="111"/>
                      <a:pt x="112" y="116"/>
                    </a:cubicBezTo>
                    <a:cubicBezTo>
                      <a:pt x="109" y="121"/>
                      <a:pt x="105" y="126"/>
                      <a:pt x="101" y="129"/>
                    </a:cubicBezTo>
                    <a:cubicBezTo>
                      <a:pt x="96" y="132"/>
                      <a:pt x="91" y="134"/>
                      <a:pt x="85" y="136"/>
                    </a:cubicBezTo>
                    <a:cubicBezTo>
                      <a:pt x="79" y="137"/>
                      <a:pt x="73" y="138"/>
                      <a:pt x="67" y="138"/>
                    </a:cubicBezTo>
                    <a:cubicBezTo>
                      <a:pt x="0" y="138"/>
                      <a:pt x="0" y="138"/>
                      <a:pt x="0" y="138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65" y="0"/>
                    </a:lnTo>
                    <a:close/>
                    <a:moveTo>
                      <a:pt x="61" y="56"/>
                    </a:moveTo>
                    <a:cubicBezTo>
                      <a:pt x="66" y="56"/>
                      <a:pt x="71" y="55"/>
                      <a:pt x="74" y="52"/>
                    </a:cubicBezTo>
                    <a:cubicBezTo>
                      <a:pt x="78" y="49"/>
                      <a:pt x="80" y="45"/>
                      <a:pt x="80" y="39"/>
                    </a:cubicBezTo>
                    <a:cubicBezTo>
                      <a:pt x="80" y="36"/>
                      <a:pt x="79" y="34"/>
                      <a:pt x="78" y="32"/>
                    </a:cubicBezTo>
                    <a:cubicBezTo>
                      <a:pt x="77" y="29"/>
                      <a:pt x="75" y="28"/>
                      <a:pt x="73" y="27"/>
                    </a:cubicBezTo>
                    <a:cubicBezTo>
                      <a:pt x="71" y="26"/>
                      <a:pt x="69" y="25"/>
                      <a:pt x="67" y="24"/>
                    </a:cubicBezTo>
                    <a:cubicBezTo>
                      <a:pt x="64" y="24"/>
                      <a:pt x="61" y="24"/>
                      <a:pt x="59" y="24"/>
                    </a:cubicBezTo>
                    <a:cubicBezTo>
                      <a:pt x="30" y="24"/>
                      <a:pt x="30" y="24"/>
                      <a:pt x="30" y="24"/>
                    </a:cubicBezTo>
                    <a:cubicBezTo>
                      <a:pt x="30" y="56"/>
                      <a:pt x="30" y="56"/>
                      <a:pt x="30" y="56"/>
                    </a:cubicBezTo>
                    <a:lnTo>
                      <a:pt x="61" y="56"/>
                    </a:lnTo>
                    <a:close/>
                    <a:moveTo>
                      <a:pt x="63" y="115"/>
                    </a:moveTo>
                    <a:cubicBezTo>
                      <a:pt x="66" y="115"/>
                      <a:pt x="69" y="114"/>
                      <a:pt x="71" y="114"/>
                    </a:cubicBezTo>
                    <a:cubicBezTo>
                      <a:pt x="74" y="113"/>
                      <a:pt x="76" y="112"/>
                      <a:pt x="78" y="111"/>
                    </a:cubicBezTo>
                    <a:cubicBezTo>
                      <a:pt x="81" y="109"/>
                      <a:pt x="82" y="108"/>
                      <a:pt x="83" y="105"/>
                    </a:cubicBezTo>
                    <a:cubicBezTo>
                      <a:pt x="85" y="103"/>
                      <a:pt x="85" y="100"/>
                      <a:pt x="85" y="96"/>
                    </a:cubicBezTo>
                    <a:cubicBezTo>
                      <a:pt x="85" y="89"/>
                      <a:pt x="83" y="84"/>
                      <a:pt x="79" y="81"/>
                    </a:cubicBezTo>
                    <a:cubicBezTo>
                      <a:pt x="75" y="78"/>
                      <a:pt x="70" y="77"/>
                      <a:pt x="63" y="77"/>
                    </a:cubicBezTo>
                    <a:cubicBezTo>
                      <a:pt x="30" y="77"/>
                      <a:pt x="30" y="77"/>
                      <a:pt x="30" y="77"/>
                    </a:cubicBezTo>
                    <a:cubicBezTo>
                      <a:pt x="30" y="115"/>
                      <a:pt x="30" y="115"/>
                      <a:pt x="30" y="115"/>
                    </a:cubicBezTo>
                    <a:lnTo>
                      <a:pt x="63" y="11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9" name="Freeform 16"/>
              <p:cNvSpPr>
                <a:spLocks/>
              </p:cNvSpPr>
              <p:nvPr userDrawn="1"/>
            </p:nvSpPr>
            <p:spPr bwMode="auto">
              <a:xfrm>
                <a:off x="1352550" y="4432301"/>
                <a:ext cx="120650" cy="131763"/>
              </a:xfrm>
              <a:custGeom>
                <a:avLst/>
                <a:gdLst>
                  <a:gd name="T0" fmla="*/ 2147483647 w 94"/>
                  <a:gd name="T1" fmla="*/ 2147483647 h 103"/>
                  <a:gd name="T2" fmla="*/ 2147483647 w 94"/>
                  <a:gd name="T3" fmla="*/ 2147483647 h 103"/>
                  <a:gd name="T4" fmla="*/ 2147483647 w 94"/>
                  <a:gd name="T5" fmla="*/ 2147483647 h 103"/>
                  <a:gd name="T6" fmla="*/ 2147483647 w 94"/>
                  <a:gd name="T7" fmla="*/ 2147483647 h 103"/>
                  <a:gd name="T8" fmla="*/ 2147483647 w 94"/>
                  <a:gd name="T9" fmla="*/ 2147483647 h 103"/>
                  <a:gd name="T10" fmla="*/ 2147483647 w 94"/>
                  <a:gd name="T11" fmla="*/ 2147483647 h 103"/>
                  <a:gd name="T12" fmla="*/ 2147483647 w 94"/>
                  <a:gd name="T13" fmla="*/ 2147483647 h 103"/>
                  <a:gd name="T14" fmla="*/ 2147483647 w 94"/>
                  <a:gd name="T15" fmla="*/ 2147483647 h 103"/>
                  <a:gd name="T16" fmla="*/ 0 w 94"/>
                  <a:gd name="T17" fmla="*/ 2147483647 h 103"/>
                  <a:gd name="T18" fmla="*/ 0 w 94"/>
                  <a:gd name="T19" fmla="*/ 0 h 103"/>
                  <a:gd name="T20" fmla="*/ 2147483647 w 94"/>
                  <a:gd name="T21" fmla="*/ 0 h 103"/>
                  <a:gd name="T22" fmla="*/ 2147483647 w 94"/>
                  <a:gd name="T23" fmla="*/ 2147483647 h 103"/>
                  <a:gd name="T24" fmla="*/ 2147483647 w 94"/>
                  <a:gd name="T25" fmla="*/ 2147483647 h 103"/>
                  <a:gd name="T26" fmla="*/ 2147483647 w 94"/>
                  <a:gd name="T27" fmla="*/ 2147483647 h 103"/>
                  <a:gd name="T28" fmla="*/ 2147483647 w 94"/>
                  <a:gd name="T29" fmla="*/ 2147483647 h 103"/>
                  <a:gd name="T30" fmla="*/ 2147483647 w 94"/>
                  <a:gd name="T31" fmla="*/ 2147483647 h 103"/>
                  <a:gd name="T32" fmla="*/ 2147483647 w 94"/>
                  <a:gd name="T33" fmla="*/ 0 h 103"/>
                  <a:gd name="T34" fmla="*/ 2147483647 w 94"/>
                  <a:gd name="T35" fmla="*/ 0 h 103"/>
                  <a:gd name="T36" fmla="*/ 2147483647 w 94"/>
                  <a:gd name="T37" fmla="*/ 2147483647 h 103"/>
                  <a:gd name="T38" fmla="*/ 2147483647 w 94"/>
                  <a:gd name="T39" fmla="*/ 2147483647 h 10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94" h="103">
                    <a:moveTo>
                      <a:pt x="68" y="100"/>
                    </a:moveTo>
                    <a:cubicBezTo>
                      <a:pt x="68" y="86"/>
                      <a:pt x="68" y="86"/>
                      <a:pt x="68" y="86"/>
                    </a:cubicBezTo>
                    <a:cubicBezTo>
                      <a:pt x="67" y="86"/>
                      <a:pt x="67" y="86"/>
                      <a:pt x="67" y="86"/>
                    </a:cubicBezTo>
                    <a:cubicBezTo>
                      <a:pt x="64" y="92"/>
                      <a:pt x="59" y="96"/>
                      <a:pt x="53" y="99"/>
                    </a:cubicBezTo>
                    <a:cubicBezTo>
                      <a:pt x="48" y="101"/>
                      <a:pt x="42" y="103"/>
                      <a:pt x="36" y="103"/>
                    </a:cubicBezTo>
                    <a:cubicBezTo>
                      <a:pt x="29" y="103"/>
                      <a:pt x="23" y="102"/>
                      <a:pt x="18" y="100"/>
                    </a:cubicBezTo>
                    <a:cubicBezTo>
                      <a:pt x="14" y="98"/>
                      <a:pt x="10" y="95"/>
                      <a:pt x="7" y="92"/>
                    </a:cubicBezTo>
                    <a:cubicBezTo>
                      <a:pt x="4" y="88"/>
                      <a:pt x="3" y="84"/>
                      <a:pt x="1" y="79"/>
                    </a:cubicBezTo>
                    <a:cubicBezTo>
                      <a:pt x="0" y="74"/>
                      <a:pt x="0" y="68"/>
                      <a:pt x="0" y="6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27" y="57"/>
                      <a:pt x="27" y="57"/>
                      <a:pt x="27" y="57"/>
                    </a:cubicBezTo>
                    <a:cubicBezTo>
                      <a:pt x="27" y="65"/>
                      <a:pt x="29" y="71"/>
                      <a:pt x="31" y="75"/>
                    </a:cubicBezTo>
                    <a:cubicBezTo>
                      <a:pt x="34" y="79"/>
                      <a:pt x="38" y="81"/>
                      <a:pt x="45" y="81"/>
                    </a:cubicBezTo>
                    <a:cubicBezTo>
                      <a:pt x="52" y="81"/>
                      <a:pt x="58" y="79"/>
                      <a:pt x="61" y="75"/>
                    </a:cubicBezTo>
                    <a:cubicBezTo>
                      <a:pt x="65" y="70"/>
                      <a:pt x="66" y="63"/>
                      <a:pt x="66" y="53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94" y="0"/>
                      <a:pt x="94" y="0"/>
                      <a:pt x="94" y="0"/>
                    </a:cubicBezTo>
                    <a:cubicBezTo>
                      <a:pt x="94" y="100"/>
                      <a:pt x="94" y="100"/>
                      <a:pt x="94" y="100"/>
                    </a:cubicBezTo>
                    <a:lnTo>
                      <a:pt x="68" y="10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0" name="Freeform 17"/>
              <p:cNvSpPr>
                <a:spLocks/>
              </p:cNvSpPr>
              <p:nvPr userDrawn="1"/>
            </p:nvSpPr>
            <p:spPr bwMode="auto">
              <a:xfrm>
                <a:off x="1489075" y="4427538"/>
                <a:ext cx="120650" cy="136525"/>
              </a:xfrm>
              <a:custGeom>
                <a:avLst/>
                <a:gdLst>
                  <a:gd name="T0" fmla="*/ 2147483647 w 93"/>
                  <a:gd name="T1" fmla="*/ 2147483647 h 106"/>
                  <a:gd name="T2" fmla="*/ 2147483647 w 93"/>
                  <a:gd name="T3" fmla="*/ 2147483647 h 106"/>
                  <a:gd name="T4" fmla="*/ 2147483647 w 93"/>
                  <a:gd name="T5" fmla="*/ 2147483647 h 106"/>
                  <a:gd name="T6" fmla="*/ 2147483647 w 93"/>
                  <a:gd name="T7" fmla="*/ 2147483647 h 106"/>
                  <a:gd name="T8" fmla="*/ 2147483647 w 93"/>
                  <a:gd name="T9" fmla="*/ 2147483647 h 106"/>
                  <a:gd name="T10" fmla="*/ 2147483647 w 93"/>
                  <a:gd name="T11" fmla="*/ 2147483647 h 106"/>
                  <a:gd name="T12" fmla="*/ 2147483647 w 93"/>
                  <a:gd name="T13" fmla="*/ 2147483647 h 106"/>
                  <a:gd name="T14" fmla="*/ 2147483647 w 93"/>
                  <a:gd name="T15" fmla="*/ 2147483647 h 106"/>
                  <a:gd name="T16" fmla="*/ 2147483647 w 93"/>
                  <a:gd name="T17" fmla="*/ 2147483647 h 106"/>
                  <a:gd name="T18" fmla="*/ 2147483647 w 93"/>
                  <a:gd name="T19" fmla="*/ 2147483647 h 106"/>
                  <a:gd name="T20" fmla="*/ 2147483647 w 93"/>
                  <a:gd name="T21" fmla="*/ 2147483647 h 106"/>
                  <a:gd name="T22" fmla="*/ 2147483647 w 93"/>
                  <a:gd name="T23" fmla="*/ 2147483647 h 106"/>
                  <a:gd name="T24" fmla="*/ 2147483647 w 93"/>
                  <a:gd name="T25" fmla="*/ 2147483647 h 106"/>
                  <a:gd name="T26" fmla="*/ 2147483647 w 93"/>
                  <a:gd name="T27" fmla="*/ 2147483647 h 106"/>
                  <a:gd name="T28" fmla="*/ 2147483647 w 93"/>
                  <a:gd name="T29" fmla="*/ 2147483647 h 106"/>
                  <a:gd name="T30" fmla="*/ 2147483647 w 93"/>
                  <a:gd name="T31" fmla="*/ 2147483647 h 106"/>
                  <a:gd name="T32" fmla="*/ 2147483647 w 93"/>
                  <a:gd name="T33" fmla="*/ 2147483647 h 106"/>
                  <a:gd name="T34" fmla="*/ 2147483647 w 93"/>
                  <a:gd name="T35" fmla="*/ 0 h 106"/>
                  <a:gd name="T36" fmla="*/ 2147483647 w 93"/>
                  <a:gd name="T37" fmla="*/ 2147483647 h 106"/>
                  <a:gd name="T38" fmla="*/ 2147483647 w 93"/>
                  <a:gd name="T39" fmla="*/ 2147483647 h 106"/>
                  <a:gd name="T40" fmla="*/ 2147483647 w 93"/>
                  <a:gd name="T41" fmla="*/ 2147483647 h 106"/>
                  <a:gd name="T42" fmla="*/ 2147483647 w 93"/>
                  <a:gd name="T43" fmla="*/ 2147483647 h 106"/>
                  <a:gd name="T44" fmla="*/ 2147483647 w 93"/>
                  <a:gd name="T45" fmla="*/ 2147483647 h 106"/>
                  <a:gd name="T46" fmla="*/ 2147483647 w 93"/>
                  <a:gd name="T47" fmla="*/ 2147483647 h 106"/>
                  <a:gd name="T48" fmla="*/ 2147483647 w 93"/>
                  <a:gd name="T49" fmla="*/ 2147483647 h 106"/>
                  <a:gd name="T50" fmla="*/ 2147483647 w 93"/>
                  <a:gd name="T51" fmla="*/ 2147483647 h 106"/>
                  <a:gd name="T52" fmla="*/ 2147483647 w 93"/>
                  <a:gd name="T53" fmla="*/ 2147483647 h 106"/>
                  <a:gd name="T54" fmla="*/ 2147483647 w 93"/>
                  <a:gd name="T55" fmla="*/ 2147483647 h 106"/>
                  <a:gd name="T56" fmla="*/ 2147483647 w 93"/>
                  <a:gd name="T57" fmla="*/ 2147483647 h 106"/>
                  <a:gd name="T58" fmla="*/ 2147483647 w 93"/>
                  <a:gd name="T59" fmla="*/ 2147483647 h 106"/>
                  <a:gd name="T60" fmla="*/ 2147483647 w 93"/>
                  <a:gd name="T61" fmla="*/ 2147483647 h 106"/>
                  <a:gd name="T62" fmla="*/ 2147483647 w 93"/>
                  <a:gd name="T63" fmla="*/ 2147483647 h 106"/>
                  <a:gd name="T64" fmla="*/ 2147483647 w 93"/>
                  <a:gd name="T65" fmla="*/ 2147483647 h 106"/>
                  <a:gd name="T66" fmla="*/ 2147483647 w 93"/>
                  <a:gd name="T67" fmla="*/ 2147483647 h 106"/>
                  <a:gd name="T68" fmla="*/ 2147483647 w 93"/>
                  <a:gd name="T69" fmla="*/ 2147483647 h 106"/>
                  <a:gd name="T70" fmla="*/ 2147483647 w 93"/>
                  <a:gd name="T71" fmla="*/ 2147483647 h 106"/>
                  <a:gd name="T72" fmla="*/ 2147483647 w 93"/>
                  <a:gd name="T73" fmla="*/ 2147483647 h 106"/>
                  <a:gd name="T74" fmla="*/ 2147483647 w 93"/>
                  <a:gd name="T75" fmla="*/ 2147483647 h 106"/>
                  <a:gd name="T76" fmla="*/ 2147483647 w 93"/>
                  <a:gd name="T77" fmla="*/ 2147483647 h 106"/>
                  <a:gd name="T78" fmla="*/ 2147483647 w 93"/>
                  <a:gd name="T79" fmla="*/ 2147483647 h 106"/>
                  <a:gd name="T80" fmla="*/ 2147483647 w 93"/>
                  <a:gd name="T81" fmla="*/ 2147483647 h 106"/>
                  <a:gd name="T82" fmla="*/ 2147483647 w 93"/>
                  <a:gd name="T83" fmla="*/ 2147483647 h 106"/>
                  <a:gd name="T84" fmla="*/ 2147483647 w 93"/>
                  <a:gd name="T85" fmla="*/ 2147483647 h 106"/>
                  <a:gd name="T86" fmla="*/ 2147483647 w 93"/>
                  <a:gd name="T87" fmla="*/ 2147483647 h 106"/>
                  <a:gd name="T88" fmla="*/ 0 w 93"/>
                  <a:gd name="T89" fmla="*/ 2147483647 h 106"/>
                  <a:gd name="T90" fmla="*/ 2147483647 w 93"/>
                  <a:gd name="T91" fmla="*/ 2147483647 h 106"/>
                  <a:gd name="T92" fmla="*/ 2147483647 w 93"/>
                  <a:gd name="T93" fmla="*/ 2147483647 h 10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93" h="106">
                    <a:moveTo>
                      <a:pt x="28" y="78"/>
                    </a:moveTo>
                    <a:cubicBezTo>
                      <a:pt x="29" y="80"/>
                      <a:pt x="31" y="82"/>
                      <a:pt x="33" y="84"/>
                    </a:cubicBezTo>
                    <a:cubicBezTo>
                      <a:pt x="35" y="85"/>
                      <a:pt x="37" y="86"/>
                      <a:pt x="40" y="87"/>
                    </a:cubicBezTo>
                    <a:cubicBezTo>
                      <a:pt x="42" y="87"/>
                      <a:pt x="45" y="88"/>
                      <a:pt x="47" y="88"/>
                    </a:cubicBezTo>
                    <a:cubicBezTo>
                      <a:pt x="49" y="88"/>
                      <a:pt x="51" y="87"/>
                      <a:pt x="54" y="87"/>
                    </a:cubicBezTo>
                    <a:cubicBezTo>
                      <a:pt x="56" y="86"/>
                      <a:pt x="58" y="86"/>
                      <a:pt x="59" y="85"/>
                    </a:cubicBezTo>
                    <a:cubicBezTo>
                      <a:pt x="61" y="84"/>
                      <a:pt x="63" y="82"/>
                      <a:pt x="64" y="81"/>
                    </a:cubicBezTo>
                    <a:cubicBezTo>
                      <a:pt x="65" y="79"/>
                      <a:pt x="65" y="77"/>
                      <a:pt x="65" y="75"/>
                    </a:cubicBezTo>
                    <a:cubicBezTo>
                      <a:pt x="65" y="71"/>
                      <a:pt x="63" y="68"/>
                      <a:pt x="57" y="65"/>
                    </a:cubicBezTo>
                    <a:cubicBezTo>
                      <a:pt x="52" y="63"/>
                      <a:pt x="44" y="61"/>
                      <a:pt x="34" y="59"/>
                    </a:cubicBezTo>
                    <a:cubicBezTo>
                      <a:pt x="30" y="58"/>
                      <a:pt x="26" y="57"/>
                      <a:pt x="23" y="56"/>
                    </a:cubicBezTo>
                    <a:cubicBezTo>
                      <a:pt x="19" y="55"/>
                      <a:pt x="15" y="53"/>
                      <a:pt x="12" y="51"/>
                    </a:cubicBezTo>
                    <a:cubicBezTo>
                      <a:pt x="9" y="49"/>
                      <a:pt x="7" y="47"/>
                      <a:pt x="5" y="44"/>
                    </a:cubicBezTo>
                    <a:cubicBezTo>
                      <a:pt x="3" y="41"/>
                      <a:pt x="3" y="37"/>
                      <a:pt x="3" y="33"/>
                    </a:cubicBezTo>
                    <a:cubicBezTo>
                      <a:pt x="3" y="26"/>
                      <a:pt x="4" y="21"/>
                      <a:pt x="6" y="17"/>
                    </a:cubicBezTo>
                    <a:cubicBezTo>
                      <a:pt x="9" y="13"/>
                      <a:pt x="12" y="9"/>
                      <a:pt x="16" y="7"/>
                    </a:cubicBezTo>
                    <a:cubicBezTo>
                      <a:pt x="20" y="4"/>
                      <a:pt x="25" y="3"/>
                      <a:pt x="30" y="2"/>
                    </a:cubicBezTo>
                    <a:cubicBezTo>
                      <a:pt x="35" y="1"/>
                      <a:pt x="41" y="0"/>
                      <a:pt x="46" y="0"/>
                    </a:cubicBezTo>
                    <a:cubicBezTo>
                      <a:pt x="52" y="0"/>
                      <a:pt x="57" y="1"/>
                      <a:pt x="62" y="2"/>
                    </a:cubicBezTo>
                    <a:cubicBezTo>
                      <a:pt x="67" y="3"/>
                      <a:pt x="72" y="5"/>
                      <a:pt x="76" y="7"/>
                    </a:cubicBezTo>
                    <a:cubicBezTo>
                      <a:pt x="80" y="10"/>
                      <a:pt x="83" y="13"/>
                      <a:pt x="86" y="17"/>
                    </a:cubicBezTo>
                    <a:cubicBezTo>
                      <a:pt x="88" y="21"/>
                      <a:pt x="90" y="26"/>
                      <a:pt x="90" y="32"/>
                    </a:cubicBezTo>
                    <a:cubicBezTo>
                      <a:pt x="64" y="32"/>
                      <a:pt x="64" y="32"/>
                      <a:pt x="64" y="32"/>
                    </a:cubicBezTo>
                    <a:cubicBezTo>
                      <a:pt x="64" y="27"/>
                      <a:pt x="62" y="23"/>
                      <a:pt x="58" y="22"/>
                    </a:cubicBezTo>
                    <a:cubicBezTo>
                      <a:pt x="54" y="20"/>
                      <a:pt x="50" y="19"/>
                      <a:pt x="45" y="19"/>
                    </a:cubicBezTo>
                    <a:cubicBezTo>
                      <a:pt x="44" y="19"/>
                      <a:pt x="42" y="19"/>
                      <a:pt x="40" y="19"/>
                    </a:cubicBezTo>
                    <a:cubicBezTo>
                      <a:pt x="38" y="19"/>
                      <a:pt x="37" y="20"/>
                      <a:pt x="35" y="20"/>
                    </a:cubicBezTo>
                    <a:cubicBezTo>
                      <a:pt x="34" y="21"/>
                      <a:pt x="33" y="22"/>
                      <a:pt x="32" y="23"/>
                    </a:cubicBezTo>
                    <a:cubicBezTo>
                      <a:pt x="31" y="24"/>
                      <a:pt x="30" y="26"/>
                      <a:pt x="30" y="28"/>
                    </a:cubicBezTo>
                    <a:cubicBezTo>
                      <a:pt x="30" y="31"/>
                      <a:pt x="31" y="33"/>
                      <a:pt x="33" y="34"/>
                    </a:cubicBezTo>
                    <a:cubicBezTo>
                      <a:pt x="35" y="36"/>
                      <a:pt x="37" y="37"/>
                      <a:pt x="40" y="38"/>
                    </a:cubicBezTo>
                    <a:cubicBezTo>
                      <a:pt x="43" y="39"/>
                      <a:pt x="46" y="40"/>
                      <a:pt x="50" y="40"/>
                    </a:cubicBezTo>
                    <a:cubicBezTo>
                      <a:pt x="54" y="41"/>
                      <a:pt x="57" y="42"/>
                      <a:pt x="61" y="43"/>
                    </a:cubicBezTo>
                    <a:cubicBezTo>
                      <a:pt x="65" y="44"/>
                      <a:pt x="69" y="45"/>
                      <a:pt x="73" y="46"/>
                    </a:cubicBezTo>
                    <a:cubicBezTo>
                      <a:pt x="77" y="48"/>
                      <a:pt x="80" y="49"/>
                      <a:pt x="83" y="51"/>
                    </a:cubicBezTo>
                    <a:cubicBezTo>
                      <a:pt x="86" y="54"/>
                      <a:pt x="88" y="56"/>
                      <a:pt x="90" y="59"/>
                    </a:cubicBezTo>
                    <a:cubicBezTo>
                      <a:pt x="92" y="63"/>
                      <a:pt x="93" y="66"/>
                      <a:pt x="93" y="71"/>
                    </a:cubicBezTo>
                    <a:cubicBezTo>
                      <a:pt x="93" y="78"/>
                      <a:pt x="92" y="83"/>
                      <a:pt x="89" y="88"/>
                    </a:cubicBezTo>
                    <a:cubicBezTo>
                      <a:pt x="86" y="92"/>
                      <a:pt x="83" y="96"/>
                      <a:pt x="79" y="98"/>
                    </a:cubicBezTo>
                    <a:cubicBezTo>
                      <a:pt x="74" y="101"/>
                      <a:pt x="69" y="103"/>
                      <a:pt x="64" y="104"/>
                    </a:cubicBezTo>
                    <a:cubicBezTo>
                      <a:pt x="59" y="105"/>
                      <a:pt x="53" y="106"/>
                      <a:pt x="47" y="106"/>
                    </a:cubicBezTo>
                    <a:cubicBezTo>
                      <a:pt x="41" y="106"/>
                      <a:pt x="36" y="105"/>
                      <a:pt x="30" y="104"/>
                    </a:cubicBezTo>
                    <a:cubicBezTo>
                      <a:pt x="25" y="103"/>
                      <a:pt x="20" y="101"/>
                      <a:pt x="15" y="98"/>
                    </a:cubicBezTo>
                    <a:cubicBezTo>
                      <a:pt x="11" y="95"/>
                      <a:pt x="8" y="92"/>
                      <a:pt x="5" y="87"/>
                    </a:cubicBezTo>
                    <a:cubicBezTo>
                      <a:pt x="2" y="83"/>
                      <a:pt x="0" y="77"/>
                      <a:pt x="0" y="71"/>
                    </a:cubicBezTo>
                    <a:cubicBezTo>
                      <a:pt x="26" y="71"/>
                      <a:pt x="26" y="71"/>
                      <a:pt x="26" y="71"/>
                    </a:cubicBezTo>
                    <a:cubicBezTo>
                      <a:pt x="26" y="74"/>
                      <a:pt x="27" y="76"/>
                      <a:pt x="28" y="7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1" name="Freeform 18"/>
              <p:cNvSpPr>
                <a:spLocks noEditPoints="1"/>
              </p:cNvSpPr>
              <p:nvPr userDrawn="1"/>
            </p:nvSpPr>
            <p:spPr bwMode="auto">
              <a:xfrm>
                <a:off x="1627188" y="4383088"/>
                <a:ext cx="36513" cy="177800"/>
              </a:xfrm>
              <a:custGeom>
                <a:avLst/>
                <a:gdLst>
                  <a:gd name="T0" fmla="*/ 0 w 23"/>
                  <a:gd name="T1" fmla="*/ 2147483647 h 112"/>
                  <a:gd name="T2" fmla="*/ 0 w 23"/>
                  <a:gd name="T3" fmla="*/ 0 h 112"/>
                  <a:gd name="T4" fmla="*/ 2147483647 w 23"/>
                  <a:gd name="T5" fmla="*/ 0 h 112"/>
                  <a:gd name="T6" fmla="*/ 2147483647 w 23"/>
                  <a:gd name="T7" fmla="*/ 2147483647 h 112"/>
                  <a:gd name="T8" fmla="*/ 0 w 23"/>
                  <a:gd name="T9" fmla="*/ 2147483647 h 112"/>
                  <a:gd name="T10" fmla="*/ 2147483647 w 23"/>
                  <a:gd name="T11" fmla="*/ 2147483647 h 112"/>
                  <a:gd name="T12" fmla="*/ 2147483647 w 23"/>
                  <a:gd name="T13" fmla="*/ 2147483647 h 112"/>
                  <a:gd name="T14" fmla="*/ 0 w 23"/>
                  <a:gd name="T15" fmla="*/ 2147483647 h 112"/>
                  <a:gd name="T16" fmla="*/ 0 w 23"/>
                  <a:gd name="T17" fmla="*/ 2147483647 h 112"/>
                  <a:gd name="T18" fmla="*/ 2147483647 w 23"/>
                  <a:gd name="T19" fmla="*/ 2147483647 h 11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3" h="112">
                    <a:moveTo>
                      <a:pt x="0" y="18"/>
                    </a:moveTo>
                    <a:lnTo>
                      <a:pt x="0" y="0"/>
                    </a:lnTo>
                    <a:lnTo>
                      <a:pt x="23" y="0"/>
                    </a:lnTo>
                    <a:lnTo>
                      <a:pt x="23" y="18"/>
                    </a:lnTo>
                    <a:lnTo>
                      <a:pt x="0" y="18"/>
                    </a:lnTo>
                    <a:close/>
                    <a:moveTo>
                      <a:pt x="23" y="31"/>
                    </a:moveTo>
                    <a:lnTo>
                      <a:pt x="23" y="112"/>
                    </a:lnTo>
                    <a:lnTo>
                      <a:pt x="0" y="112"/>
                    </a:lnTo>
                    <a:lnTo>
                      <a:pt x="0" y="31"/>
                    </a:lnTo>
                    <a:lnTo>
                      <a:pt x="23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" name="Freeform 19"/>
              <p:cNvSpPr>
                <a:spLocks/>
              </p:cNvSpPr>
              <p:nvPr userDrawn="1"/>
            </p:nvSpPr>
            <p:spPr bwMode="auto">
              <a:xfrm>
                <a:off x="1685925" y="4427538"/>
                <a:ext cx="122238" cy="133350"/>
              </a:xfrm>
              <a:custGeom>
                <a:avLst/>
                <a:gdLst>
                  <a:gd name="T0" fmla="*/ 2147483647 w 94"/>
                  <a:gd name="T1" fmla="*/ 2147483647 h 103"/>
                  <a:gd name="T2" fmla="*/ 2147483647 w 94"/>
                  <a:gd name="T3" fmla="*/ 2147483647 h 103"/>
                  <a:gd name="T4" fmla="*/ 2147483647 w 94"/>
                  <a:gd name="T5" fmla="*/ 2147483647 h 103"/>
                  <a:gd name="T6" fmla="*/ 2147483647 w 94"/>
                  <a:gd name="T7" fmla="*/ 2147483647 h 103"/>
                  <a:gd name="T8" fmla="*/ 2147483647 w 94"/>
                  <a:gd name="T9" fmla="*/ 0 h 103"/>
                  <a:gd name="T10" fmla="*/ 2147483647 w 94"/>
                  <a:gd name="T11" fmla="*/ 2147483647 h 103"/>
                  <a:gd name="T12" fmla="*/ 2147483647 w 94"/>
                  <a:gd name="T13" fmla="*/ 2147483647 h 103"/>
                  <a:gd name="T14" fmla="*/ 2147483647 w 94"/>
                  <a:gd name="T15" fmla="*/ 2147483647 h 103"/>
                  <a:gd name="T16" fmla="*/ 2147483647 w 94"/>
                  <a:gd name="T17" fmla="*/ 2147483647 h 103"/>
                  <a:gd name="T18" fmla="*/ 2147483647 w 94"/>
                  <a:gd name="T19" fmla="*/ 2147483647 h 103"/>
                  <a:gd name="T20" fmla="*/ 2147483647 w 94"/>
                  <a:gd name="T21" fmla="*/ 2147483647 h 103"/>
                  <a:gd name="T22" fmla="*/ 2147483647 w 94"/>
                  <a:gd name="T23" fmla="*/ 2147483647 h 103"/>
                  <a:gd name="T24" fmla="*/ 2147483647 w 94"/>
                  <a:gd name="T25" fmla="*/ 2147483647 h 103"/>
                  <a:gd name="T26" fmla="*/ 2147483647 w 94"/>
                  <a:gd name="T27" fmla="*/ 2147483647 h 103"/>
                  <a:gd name="T28" fmla="*/ 2147483647 w 94"/>
                  <a:gd name="T29" fmla="*/ 2147483647 h 103"/>
                  <a:gd name="T30" fmla="*/ 2147483647 w 94"/>
                  <a:gd name="T31" fmla="*/ 2147483647 h 103"/>
                  <a:gd name="T32" fmla="*/ 2147483647 w 94"/>
                  <a:gd name="T33" fmla="*/ 2147483647 h 103"/>
                  <a:gd name="T34" fmla="*/ 0 w 94"/>
                  <a:gd name="T35" fmla="*/ 2147483647 h 103"/>
                  <a:gd name="T36" fmla="*/ 0 w 94"/>
                  <a:gd name="T37" fmla="*/ 2147483647 h 103"/>
                  <a:gd name="T38" fmla="*/ 2147483647 w 94"/>
                  <a:gd name="T39" fmla="*/ 2147483647 h 10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94" h="103">
                    <a:moveTo>
                      <a:pt x="26" y="3"/>
                    </a:move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7"/>
                      <a:pt x="27" y="17"/>
                      <a:pt x="27" y="17"/>
                    </a:cubicBezTo>
                    <a:cubicBezTo>
                      <a:pt x="30" y="11"/>
                      <a:pt x="35" y="7"/>
                      <a:pt x="40" y="4"/>
                    </a:cubicBezTo>
                    <a:cubicBezTo>
                      <a:pt x="46" y="2"/>
                      <a:pt x="52" y="0"/>
                      <a:pt x="57" y="0"/>
                    </a:cubicBezTo>
                    <a:cubicBezTo>
                      <a:pt x="65" y="0"/>
                      <a:pt x="71" y="1"/>
                      <a:pt x="76" y="3"/>
                    </a:cubicBezTo>
                    <a:cubicBezTo>
                      <a:pt x="80" y="5"/>
                      <a:pt x="84" y="8"/>
                      <a:pt x="87" y="12"/>
                    </a:cubicBezTo>
                    <a:cubicBezTo>
                      <a:pt x="89" y="15"/>
                      <a:pt x="91" y="20"/>
                      <a:pt x="92" y="25"/>
                    </a:cubicBezTo>
                    <a:cubicBezTo>
                      <a:pt x="94" y="30"/>
                      <a:pt x="94" y="35"/>
                      <a:pt x="94" y="42"/>
                    </a:cubicBezTo>
                    <a:cubicBezTo>
                      <a:pt x="94" y="103"/>
                      <a:pt x="94" y="103"/>
                      <a:pt x="94" y="103"/>
                    </a:cubicBezTo>
                    <a:cubicBezTo>
                      <a:pt x="67" y="103"/>
                      <a:pt x="67" y="103"/>
                      <a:pt x="67" y="103"/>
                    </a:cubicBezTo>
                    <a:cubicBezTo>
                      <a:pt x="67" y="47"/>
                      <a:pt x="67" y="47"/>
                      <a:pt x="67" y="47"/>
                    </a:cubicBezTo>
                    <a:cubicBezTo>
                      <a:pt x="67" y="38"/>
                      <a:pt x="65" y="32"/>
                      <a:pt x="63" y="28"/>
                    </a:cubicBezTo>
                    <a:cubicBezTo>
                      <a:pt x="60" y="24"/>
                      <a:pt x="56" y="22"/>
                      <a:pt x="49" y="22"/>
                    </a:cubicBezTo>
                    <a:cubicBezTo>
                      <a:pt x="41" y="22"/>
                      <a:pt x="36" y="24"/>
                      <a:pt x="33" y="29"/>
                    </a:cubicBezTo>
                    <a:cubicBezTo>
                      <a:pt x="29" y="33"/>
                      <a:pt x="28" y="41"/>
                      <a:pt x="28" y="51"/>
                    </a:cubicBezTo>
                    <a:cubicBezTo>
                      <a:pt x="28" y="103"/>
                      <a:pt x="28" y="103"/>
                      <a:pt x="28" y="103"/>
                    </a:cubicBezTo>
                    <a:cubicBezTo>
                      <a:pt x="0" y="103"/>
                      <a:pt x="0" y="103"/>
                      <a:pt x="0" y="103"/>
                    </a:cubicBezTo>
                    <a:cubicBezTo>
                      <a:pt x="0" y="3"/>
                      <a:pt x="0" y="3"/>
                      <a:pt x="0" y="3"/>
                    </a:cubicBezTo>
                    <a:lnTo>
                      <a:pt x="2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3" name="Freeform 20"/>
              <p:cNvSpPr>
                <a:spLocks noEditPoints="1"/>
              </p:cNvSpPr>
              <p:nvPr userDrawn="1"/>
            </p:nvSpPr>
            <p:spPr bwMode="auto">
              <a:xfrm>
                <a:off x="1824038" y="4427538"/>
                <a:ext cx="128588" cy="136525"/>
              </a:xfrm>
              <a:custGeom>
                <a:avLst/>
                <a:gdLst>
                  <a:gd name="T0" fmla="*/ 2147483647 w 100"/>
                  <a:gd name="T1" fmla="*/ 2147483647 h 106"/>
                  <a:gd name="T2" fmla="*/ 2147483647 w 100"/>
                  <a:gd name="T3" fmla="*/ 2147483647 h 106"/>
                  <a:gd name="T4" fmla="*/ 2147483647 w 100"/>
                  <a:gd name="T5" fmla="*/ 2147483647 h 106"/>
                  <a:gd name="T6" fmla="*/ 2147483647 w 100"/>
                  <a:gd name="T7" fmla="*/ 2147483647 h 106"/>
                  <a:gd name="T8" fmla="*/ 2147483647 w 100"/>
                  <a:gd name="T9" fmla="*/ 2147483647 h 106"/>
                  <a:gd name="T10" fmla="*/ 2147483647 w 100"/>
                  <a:gd name="T11" fmla="*/ 2147483647 h 106"/>
                  <a:gd name="T12" fmla="*/ 2147483647 w 100"/>
                  <a:gd name="T13" fmla="*/ 2147483647 h 106"/>
                  <a:gd name="T14" fmla="*/ 2147483647 w 100"/>
                  <a:gd name="T15" fmla="*/ 2147483647 h 106"/>
                  <a:gd name="T16" fmla="*/ 2147483647 w 100"/>
                  <a:gd name="T17" fmla="*/ 2147483647 h 106"/>
                  <a:gd name="T18" fmla="*/ 2147483647 w 100"/>
                  <a:gd name="T19" fmla="*/ 2147483647 h 106"/>
                  <a:gd name="T20" fmla="*/ 0 w 100"/>
                  <a:gd name="T21" fmla="*/ 2147483647 h 106"/>
                  <a:gd name="T22" fmla="*/ 2147483647 w 100"/>
                  <a:gd name="T23" fmla="*/ 2147483647 h 106"/>
                  <a:gd name="T24" fmla="*/ 2147483647 w 100"/>
                  <a:gd name="T25" fmla="*/ 2147483647 h 106"/>
                  <a:gd name="T26" fmla="*/ 2147483647 w 100"/>
                  <a:gd name="T27" fmla="*/ 2147483647 h 106"/>
                  <a:gd name="T28" fmla="*/ 2147483647 w 100"/>
                  <a:gd name="T29" fmla="*/ 0 h 106"/>
                  <a:gd name="T30" fmla="*/ 2147483647 w 100"/>
                  <a:gd name="T31" fmla="*/ 2147483647 h 106"/>
                  <a:gd name="T32" fmla="*/ 2147483647 w 100"/>
                  <a:gd name="T33" fmla="*/ 2147483647 h 106"/>
                  <a:gd name="T34" fmla="*/ 2147483647 w 100"/>
                  <a:gd name="T35" fmla="*/ 2147483647 h 106"/>
                  <a:gd name="T36" fmla="*/ 2147483647 w 100"/>
                  <a:gd name="T37" fmla="*/ 2147483647 h 106"/>
                  <a:gd name="T38" fmla="*/ 2147483647 w 100"/>
                  <a:gd name="T39" fmla="*/ 2147483647 h 106"/>
                  <a:gd name="T40" fmla="*/ 2147483647 w 100"/>
                  <a:gd name="T41" fmla="*/ 2147483647 h 106"/>
                  <a:gd name="T42" fmla="*/ 2147483647 w 100"/>
                  <a:gd name="T43" fmla="*/ 2147483647 h 106"/>
                  <a:gd name="T44" fmla="*/ 2147483647 w 100"/>
                  <a:gd name="T45" fmla="*/ 2147483647 h 106"/>
                  <a:gd name="T46" fmla="*/ 2147483647 w 100"/>
                  <a:gd name="T47" fmla="*/ 2147483647 h 106"/>
                  <a:gd name="T48" fmla="*/ 2147483647 w 100"/>
                  <a:gd name="T49" fmla="*/ 2147483647 h 106"/>
                  <a:gd name="T50" fmla="*/ 2147483647 w 100"/>
                  <a:gd name="T51" fmla="*/ 2147483647 h 106"/>
                  <a:gd name="T52" fmla="*/ 2147483647 w 100"/>
                  <a:gd name="T53" fmla="*/ 2147483647 h 106"/>
                  <a:gd name="T54" fmla="*/ 2147483647 w 100"/>
                  <a:gd name="T55" fmla="*/ 2147483647 h 106"/>
                  <a:gd name="T56" fmla="*/ 2147483647 w 100"/>
                  <a:gd name="T57" fmla="*/ 2147483647 h 10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00" h="106">
                    <a:moveTo>
                      <a:pt x="34" y="79"/>
                    </a:moveTo>
                    <a:cubicBezTo>
                      <a:pt x="39" y="83"/>
                      <a:pt x="45" y="85"/>
                      <a:pt x="52" y="85"/>
                    </a:cubicBezTo>
                    <a:cubicBezTo>
                      <a:pt x="58" y="85"/>
                      <a:pt x="63" y="84"/>
                      <a:pt x="67" y="81"/>
                    </a:cubicBezTo>
                    <a:cubicBezTo>
                      <a:pt x="71" y="78"/>
                      <a:pt x="73" y="75"/>
                      <a:pt x="74" y="72"/>
                    </a:cubicBezTo>
                    <a:cubicBezTo>
                      <a:pt x="98" y="72"/>
                      <a:pt x="98" y="72"/>
                      <a:pt x="98" y="72"/>
                    </a:cubicBezTo>
                    <a:cubicBezTo>
                      <a:pt x="94" y="84"/>
                      <a:pt x="88" y="93"/>
                      <a:pt x="80" y="98"/>
                    </a:cubicBezTo>
                    <a:cubicBezTo>
                      <a:pt x="72" y="103"/>
                      <a:pt x="63" y="106"/>
                      <a:pt x="51" y="106"/>
                    </a:cubicBezTo>
                    <a:cubicBezTo>
                      <a:pt x="43" y="106"/>
                      <a:pt x="36" y="104"/>
                      <a:pt x="30" y="102"/>
                    </a:cubicBezTo>
                    <a:cubicBezTo>
                      <a:pt x="24" y="99"/>
                      <a:pt x="18" y="96"/>
                      <a:pt x="14" y="91"/>
                    </a:cubicBezTo>
                    <a:cubicBezTo>
                      <a:pt x="10" y="87"/>
                      <a:pt x="6" y="81"/>
                      <a:pt x="4" y="75"/>
                    </a:cubicBezTo>
                    <a:cubicBezTo>
                      <a:pt x="1" y="68"/>
                      <a:pt x="0" y="61"/>
                      <a:pt x="0" y="53"/>
                    </a:cubicBezTo>
                    <a:cubicBezTo>
                      <a:pt x="0" y="46"/>
                      <a:pt x="1" y="39"/>
                      <a:pt x="4" y="32"/>
                    </a:cubicBezTo>
                    <a:cubicBezTo>
                      <a:pt x="6" y="26"/>
                      <a:pt x="10" y="20"/>
                      <a:pt x="14" y="16"/>
                    </a:cubicBezTo>
                    <a:cubicBezTo>
                      <a:pt x="19" y="11"/>
                      <a:pt x="24" y="7"/>
                      <a:pt x="31" y="4"/>
                    </a:cubicBezTo>
                    <a:cubicBezTo>
                      <a:pt x="37" y="2"/>
                      <a:pt x="44" y="0"/>
                      <a:pt x="51" y="0"/>
                    </a:cubicBezTo>
                    <a:cubicBezTo>
                      <a:pt x="60" y="0"/>
                      <a:pt x="67" y="2"/>
                      <a:pt x="74" y="5"/>
                    </a:cubicBezTo>
                    <a:cubicBezTo>
                      <a:pt x="80" y="9"/>
                      <a:pt x="85" y="13"/>
                      <a:pt x="89" y="19"/>
                    </a:cubicBezTo>
                    <a:cubicBezTo>
                      <a:pt x="93" y="24"/>
                      <a:pt x="96" y="30"/>
                      <a:pt x="98" y="38"/>
                    </a:cubicBezTo>
                    <a:cubicBezTo>
                      <a:pt x="100" y="45"/>
                      <a:pt x="100" y="52"/>
                      <a:pt x="100" y="60"/>
                    </a:cubicBezTo>
                    <a:cubicBezTo>
                      <a:pt x="28" y="60"/>
                      <a:pt x="28" y="60"/>
                      <a:pt x="28" y="60"/>
                    </a:cubicBezTo>
                    <a:cubicBezTo>
                      <a:pt x="28" y="69"/>
                      <a:pt x="30" y="75"/>
                      <a:pt x="34" y="79"/>
                    </a:cubicBezTo>
                    <a:close/>
                    <a:moveTo>
                      <a:pt x="66" y="27"/>
                    </a:moveTo>
                    <a:cubicBezTo>
                      <a:pt x="62" y="23"/>
                      <a:pt x="57" y="21"/>
                      <a:pt x="51" y="21"/>
                    </a:cubicBezTo>
                    <a:cubicBezTo>
                      <a:pt x="46" y="21"/>
                      <a:pt x="43" y="22"/>
                      <a:pt x="40" y="23"/>
                    </a:cubicBezTo>
                    <a:cubicBezTo>
                      <a:pt x="37" y="25"/>
                      <a:pt x="34" y="27"/>
                      <a:pt x="33" y="29"/>
                    </a:cubicBezTo>
                    <a:cubicBezTo>
                      <a:pt x="31" y="31"/>
                      <a:pt x="30" y="33"/>
                      <a:pt x="29" y="36"/>
                    </a:cubicBezTo>
                    <a:cubicBezTo>
                      <a:pt x="28" y="38"/>
                      <a:pt x="28" y="40"/>
                      <a:pt x="28" y="42"/>
                    </a:cubicBezTo>
                    <a:cubicBezTo>
                      <a:pt x="72" y="42"/>
                      <a:pt x="72" y="42"/>
                      <a:pt x="72" y="42"/>
                    </a:cubicBezTo>
                    <a:cubicBezTo>
                      <a:pt x="71" y="35"/>
                      <a:pt x="69" y="30"/>
                      <a:pt x="66" y="2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4" name="Freeform 21"/>
              <p:cNvSpPr>
                <a:spLocks/>
              </p:cNvSpPr>
              <p:nvPr userDrawn="1"/>
            </p:nvSpPr>
            <p:spPr bwMode="auto">
              <a:xfrm>
                <a:off x="1963738" y="4427538"/>
                <a:ext cx="119063" cy="136525"/>
              </a:xfrm>
              <a:custGeom>
                <a:avLst/>
                <a:gdLst>
                  <a:gd name="T0" fmla="*/ 2147483647 w 93"/>
                  <a:gd name="T1" fmla="*/ 2147483647 h 106"/>
                  <a:gd name="T2" fmla="*/ 2147483647 w 93"/>
                  <a:gd name="T3" fmla="*/ 2147483647 h 106"/>
                  <a:gd name="T4" fmla="*/ 2147483647 w 93"/>
                  <a:gd name="T5" fmla="*/ 2147483647 h 106"/>
                  <a:gd name="T6" fmla="*/ 2147483647 w 93"/>
                  <a:gd name="T7" fmla="*/ 2147483647 h 106"/>
                  <a:gd name="T8" fmla="*/ 2147483647 w 93"/>
                  <a:gd name="T9" fmla="*/ 2147483647 h 106"/>
                  <a:gd name="T10" fmla="*/ 2147483647 w 93"/>
                  <a:gd name="T11" fmla="*/ 2147483647 h 106"/>
                  <a:gd name="T12" fmla="*/ 2147483647 w 93"/>
                  <a:gd name="T13" fmla="*/ 2147483647 h 106"/>
                  <a:gd name="T14" fmla="*/ 2147483647 w 93"/>
                  <a:gd name="T15" fmla="*/ 2147483647 h 106"/>
                  <a:gd name="T16" fmla="*/ 2147483647 w 93"/>
                  <a:gd name="T17" fmla="*/ 2147483647 h 106"/>
                  <a:gd name="T18" fmla="*/ 2147483647 w 93"/>
                  <a:gd name="T19" fmla="*/ 2147483647 h 106"/>
                  <a:gd name="T20" fmla="*/ 2147483647 w 93"/>
                  <a:gd name="T21" fmla="*/ 2147483647 h 106"/>
                  <a:gd name="T22" fmla="*/ 2147483647 w 93"/>
                  <a:gd name="T23" fmla="*/ 2147483647 h 106"/>
                  <a:gd name="T24" fmla="*/ 2147483647 w 93"/>
                  <a:gd name="T25" fmla="*/ 2147483647 h 106"/>
                  <a:gd name="T26" fmla="*/ 2147483647 w 93"/>
                  <a:gd name="T27" fmla="*/ 2147483647 h 106"/>
                  <a:gd name="T28" fmla="*/ 2147483647 w 93"/>
                  <a:gd name="T29" fmla="*/ 2147483647 h 106"/>
                  <a:gd name="T30" fmla="*/ 2147483647 w 93"/>
                  <a:gd name="T31" fmla="*/ 2147483647 h 106"/>
                  <a:gd name="T32" fmla="*/ 2147483647 w 93"/>
                  <a:gd name="T33" fmla="*/ 2147483647 h 106"/>
                  <a:gd name="T34" fmla="*/ 2147483647 w 93"/>
                  <a:gd name="T35" fmla="*/ 0 h 106"/>
                  <a:gd name="T36" fmla="*/ 2147483647 w 93"/>
                  <a:gd name="T37" fmla="*/ 2147483647 h 106"/>
                  <a:gd name="T38" fmla="*/ 2147483647 w 93"/>
                  <a:gd name="T39" fmla="*/ 2147483647 h 106"/>
                  <a:gd name="T40" fmla="*/ 2147483647 w 93"/>
                  <a:gd name="T41" fmla="*/ 2147483647 h 106"/>
                  <a:gd name="T42" fmla="*/ 2147483647 w 93"/>
                  <a:gd name="T43" fmla="*/ 2147483647 h 106"/>
                  <a:gd name="T44" fmla="*/ 2147483647 w 93"/>
                  <a:gd name="T45" fmla="*/ 2147483647 h 106"/>
                  <a:gd name="T46" fmla="*/ 2147483647 w 93"/>
                  <a:gd name="T47" fmla="*/ 2147483647 h 106"/>
                  <a:gd name="T48" fmla="*/ 2147483647 w 93"/>
                  <a:gd name="T49" fmla="*/ 2147483647 h 106"/>
                  <a:gd name="T50" fmla="*/ 2147483647 w 93"/>
                  <a:gd name="T51" fmla="*/ 2147483647 h 106"/>
                  <a:gd name="T52" fmla="*/ 2147483647 w 93"/>
                  <a:gd name="T53" fmla="*/ 2147483647 h 106"/>
                  <a:gd name="T54" fmla="*/ 2147483647 w 93"/>
                  <a:gd name="T55" fmla="*/ 2147483647 h 106"/>
                  <a:gd name="T56" fmla="*/ 2147483647 w 93"/>
                  <a:gd name="T57" fmla="*/ 2147483647 h 106"/>
                  <a:gd name="T58" fmla="*/ 2147483647 w 93"/>
                  <a:gd name="T59" fmla="*/ 2147483647 h 106"/>
                  <a:gd name="T60" fmla="*/ 2147483647 w 93"/>
                  <a:gd name="T61" fmla="*/ 2147483647 h 106"/>
                  <a:gd name="T62" fmla="*/ 2147483647 w 93"/>
                  <a:gd name="T63" fmla="*/ 2147483647 h 106"/>
                  <a:gd name="T64" fmla="*/ 2147483647 w 93"/>
                  <a:gd name="T65" fmla="*/ 2147483647 h 106"/>
                  <a:gd name="T66" fmla="*/ 2147483647 w 93"/>
                  <a:gd name="T67" fmla="*/ 2147483647 h 106"/>
                  <a:gd name="T68" fmla="*/ 2147483647 w 93"/>
                  <a:gd name="T69" fmla="*/ 2147483647 h 106"/>
                  <a:gd name="T70" fmla="*/ 2147483647 w 93"/>
                  <a:gd name="T71" fmla="*/ 2147483647 h 106"/>
                  <a:gd name="T72" fmla="*/ 2147483647 w 93"/>
                  <a:gd name="T73" fmla="*/ 2147483647 h 106"/>
                  <a:gd name="T74" fmla="*/ 2147483647 w 93"/>
                  <a:gd name="T75" fmla="*/ 2147483647 h 106"/>
                  <a:gd name="T76" fmla="*/ 2147483647 w 93"/>
                  <a:gd name="T77" fmla="*/ 2147483647 h 106"/>
                  <a:gd name="T78" fmla="*/ 2147483647 w 93"/>
                  <a:gd name="T79" fmla="*/ 2147483647 h 106"/>
                  <a:gd name="T80" fmla="*/ 2147483647 w 93"/>
                  <a:gd name="T81" fmla="*/ 2147483647 h 106"/>
                  <a:gd name="T82" fmla="*/ 2147483647 w 93"/>
                  <a:gd name="T83" fmla="*/ 2147483647 h 106"/>
                  <a:gd name="T84" fmla="*/ 2147483647 w 93"/>
                  <a:gd name="T85" fmla="*/ 2147483647 h 106"/>
                  <a:gd name="T86" fmla="*/ 2147483647 w 93"/>
                  <a:gd name="T87" fmla="*/ 2147483647 h 106"/>
                  <a:gd name="T88" fmla="*/ 0 w 93"/>
                  <a:gd name="T89" fmla="*/ 2147483647 h 106"/>
                  <a:gd name="T90" fmla="*/ 2147483647 w 93"/>
                  <a:gd name="T91" fmla="*/ 2147483647 h 106"/>
                  <a:gd name="T92" fmla="*/ 2147483647 w 93"/>
                  <a:gd name="T93" fmla="*/ 2147483647 h 10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93" h="106">
                    <a:moveTo>
                      <a:pt x="28" y="78"/>
                    </a:moveTo>
                    <a:cubicBezTo>
                      <a:pt x="29" y="80"/>
                      <a:pt x="31" y="82"/>
                      <a:pt x="33" y="84"/>
                    </a:cubicBezTo>
                    <a:cubicBezTo>
                      <a:pt x="35" y="85"/>
                      <a:pt x="37" y="86"/>
                      <a:pt x="39" y="87"/>
                    </a:cubicBezTo>
                    <a:cubicBezTo>
                      <a:pt x="42" y="87"/>
                      <a:pt x="44" y="88"/>
                      <a:pt x="47" y="88"/>
                    </a:cubicBezTo>
                    <a:cubicBezTo>
                      <a:pt x="49" y="88"/>
                      <a:pt x="51" y="87"/>
                      <a:pt x="53" y="87"/>
                    </a:cubicBezTo>
                    <a:cubicBezTo>
                      <a:pt x="55" y="86"/>
                      <a:pt x="57" y="86"/>
                      <a:pt x="59" y="85"/>
                    </a:cubicBezTo>
                    <a:cubicBezTo>
                      <a:pt x="61" y="84"/>
                      <a:pt x="62" y="82"/>
                      <a:pt x="63" y="81"/>
                    </a:cubicBezTo>
                    <a:cubicBezTo>
                      <a:pt x="65" y="79"/>
                      <a:pt x="65" y="77"/>
                      <a:pt x="65" y="75"/>
                    </a:cubicBezTo>
                    <a:cubicBezTo>
                      <a:pt x="65" y="71"/>
                      <a:pt x="62" y="68"/>
                      <a:pt x="57" y="65"/>
                    </a:cubicBezTo>
                    <a:cubicBezTo>
                      <a:pt x="51" y="63"/>
                      <a:pt x="44" y="61"/>
                      <a:pt x="34" y="59"/>
                    </a:cubicBezTo>
                    <a:cubicBezTo>
                      <a:pt x="30" y="58"/>
                      <a:pt x="26" y="57"/>
                      <a:pt x="22" y="56"/>
                    </a:cubicBezTo>
                    <a:cubicBezTo>
                      <a:pt x="18" y="55"/>
                      <a:pt x="15" y="53"/>
                      <a:pt x="12" y="51"/>
                    </a:cubicBezTo>
                    <a:cubicBezTo>
                      <a:pt x="9" y="49"/>
                      <a:pt x="7" y="47"/>
                      <a:pt x="5" y="44"/>
                    </a:cubicBezTo>
                    <a:cubicBezTo>
                      <a:pt x="3" y="41"/>
                      <a:pt x="2" y="37"/>
                      <a:pt x="2" y="33"/>
                    </a:cubicBezTo>
                    <a:cubicBezTo>
                      <a:pt x="2" y="26"/>
                      <a:pt x="3" y="21"/>
                      <a:pt x="6" y="17"/>
                    </a:cubicBezTo>
                    <a:cubicBezTo>
                      <a:pt x="9" y="13"/>
                      <a:pt x="12" y="9"/>
                      <a:pt x="16" y="7"/>
                    </a:cubicBezTo>
                    <a:cubicBezTo>
                      <a:pt x="20" y="4"/>
                      <a:pt x="25" y="3"/>
                      <a:pt x="30" y="2"/>
                    </a:cubicBezTo>
                    <a:cubicBezTo>
                      <a:pt x="35" y="1"/>
                      <a:pt x="40" y="0"/>
                      <a:pt x="46" y="0"/>
                    </a:cubicBezTo>
                    <a:cubicBezTo>
                      <a:pt x="51" y="0"/>
                      <a:pt x="56" y="1"/>
                      <a:pt x="62" y="2"/>
                    </a:cubicBezTo>
                    <a:cubicBezTo>
                      <a:pt x="67" y="3"/>
                      <a:pt x="71" y="5"/>
                      <a:pt x="75" y="7"/>
                    </a:cubicBezTo>
                    <a:cubicBezTo>
                      <a:pt x="79" y="10"/>
                      <a:pt x="83" y="13"/>
                      <a:pt x="85" y="17"/>
                    </a:cubicBezTo>
                    <a:cubicBezTo>
                      <a:pt x="88" y="21"/>
                      <a:pt x="89" y="26"/>
                      <a:pt x="90" y="32"/>
                    </a:cubicBezTo>
                    <a:cubicBezTo>
                      <a:pt x="64" y="32"/>
                      <a:pt x="64" y="32"/>
                      <a:pt x="64" y="32"/>
                    </a:cubicBezTo>
                    <a:cubicBezTo>
                      <a:pt x="63" y="27"/>
                      <a:pt x="61" y="23"/>
                      <a:pt x="58" y="22"/>
                    </a:cubicBezTo>
                    <a:cubicBezTo>
                      <a:pt x="54" y="20"/>
                      <a:pt x="50" y="19"/>
                      <a:pt x="45" y="19"/>
                    </a:cubicBezTo>
                    <a:cubicBezTo>
                      <a:pt x="43" y="19"/>
                      <a:pt x="42" y="19"/>
                      <a:pt x="40" y="19"/>
                    </a:cubicBezTo>
                    <a:cubicBezTo>
                      <a:pt x="38" y="19"/>
                      <a:pt x="37" y="20"/>
                      <a:pt x="35" y="20"/>
                    </a:cubicBezTo>
                    <a:cubicBezTo>
                      <a:pt x="34" y="21"/>
                      <a:pt x="32" y="22"/>
                      <a:pt x="31" y="23"/>
                    </a:cubicBezTo>
                    <a:cubicBezTo>
                      <a:pt x="30" y="24"/>
                      <a:pt x="30" y="26"/>
                      <a:pt x="30" y="28"/>
                    </a:cubicBezTo>
                    <a:cubicBezTo>
                      <a:pt x="30" y="31"/>
                      <a:pt x="31" y="33"/>
                      <a:pt x="32" y="34"/>
                    </a:cubicBezTo>
                    <a:cubicBezTo>
                      <a:pt x="34" y="36"/>
                      <a:pt x="37" y="37"/>
                      <a:pt x="40" y="38"/>
                    </a:cubicBezTo>
                    <a:cubicBezTo>
                      <a:pt x="42" y="39"/>
                      <a:pt x="46" y="40"/>
                      <a:pt x="49" y="40"/>
                    </a:cubicBezTo>
                    <a:cubicBezTo>
                      <a:pt x="53" y="41"/>
                      <a:pt x="57" y="42"/>
                      <a:pt x="61" y="43"/>
                    </a:cubicBezTo>
                    <a:cubicBezTo>
                      <a:pt x="65" y="44"/>
                      <a:pt x="69" y="45"/>
                      <a:pt x="73" y="46"/>
                    </a:cubicBezTo>
                    <a:cubicBezTo>
                      <a:pt x="76" y="48"/>
                      <a:pt x="80" y="49"/>
                      <a:pt x="83" y="51"/>
                    </a:cubicBezTo>
                    <a:cubicBezTo>
                      <a:pt x="86" y="54"/>
                      <a:pt x="88" y="56"/>
                      <a:pt x="90" y="59"/>
                    </a:cubicBezTo>
                    <a:cubicBezTo>
                      <a:pt x="92" y="63"/>
                      <a:pt x="93" y="66"/>
                      <a:pt x="93" y="71"/>
                    </a:cubicBezTo>
                    <a:cubicBezTo>
                      <a:pt x="93" y="78"/>
                      <a:pt x="91" y="83"/>
                      <a:pt x="89" y="88"/>
                    </a:cubicBezTo>
                    <a:cubicBezTo>
                      <a:pt x="86" y="92"/>
                      <a:pt x="83" y="96"/>
                      <a:pt x="78" y="98"/>
                    </a:cubicBezTo>
                    <a:cubicBezTo>
                      <a:pt x="74" y="101"/>
                      <a:pt x="69" y="103"/>
                      <a:pt x="64" y="104"/>
                    </a:cubicBezTo>
                    <a:cubicBezTo>
                      <a:pt x="58" y="105"/>
                      <a:pt x="53" y="106"/>
                      <a:pt x="47" y="106"/>
                    </a:cubicBezTo>
                    <a:cubicBezTo>
                      <a:pt x="41" y="106"/>
                      <a:pt x="35" y="105"/>
                      <a:pt x="30" y="104"/>
                    </a:cubicBezTo>
                    <a:cubicBezTo>
                      <a:pt x="24" y="103"/>
                      <a:pt x="19" y="101"/>
                      <a:pt x="15" y="98"/>
                    </a:cubicBezTo>
                    <a:cubicBezTo>
                      <a:pt x="11" y="95"/>
                      <a:pt x="7" y="92"/>
                      <a:pt x="4" y="87"/>
                    </a:cubicBezTo>
                    <a:cubicBezTo>
                      <a:pt x="2" y="83"/>
                      <a:pt x="0" y="77"/>
                      <a:pt x="0" y="71"/>
                    </a:cubicBezTo>
                    <a:cubicBezTo>
                      <a:pt x="26" y="71"/>
                      <a:pt x="26" y="71"/>
                      <a:pt x="26" y="71"/>
                    </a:cubicBezTo>
                    <a:cubicBezTo>
                      <a:pt x="26" y="74"/>
                      <a:pt x="27" y="76"/>
                      <a:pt x="28" y="7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" name="Freeform 22"/>
              <p:cNvSpPr>
                <a:spLocks/>
              </p:cNvSpPr>
              <p:nvPr userDrawn="1"/>
            </p:nvSpPr>
            <p:spPr bwMode="auto">
              <a:xfrm>
                <a:off x="2093913" y="4427538"/>
                <a:ext cx="119063" cy="136525"/>
              </a:xfrm>
              <a:custGeom>
                <a:avLst/>
                <a:gdLst>
                  <a:gd name="T0" fmla="*/ 2147483647 w 92"/>
                  <a:gd name="T1" fmla="*/ 2147483647 h 106"/>
                  <a:gd name="T2" fmla="*/ 2147483647 w 92"/>
                  <a:gd name="T3" fmla="*/ 2147483647 h 106"/>
                  <a:gd name="T4" fmla="*/ 2147483647 w 92"/>
                  <a:gd name="T5" fmla="*/ 2147483647 h 106"/>
                  <a:gd name="T6" fmla="*/ 2147483647 w 92"/>
                  <a:gd name="T7" fmla="*/ 2147483647 h 106"/>
                  <a:gd name="T8" fmla="*/ 2147483647 w 92"/>
                  <a:gd name="T9" fmla="*/ 2147483647 h 106"/>
                  <a:gd name="T10" fmla="*/ 2147483647 w 92"/>
                  <a:gd name="T11" fmla="*/ 2147483647 h 106"/>
                  <a:gd name="T12" fmla="*/ 2147483647 w 92"/>
                  <a:gd name="T13" fmla="*/ 2147483647 h 106"/>
                  <a:gd name="T14" fmla="*/ 2147483647 w 92"/>
                  <a:gd name="T15" fmla="*/ 2147483647 h 106"/>
                  <a:gd name="T16" fmla="*/ 2147483647 w 92"/>
                  <a:gd name="T17" fmla="*/ 2147483647 h 106"/>
                  <a:gd name="T18" fmla="*/ 2147483647 w 92"/>
                  <a:gd name="T19" fmla="*/ 2147483647 h 106"/>
                  <a:gd name="T20" fmla="*/ 2147483647 w 92"/>
                  <a:gd name="T21" fmla="*/ 2147483647 h 106"/>
                  <a:gd name="T22" fmla="*/ 2147483647 w 92"/>
                  <a:gd name="T23" fmla="*/ 2147483647 h 106"/>
                  <a:gd name="T24" fmla="*/ 2147483647 w 92"/>
                  <a:gd name="T25" fmla="*/ 2147483647 h 106"/>
                  <a:gd name="T26" fmla="*/ 2147483647 w 92"/>
                  <a:gd name="T27" fmla="*/ 2147483647 h 106"/>
                  <a:gd name="T28" fmla="*/ 2147483647 w 92"/>
                  <a:gd name="T29" fmla="*/ 2147483647 h 106"/>
                  <a:gd name="T30" fmla="*/ 2147483647 w 92"/>
                  <a:gd name="T31" fmla="*/ 2147483647 h 106"/>
                  <a:gd name="T32" fmla="*/ 2147483647 w 92"/>
                  <a:gd name="T33" fmla="*/ 2147483647 h 106"/>
                  <a:gd name="T34" fmla="*/ 2147483647 w 92"/>
                  <a:gd name="T35" fmla="*/ 0 h 106"/>
                  <a:gd name="T36" fmla="*/ 2147483647 w 92"/>
                  <a:gd name="T37" fmla="*/ 2147483647 h 106"/>
                  <a:gd name="T38" fmla="*/ 2147483647 w 92"/>
                  <a:gd name="T39" fmla="*/ 2147483647 h 106"/>
                  <a:gd name="T40" fmla="*/ 2147483647 w 92"/>
                  <a:gd name="T41" fmla="*/ 2147483647 h 106"/>
                  <a:gd name="T42" fmla="*/ 2147483647 w 92"/>
                  <a:gd name="T43" fmla="*/ 2147483647 h 106"/>
                  <a:gd name="T44" fmla="*/ 2147483647 w 92"/>
                  <a:gd name="T45" fmla="*/ 2147483647 h 106"/>
                  <a:gd name="T46" fmla="*/ 2147483647 w 92"/>
                  <a:gd name="T47" fmla="*/ 2147483647 h 106"/>
                  <a:gd name="T48" fmla="*/ 2147483647 w 92"/>
                  <a:gd name="T49" fmla="*/ 2147483647 h 106"/>
                  <a:gd name="T50" fmla="*/ 2147483647 w 92"/>
                  <a:gd name="T51" fmla="*/ 2147483647 h 106"/>
                  <a:gd name="T52" fmla="*/ 2147483647 w 92"/>
                  <a:gd name="T53" fmla="*/ 2147483647 h 106"/>
                  <a:gd name="T54" fmla="*/ 2147483647 w 92"/>
                  <a:gd name="T55" fmla="*/ 2147483647 h 106"/>
                  <a:gd name="T56" fmla="*/ 2147483647 w 92"/>
                  <a:gd name="T57" fmla="*/ 2147483647 h 106"/>
                  <a:gd name="T58" fmla="*/ 2147483647 w 92"/>
                  <a:gd name="T59" fmla="*/ 2147483647 h 106"/>
                  <a:gd name="T60" fmla="*/ 2147483647 w 92"/>
                  <a:gd name="T61" fmla="*/ 2147483647 h 106"/>
                  <a:gd name="T62" fmla="*/ 2147483647 w 92"/>
                  <a:gd name="T63" fmla="*/ 2147483647 h 106"/>
                  <a:gd name="T64" fmla="*/ 2147483647 w 92"/>
                  <a:gd name="T65" fmla="*/ 2147483647 h 106"/>
                  <a:gd name="T66" fmla="*/ 2147483647 w 92"/>
                  <a:gd name="T67" fmla="*/ 2147483647 h 106"/>
                  <a:gd name="T68" fmla="*/ 2147483647 w 92"/>
                  <a:gd name="T69" fmla="*/ 2147483647 h 106"/>
                  <a:gd name="T70" fmla="*/ 2147483647 w 92"/>
                  <a:gd name="T71" fmla="*/ 2147483647 h 106"/>
                  <a:gd name="T72" fmla="*/ 2147483647 w 92"/>
                  <a:gd name="T73" fmla="*/ 2147483647 h 106"/>
                  <a:gd name="T74" fmla="*/ 2147483647 w 92"/>
                  <a:gd name="T75" fmla="*/ 2147483647 h 106"/>
                  <a:gd name="T76" fmla="*/ 2147483647 w 92"/>
                  <a:gd name="T77" fmla="*/ 2147483647 h 106"/>
                  <a:gd name="T78" fmla="*/ 2147483647 w 92"/>
                  <a:gd name="T79" fmla="*/ 2147483647 h 106"/>
                  <a:gd name="T80" fmla="*/ 2147483647 w 92"/>
                  <a:gd name="T81" fmla="*/ 2147483647 h 106"/>
                  <a:gd name="T82" fmla="*/ 2147483647 w 92"/>
                  <a:gd name="T83" fmla="*/ 2147483647 h 106"/>
                  <a:gd name="T84" fmla="*/ 2147483647 w 92"/>
                  <a:gd name="T85" fmla="*/ 2147483647 h 106"/>
                  <a:gd name="T86" fmla="*/ 2147483647 w 92"/>
                  <a:gd name="T87" fmla="*/ 2147483647 h 106"/>
                  <a:gd name="T88" fmla="*/ 0 w 92"/>
                  <a:gd name="T89" fmla="*/ 2147483647 h 106"/>
                  <a:gd name="T90" fmla="*/ 2147483647 w 92"/>
                  <a:gd name="T91" fmla="*/ 2147483647 h 106"/>
                  <a:gd name="T92" fmla="*/ 2147483647 w 92"/>
                  <a:gd name="T93" fmla="*/ 2147483647 h 10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92" h="106">
                    <a:moveTo>
                      <a:pt x="27" y="78"/>
                    </a:moveTo>
                    <a:cubicBezTo>
                      <a:pt x="29" y="80"/>
                      <a:pt x="30" y="82"/>
                      <a:pt x="32" y="84"/>
                    </a:cubicBezTo>
                    <a:cubicBezTo>
                      <a:pt x="34" y="85"/>
                      <a:pt x="36" y="86"/>
                      <a:pt x="39" y="87"/>
                    </a:cubicBezTo>
                    <a:cubicBezTo>
                      <a:pt x="41" y="87"/>
                      <a:pt x="44" y="88"/>
                      <a:pt x="47" y="88"/>
                    </a:cubicBezTo>
                    <a:cubicBezTo>
                      <a:pt x="49" y="88"/>
                      <a:pt x="51" y="87"/>
                      <a:pt x="53" y="87"/>
                    </a:cubicBezTo>
                    <a:cubicBezTo>
                      <a:pt x="55" y="86"/>
                      <a:pt x="57" y="86"/>
                      <a:pt x="59" y="85"/>
                    </a:cubicBezTo>
                    <a:cubicBezTo>
                      <a:pt x="60" y="84"/>
                      <a:pt x="62" y="82"/>
                      <a:pt x="63" y="81"/>
                    </a:cubicBezTo>
                    <a:cubicBezTo>
                      <a:pt x="64" y="79"/>
                      <a:pt x="65" y="77"/>
                      <a:pt x="65" y="75"/>
                    </a:cubicBezTo>
                    <a:cubicBezTo>
                      <a:pt x="65" y="71"/>
                      <a:pt x="62" y="68"/>
                      <a:pt x="57" y="65"/>
                    </a:cubicBezTo>
                    <a:cubicBezTo>
                      <a:pt x="51" y="63"/>
                      <a:pt x="43" y="61"/>
                      <a:pt x="34" y="59"/>
                    </a:cubicBezTo>
                    <a:cubicBezTo>
                      <a:pt x="30" y="58"/>
                      <a:pt x="26" y="57"/>
                      <a:pt x="22" y="56"/>
                    </a:cubicBezTo>
                    <a:cubicBezTo>
                      <a:pt x="18" y="55"/>
                      <a:pt x="15" y="53"/>
                      <a:pt x="12" y="51"/>
                    </a:cubicBezTo>
                    <a:cubicBezTo>
                      <a:pt x="9" y="49"/>
                      <a:pt x="6" y="47"/>
                      <a:pt x="5" y="44"/>
                    </a:cubicBezTo>
                    <a:cubicBezTo>
                      <a:pt x="3" y="41"/>
                      <a:pt x="2" y="37"/>
                      <a:pt x="2" y="33"/>
                    </a:cubicBezTo>
                    <a:cubicBezTo>
                      <a:pt x="2" y="26"/>
                      <a:pt x="3" y="21"/>
                      <a:pt x="6" y="17"/>
                    </a:cubicBezTo>
                    <a:cubicBezTo>
                      <a:pt x="8" y="13"/>
                      <a:pt x="11" y="9"/>
                      <a:pt x="16" y="7"/>
                    </a:cubicBezTo>
                    <a:cubicBezTo>
                      <a:pt x="20" y="4"/>
                      <a:pt x="24" y="3"/>
                      <a:pt x="30" y="2"/>
                    </a:cubicBezTo>
                    <a:cubicBezTo>
                      <a:pt x="35" y="1"/>
                      <a:pt x="40" y="0"/>
                      <a:pt x="45" y="0"/>
                    </a:cubicBezTo>
                    <a:cubicBezTo>
                      <a:pt x="51" y="0"/>
                      <a:pt x="56" y="1"/>
                      <a:pt x="61" y="2"/>
                    </a:cubicBezTo>
                    <a:cubicBezTo>
                      <a:pt x="66" y="3"/>
                      <a:pt x="71" y="5"/>
                      <a:pt x="75" y="7"/>
                    </a:cubicBezTo>
                    <a:cubicBezTo>
                      <a:pt x="79" y="10"/>
                      <a:pt x="82" y="13"/>
                      <a:pt x="85" y="17"/>
                    </a:cubicBezTo>
                    <a:cubicBezTo>
                      <a:pt x="87" y="21"/>
                      <a:pt x="89" y="26"/>
                      <a:pt x="90" y="32"/>
                    </a:cubicBezTo>
                    <a:cubicBezTo>
                      <a:pt x="63" y="32"/>
                      <a:pt x="63" y="32"/>
                      <a:pt x="63" y="32"/>
                    </a:cubicBezTo>
                    <a:cubicBezTo>
                      <a:pt x="63" y="27"/>
                      <a:pt x="61" y="23"/>
                      <a:pt x="57" y="22"/>
                    </a:cubicBezTo>
                    <a:cubicBezTo>
                      <a:pt x="54" y="20"/>
                      <a:pt x="50" y="19"/>
                      <a:pt x="45" y="19"/>
                    </a:cubicBezTo>
                    <a:cubicBezTo>
                      <a:pt x="43" y="19"/>
                      <a:pt x="41" y="19"/>
                      <a:pt x="40" y="19"/>
                    </a:cubicBezTo>
                    <a:cubicBezTo>
                      <a:pt x="38" y="19"/>
                      <a:pt x="36" y="20"/>
                      <a:pt x="35" y="20"/>
                    </a:cubicBezTo>
                    <a:cubicBezTo>
                      <a:pt x="33" y="21"/>
                      <a:pt x="32" y="22"/>
                      <a:pt x="31" y="23"/>
                    </a:cubicBezTo>
                    <a:cubicBezTo>
                      <a:pt x="30" y="24"/>
                      <a:pt x="29" y="26"/>
                      <a:pt x="29" y="28"/>
                    </a:cubicBezTo>
                    <a:cubicBezTo>
                      <a:pt x="29" y="31"/>
                      <a:pt x="30" y="33"/>
                      <a:pt x="32" y="34"/>
                    </a:cubicBezTo>
                    <a:cubicBezTo>
                      <a:pt x="34" y="36"/>
                      <a:pt x="36" y="37"/>
                      <a:pt x="39" y="38"/>
                    </a:cubicBezTo>
                    <a:cubicBezTo>
                      <a:pt x="42" y="39"/>
                      <a:pt x="45" y="40"/>
                      <a:pt x="49" y="40"/>
                    </a:cubicBezTo>
                    <a:cubicBezTo>
                      <a:pt x="53" y="41"/>
                      <a:pt x="57" y="42"/>
                      <a:pt x="61" y="43"/>
                    </a:cubicBezTo>
                    <a:cubicBezTo>
                      <a:pt x="65" y="44"/>
                      <a:pt x="68" y="45"/>
                      <a:pt x="72" y="46"/>
                    </a:cubicBezTo>
                    <a:cubicBezTo>
                      <a:pt x="76" y="48"/>
                      <a:pt x="79" y="49"/>
                      <a:pt x="82" y="51"/>
                    </a:cubicBezTo>
                    <a:cubicBezTo>
                      <a:pt x="85" y="54"/>
                      <a:pt x="88" y="56"/>
                      <a:pt x="90" y="59"/>
                    </a:cubicBezTo>
                    <a:cubicBezTo>
                      <a:pt x="91" y="63"/>
                      <a:pt x="92" y="66"/>
                      <a:pt x="92" y="71"/>
                    </a:cubicBezTo>
                    <a:cubicBezTo>
                      <a:pt x="92" y="78"/>
                      <a:pt x="91" y="83"/>
                      <a:pt x="88" y="88"/>
                    </a:cubicBezTo>
                    <a:cubicBezTo>
                      <a:pt x="86" y="92"/>
                      <a:pt x="82" y="96"/>
                      <a:pt x="78" y="98"/>
                    </a:cubicBezTo>
                    <a:cubicBezTo>
                      <a:pt x="74" y="101"/>
                      <a:pt x="69" y="103"/>
                      <a:pt x="63" y="104"/>
                    </a:cubicBezTo>
                    <a:cubicBezTo>
                      <a:pt x="58" y="105"/>
                      <a:pt x="52" y="106"/>
                      <a:pt x="47" y="106"/>
                    </a:cubicBezTo>
                    <a:cubicBezTo>
                      <a:pt x="41" y="106"/>
                      <a:pt x="35" y="105"/>
                      <a:pt x="30" y="104"/>
                    </a:cubicBezTo>
                    <a:cubicBezTo>
                      <a:pt x="24" y="103"/>
                      <a:pt x="19" y="101"/>
                      <a:pt x="15" y="98"/>
                    </a:cubicBezTo>
                    <a:cubicBezTo>
                      <a:pt x="10" y="95"/>
                      <a:pt x="7" y="92"/>
                      <a:pt x="4" y="87"/>
                    </a:cubicBezTo>
                    <a:cubicBezTo>
                      <a:pt x="1" y="83"/>
                      <a:pt x="0" y="77"/>
                      <a:pt x="0" y="71"/>
                    </a:cubicBezTo>
                    <a:cubicBezTo>
                      <a:pt x="26" y="71"/>
                      <a:pt x="26" y="71"/>
                      <a:pt x="26" y="71"/>
                    </a:cubicBezTo>
                    <a:cubicBezTo>
                      <a:pt x="26" y="74"/>
                      <a:pt x="26" y="76"/>
                      <a:pt x="27" y="7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" name="Freeform 23"/>
              <p:cNvSpPr>
                <a:spLocks/>
              </p:cNvSpPr>
              <p:nvPr userDrawn="1"/>
            </p:nvSpPr>
            <p:spPr bwMode="auto">
              <a:xfrm>
                <a:off x="1173163" y="4627563"/>
                <a:ext cx="150813" cy="187325"/>
              </a:xfrm>
              <a:custGeom>
                <a:avLst/>
                <a:gdLst>
                  <a:gd name="T0" fmla="*/ 2147483647 w 117"/>
                  <a:gd name="T1" fmla="*/ 2147483647 h 145"/>
                  <a:gd name="T2" fmla="*/ 2147483647 w 117"/>
                  <a:gd name="T3" fmla="*/ 2147483647 h 145"/>
                  <a:gd name="T4" fmla="*/ 2147483647 w 117"/>
                  <a:gd name="T5" fmla="*/ 2147483647 h 145"/>
                  <a:gd name="T6" fmla="*/ 2147483647 w 117"/>
                  <a:gd name="T7" fmla="*/ 2147483647 h 145"/>
                  <a:gd name="T8" fmla="*/ 2147483647 w 117"/>
                  <a:gd name="T9" fmla="*/ 2147483647 h 145"/>
                  <a:gd name="T10" fmla="*/ 2147483647 w 117"/>
                  <a:gd name="T11" fmla="*/ 2147483647 h 145"/>
                  <a:gd name="T12" fmla="*/ 2147483647 w 117"/>
                  <a:gd name="T13" fmla="*/ 2147483647 h 145"/>
                  <a:gd name="T14" fmla="*/ 2147483647 w 117"/>
                  <a:gd name="T15" fmla="*/ 2147483647 h 145"/>
                  <a:gd name="T16" fmla="*/ 2147483647 w 117"/>
                  <a:gd name="T17" fmla="*/ 2147483647 h 145"/>
                  <a:gd name="T18" fmla="*/ 2147483647 w 117"/>
                  <a:gd name="T19" fmla="*/ 2147483647 h 145"/>
                  <a:gd name="T20" fmla="*/ 2147483647 w 117"/>
                  <a:gd name="T21" fmla="*/ 2147483647 h 145"/>
                  <a:gd name="T22" fmla="*/ 2147483647 w 117"/>
                  <a:gd name="T23" fmla="*/ 2147483647 h 145"/>
                  <a:gd name="T24" fmla="*/ 2147483647 w 117"/>
                  <a:gd name="T25" fmla="*/ 2147483647 h 145"/>
                  <a:gd name="T26" fmla="*/ 2147483647 w 117"/>
                  <a:gd name="T27" fmla="*/ 2147483647 h 145"/>
                  <a:gd name="T28" fmla="*/ 2147483647 w 117"/>
                  <a:gd name="T29" fmla="*/ 2147483647 h 145"/>
                  <a:gd name="T30" fmla="*/ 2147483647 w 117"/>
                  <a:gd name="T31" fmla="*/ 2147483647 h 145"/>
                  <a:gd name="T32" fmla="*/ 2147483647 w 117"/>
                  <a:gd name="T33" fmla="*/ 2147483647 h 145"/>
                  <a:gd name="T34" fmla="*/ 2147483647 w 117"/>
                  <a:gd name="T35" fmla="*/ 2147483647 h 145"/>
                  <a:gd name="T36" fmla="*/ 2147483647 w 117"/>
                  <a:gd name="T37" fmla="*/ 2147483647 h 145"/>
                  <a:gd name="T38" fmla="*/ 2147483647 w 117"/>
                  <a:gd name="T39" fmla="*/ 0 h 145"/>
                  <a:gd name="T40" fmla="*/ 2147483647 w 117"/>
                  <a:gd name="T41" fmla="*/ 2147483647 h 145"/>
                  <a:gd name="T42" fmla="*/ 2147483647 w 117"/>
                  <a:gd name="T43" fmla="*/ 2147483647 h 145"/>
                  <a:gd name="T44" fmla="*/ 2147483647 w 117"/>
                  <a:gd name="T45" fmla="*/ 2147483647 h 145"/>
                  <a:gd name="T46" fmla="*/ 2147483647 w 117"/>
                  <a:gd name="T47" fmla="*/ 2147483647 h 145"/>
                  <a:gd name="T48" fmla="*/ 2147483647 w 117"/>
                  <a:gd name="T49" fmla="*/ 2147483647 h 145"/>
                  <a:gd name="T50" fmla="*/ 2147483647 w 117"/>
                  <a:gd name="T51" fmla="*/ 2147483647 h 145"/>
                  <a:gd name="T52" fmla="*/ 2147483647 w 117"/>
                  <a:gd name="T53" fmla="*/ 2147483647 h 145"/>
                  <a:gd name="T54" fmla="*/ 2147483647 w 117"/>
                  <a:gd name="T55" fmla="*/ 2147483647 h 145"/>
                  <a:gd name="T56" fmla="*/ 2147483647 w 117"/>
                  <a:gd name="T57" fmla="*/ 2147483647 h 145"/>
                  <a:gd name="T58" fmla="*/ 2147483647 w 117"/>
                  <a:gd name="T59" fmla="*/ 2147483647 h 145"/>
                  <a:gd name="T60" fmla="*/ 2147483647 w 117"/>
                  <a:gd name="T61" fmla="*/ 2147483647 h 145"/>
                  <a:gd name="T62" fmla="*/ 2147483647 w 117"/>
                  <a:gd name="T63" fmla="*/ 2147483647 h 145"/>
                  <a:gd name="T64" fmla="*/ 2147483647 w 117"/>
                  <a:gd name="T65" fmla="*/ 2147483647 h 145"/>
                  <a:gd name="T66" fmla="*/ 2147483647 w 117"/>
                  <a:gd name="T67" fmla="*/ 2147483647 h 145"/>
                  <a:gd name="T68" fmla="*/ 2147483647 w 117"/>
                  <a:gd name="T69" fmla="*/ 2147483647 h 145"/>
                  <a:gd name="T70" fmla="*/ 2147483647 w 117"/>
                  <a:gd name="T71" fmla="*/ 2147483647 h 145"/>
                  <a:gd name="T72" fmla="*/ 2147483647 w 117"/>
                  <a:gd name="T73" fmla="*/ 2147483647 h 145"/>
                  <a:gd name="T74" fmla="*/ 2147483647 w 117"/>
                  <a:gd name="T75" fmla="*/ 2147483647 h 145"/>
                  <a:gd name="T76" fmla="*/ 2147483647 w 117"/>
                  <a:gd name="T77" fmla="*/ 2147483647 h 145"/>
                  <a:gd name="T78" fmla="*/ 2147483647 w 117"/>
                  <a:gd name="T79" fmla="*/ 2147483647 h 145"/>
                  <a:gd name="T80" fmla="*/ 2147483647 w 117"/>
                  <a:gd name="T81" fmla="*/ 2147483647 h 145"/>
                  <a:gd name="T82" fmla="*/ 2147483647 w 117"/>
                  <a:gd name="T83" fmla="*/ 2147483647 h 145"/>
                  <a:gd name="T84" fmla="*/ 2147483647 w 117"/>
                  <a:gd name="T85" fmla="*/ 2147483647 h 145"/>
                  <a:gd name="T86" fmla="*/ 2147483647 w 117"/>
                  <a:gd name="T87" fmla="*/ 2147483647 h 145"/>
                  <a:gd name="T88" fmla="*/ 2147483647 w 117"/>
                  <a:gd name="T89" fmla="*/ 2147483647 h 145"/>
                  <a:gd name="T90" fmla="*/ 2147483647 w 117"/>
                  <a:gd name="T91" fmla="*/ 2147483647 h 145"/>
                  <a:gd name="T92" fmla="*/ 2147483647 w 117"/>
                  <a:gd name="T93" fmla="*/ 2147483647 h 145"/>
                  <a:gd name="T94" fmla="*/ 2147483647 w 117"/>
                  <a:gd name="T95" fmla="*/ 2147483647 h 145"/>
                  <a:gd name="T96" fmla="*/ 0 w 117"/>
                  <a:gd name="T97" fmla="*/ 2147483647 h 145"/>
                  <a:gd name="T98" fmla="*/ 2147483647 w 117"/>
                  <a:gd name="T99" fmla="*/ 2147483647 h 145"/>
                  <a:gd name="T100" fmla="*/ 2147483647 w 117"/>
                  <a:gd name="T101" fmla="*/ 2147483647 h 145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117" h="145">
                    <a:moveTo>
                      <a:pt x="32" y="108"/>
                    </a:moveTo>
                    <a:cubicBezTo>
                      <a:pt x="34" y="111"/>
                      <a:pt x="36" y="114"/>
                      <a:pt x="39" y="116"/>
                    </a:cubicBezTo>
                    <a:cubicBezTo>
                      <a:pt x="42" y="118"/>
                      <a:pt x="45" y="119"/>
                      <a:pt x="49" y="120"/>
                    </a:cubicBezTo>
                    <a:cubicBezTo>
                      <a:pt x="52" y="121"/>
                      <a:pt x="56" y="122"/>
                      <a:pt x="60" y="122"/>
                    </a:cubicBezTo>
                    <a:cubicBezTo>
                      <a:pt x="63" y="122"/>
                      <a:pt x="66" y="121"/>
                      <a:pt x="69" y="121"/>
                    </a:cubicBezTo>
                    <a:cubicBezTo>
                      <a:pt x="72" y="121"/>
                      <a:pt x="75" y="120"/>
                      <a:pt x="78" y="118"/>
                    </a:cubicBezTo>
                    <a:cubicBezTo>
                      <a:pt x="80" y="117"/>
                      <a:pt x="83" y="115"/>
                      <a:pt x="84" y="113"/>
                    </a:cubicBezTo>
                    <a:cubicBezTo>
                      <a:pt x="86" y="111"/>
                      <a:pt x="87" y="108"/>
                      <a:pt x="87" y="104"/>
                    </a:cubicBezTo>
                    <a:cubicBezTo>
                      <a:pt x="87" y="101"/>
                      <a:pt x="86" y="98"/>
                      <a:pt x="84" y="95"/>
                    </a:cubicBezTo>
                    <a:cubicBezTo>
                      <a:pt x="81" y="93"/>
                      <a:pt x="78" y="91"/>
                      <a:pt x="74" y="90"/>
                    </a:cubicBezTo>
                    <a:cubicBezTo>
                      <a:pt x="70" y="88"/>
                      <a:pt x="66" y="87"/>
                      <a:pt x="61" y="85"/>
                    </a:cubicBezTo>
                    <a:cubicBezTo>
                      <a:pt x="56" y="84"/>
                      <a:pt x="51" y="83"/>
                      <a:pt x="46" y="82"/>
                    </a:cubicBezTo>
                    <a:cubicBezTo>
                      <a:pt x="41" y="80"/>
                      <a:pt x="36" y="79"/>
                      <a:pt x="31" y="77"/>
                    </a:cubicBezTo>
                    <a:cubicBezTo>
                      <a:pt x="26" y="75"/>
                      <a:pt x="22" y="73"/>
                      <a:pt x="18" y="70"/>
                    </a:cubicBezTo>
                    <a:cubicBezTo>
                      <a:pt x="14" y="67"/>
                      <a:pt x="11" y="63"/>
                      <a:pt x="8" y="58"/>
                    </a:cubicBezTo>
                    <a:cubicBezTo>
                      <a:pt x="6" y="54"/>
                      <a:pt x="5" y="49"/>
                      <a:pt x="5" y="42"/>
                    </a:cubicBezTo>
                    <a:cubicBezTo>
                      <a:pt x="5" y="35"/>
                      <a:pt x="6" y="29"/>
                      <a:pt x="9" y="24"/>
                    </a:cubicBezTo>
                    <a:cubicBezTo>
                      <a:pt x="12" y="19"/>
                      <a:pt x="16" y="14"/>
                      <a:pt x="21" y="11"/>
                    </a:cubicBezTo>
                    <a:cubicBezTo>
                      <a:pt x="26" y="7"/>
                      <a:pt x="32" y="5"/>
                      <a:pt x="38" y="3"/>
                    </a:cubicBezTo>
                    <a:cubicBezTo>
                      <a:pt x="44" y="1"/>
                      <a:pt x="50" y="0"/>
                      <a:pt x="56" y="0"/>
                    </a:cubicBezTo>
                    <a:cubicBezTo>
                      <a:pt x="64" y="0"/>
                      <a:pt x="71" y="1"/>
                      <a:pt x="77" y="3"/>
                    </a:cubicBezTo>
                    <a:cubicBezTo>
                      <a:pt x="84" y="4"/>
                      <a:pt x="90" y="7"/>
                      <a:pt x="95" y="11"/>
                    </a:cubicBezTo>
                    <a:cubicBezTo>
                      <a:pt x="100" y="14"/>
                      <a:pt x="104" y="19"/>
                      <a:pt x="107" y="25"/>
                    </a:cubicBezTo>
                    <a:cubicBezTo>
                      <a:pt x="110" y="30"/>
                      <a:pt x="112" y="37"/>
                      <a:pt x="112" y="45"/>
                    </a:cubicBezTo>
                    <a:cubicBezTo>
                      <a:pt x="82" y="45"/>
                      <a:pt x="82" y="45"/>
                      <a:pt x="82" y="45"/>
                    </a:cubicBezTo>
                    <a:cubicBezTo>
                      <a:pt x="82" y="41"/>
                      <a:pt x="81" y="37"/>
                      <a:pt x="80" y="35"/>
                    </a:cubicBezTo>
                    <a:cubicBezTo>
                      <a:pt x="78" y="32"/>
                      <a:pt x="76" y="30"/>
                      <a:pt x="74" y="28"/>
                    </a:cubicBezTo>
                    <a:cubicBezTo>
                      <a:pt x="71" y="27"/>
                      <a:pt x="69" y="26"/>
                      <a:pt x="65" y="25"/>
                    </a:cubicBezTo>
                    <a:cubicBezTo>
                      <a:pt x="62" y="24"/>
                      <a:pt x="59" y="24"/>
                      <a:pt x="55" y="24"/>
                    </a:cubicBezTo>
                    <a:cubicBezTo>
                      <a:pt x="53" y="24"/>
                      <a:pt x="50" y="24"/>
                      <a:pt x="48" y="25"/>
                    </a:cubicBezTo>
                    <a:cubicBezTo>
                      <a:pt x="45" y="25"/>
                      <a:pt x="43" y="26"/>
                      <a:pt x="41" y="28"/>
                    </a:cubicBezTo>
                    <a:cubicBezTo>
                      <a:pt x="39" y="29"/>
                      <a:pt x="37" y="30"/>
                      <a:pt x="36" y="32"/>
                    </a:cubicBezTo>
                    <a:cubicBezTo>
                      <a:pt x="35" y="34"/>
                      <a:pt x="34" y="37"/>
                      <a:pt x="34" y="40"/>
                    </a:cubicBezTo>
                    <a:cubicBezTo>
                      <a:pt x="34" y="42"/>
                      <a:pt x="35" y="45"/>
                      <a:pt x="36" y="46"/>
                    </a:cubicBezTo>
                    <a:cubicBezTo>
                      <a:pt x="37" y="48"/>
                      <a:pt x="39" y="50"/>
                      <a:pt x="42" y="51"/>
                    </a:cubicBezTo>
                    <a:cubicBezTo>
                      <a:pt x="45" y="52"/>
                      <a:pt x="49" y="54"/>
                      <a:pt x="54" y="55"/>
                    </a:cubicBezTo>
                    <a:cubicBezTo>
                      <a:pt x="60" y="57"/>
                      <a:pt x="67" y="58"/>
                      <a:pt x="75" y="61"/>
                    </a:cubicBezTo>
                    <a:cubicBezTo>
                      <a:pt x="78" y="61"/>
                      <a:pt x="82" y="62"/>
                      <a:pt x="86" y="63"/>
                    </a:cubicBezTo>
                    <a:cubicBezTo>
                      <a:pt x="91" y="65"/>
                      <a:pt x="95" y="67"/>
                      <a:pt x="100" y="70"/>
                    </a:cubicBezTo>
                    <a:cubicBezTo>
                      <a:pt x="104" y="73"/>
                      <a:pt x="108" y="77"/>
                      <a:pt x="112" y="82"/>
                    </a:cubicBezTo>
                    <a:cubicBezTo>
                      <a:pt x="115" y="87"/>
                      <a:pt x="117" y="93"/>
                      <a:pt x="117" y="101"/>
                    </a:cubicBezTo>
                    <a:cubicBezTo>
                      <a:pt x="117" y="107"/>
                      <a:pt x="115" y="113"/>
                      <a:pt x="113" y="119"/>
                    </a:cubicBezTo>
                    <a:cubicBezTo>
                      <a:pt x="110" y="124"/>
                      <a:pt x="107" y="129"/>
                      <a:pt x="102" y="133"/>
                    </a:cubicBezTo>
                    <a:cubicBezTo>
                      <a:pt x="97" y="137"/>
                      <a:pt x="91" y="140"/>
                      <a:pt x="84" y="142"/>
                    </a:cubicBezTo>
                    <a:cubicBezTo>
                      <a:pt x="77" y="144"/>
                      <a:pt x="68" y="145"/>
                      <a:pt x="59" y="145"/>
                    </a:cubicBezTo>
                    <a:cubicBezTo>
                      <a:pt x="51" y="145"/>
                      <a:pt x="44" y="144"/>
                      <a:pt x="37" y="142"/>
                    </a:cubicBezTo>
                    <a:cubicBezTo>
                      <a:pt x="30" y="140"/>
                      <a:pt x="23" y="138"/>
                      <a:pt x="18" y="134"/>
                    </a:cubicBezTo>
                    <a:cubicBezTo>
                      <a:pt x="12" y="129"/>
                      <a:pt x="8" y="124"/>
                      <a:pt x="5" y="118"/>
                    </a:cubicBezTo>
                    <a:cubicBezTo>
                      <a:pt x="2" y="112"/>
                      <a:pt x="0" y="105"/>
                      <a:pt x="0" y="96"/>
                    </a:cubicBezTo>
                    <a:cubicBezTo>
                      <a:pt x="30" y="96"/>
                      <a:pt x="30" y="96"/>
                      <a:pt x="30" y="96"/>
                    </a:cubicBezTo>
                    <a:cubicBezTo>
                      <a:pt x="30" y="101"/>
                      <a:pt x="30" y="105"/>
                      <a:pt x="32" y="1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7" name="Freeform 24"/>
              <p:cNvSpPr>
                <a:spLocks noEditPoints="1"/>
              </p:cNvSpPr>
              <p:nvPr userDrawn="1"/>
            </p:nvSpPr>
            <p:spPr bwMode="auto">
              <a:xfrm>
                <a:off x="1333500" y="4678363"/>
                <a:ext cx="128588" cy="136525"/>
              </a:xfrm>
              <a:custGeom>
                <a:avLst/>
                <a:gdLst>
                  <a:gd name="T0" fmla="*/ 2147483647 w 100"/>
                  <a:gd name="T1" fmla="*/ 2147483647 h 106"/>
                  <a:gd name="T2" fmla="*/ 2147483647 w 100"/>
                  <a:gd name="T3" fmla="*/ 2147483647 h 106"/>
                  <a:gd name="T4" fmla="*/ 2147483647 w 100"/>
                  <a:gd name="T5" fmla="*/ 2147483647 h 106"/>
                  <a:gd name="T6" fmla="*/ 2147483647 w 100"/>
                  <a:gd name="T7" fmla="*/ 2147483647 h 106"/>
                  <a:gd name="T8" fmla="*/ 2147483647 w 100"/>
                  <a:gd name="T9" fmla="*/ 2147483647 h 106"/>
                  <a:gd name="T10" fmla="*/ 2147483647 w 100"/>
                  <a:gd name="T11" fmla="*/ 2147483647 h 106"/>
                  <a:gd name="T12" fmla="*/ 2147483647 w 100"/>
                  <a:gd name="T13" fmla="*/ 2147483647 h 106"/>
                  <a:gd name="T14" fmla="*/ 2147483647 w 100"/>
                  <a:gd name="T15" fmla="*/ 2147483647 h 106"/>
                  <a:gd name="T16" fmla="*/ 2147483647 w 100"/>
                  <a:gd name="T17" fmla="*/ 2147483647 h 106"/>
                  <a:gd name="T18" fmla="*/ 2147483647 w 100"/>
                  <a:gd name="T19" fmla="*/ 2147483647 h 106"/>
                  <a:gd name="T20" fmla="*/ 0 w 100"/>
                  <a:gd name="T21" fmla="*/ 2147483647 h 106"/>
                  <a:gd name="T22" fmla="*/ 2147483647 w 100"/>
                  <a:gd name="T23" fmla="*/ 2147483647 h 106"/>
                  <a:gd name="T24" fmla="*/ 2147483647 w 100"/>
                  <a:gd name="T25" fmla="*/ 2147483647 h 106"/>
                  <a:gd name="T26" fmla="*/ 2147483647 w 100"/>
                  <a:gd name="T27" fmla="*/ 2147483647 h 106"/>
                  <a:gd name="T28" fmla="*/ 2147483647 w 100"/>
                  <a:gd name="T29" fmla="*/ 0 h 106"/>
                  <a:gd name="T30" fmla="*/ 2147483647 w 100"/>
                  <a:gd name="T31" fmla="*/ 2147483647 h 106"/>
                  <a:gd name="T32" fmla="*/ 2147483647 w 100"/>
                  <a:gd name="T33" fmla="*/ 2147483647 h 106"/>
                  <a:gd name="T34" fmla="*/ 2147483647 w 100"/>
                  <a:gd name="T35" fmla="*/ 2147483647 h 106"/>
                  <a:gd name="T36" fmla="*/ 2147483647 w 100"/>
                  <a:gd name="T37" fmla="*/ 2147483647 h 106"/>
                  <a:gd name="T38" fmla="*/ 2147483647 w 100"/>
                  <a:gd name="T39" fmla="*/ 2147483647 h 106"/>
                  <a:gd name="T40" fmla="*/ 2147483647 w 100"/>
                  <a:gd name="T41" fmla="*/ 2147483647 h 106"/>
                  <a:gd name="T42" fmla="*/ 2147483647 w 100"/>
                  <a:gd name="T43" fmla="*/ 2147483647 h 106"/>
                  <a:gd name="T44" fmla="*/ 2147483647 w 100"/>
                  <a:gd name="T45" fmla="*/ 2147483647 h 106"/>
                  <a:gd name="T46" fmla="*/ 2147483647 w 100"/>
                  <a:gd name="T47" fmla="*/ 2147483647 h 106"/>
                  <a:gd name="T48" fmla="*/ 2147483647 w 100"/>
                  <a:gd name="T49" fmla="*/ 2147483647 h 106"/>
                  <a:gd name="T50" fmla="*/ 2147483647 w 100"/>
                  <a:gd name="T51" fmla="*/ 2147483647 h 106"/>
                  <a:gd name="T52" fmla="*/ 2147483647 w 100"/>
                  <a:gd name="T53" fmla="*/ 2147483647 h 106"/>
                  <a:gd name="T54" fmla="*/ 2147483647 w 100"/>
                  <a:gd name="T55" fmla="*/ 2147483647 h 106"/>
                  <a:gd name="T56" fmla="*/ 2147483647 w 100"/>
                  <a:gd name="T57" fmla="*/ 2147483647 h 10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00" h="106">
                    <a:moveTo>
                      <a:pt x="34" y="79"/>
                    </a:moveTo>
                    <a:cubicBezTo>
                      <a:pt x="38" y="83"/>
                      <a:pt x="44" y="85"/>
                      <a:pt x="52" y="85"/>
                    </a:cubicBezTo>
                    <a:cubicBezTo>
                      <a:pt x="57" y="85"/>
                      <a:pt x="62" y="84"/>
                      <a:pt x="66" y="81"/>
                    </a:cubicBezTo>
                    <a:cubicBezTo>
                      <a:pt x="70" y="78"/>
                      <a:pt x="73" y="75"/>
                      <a:pt x="74" y="72"/>
                    </a:cubicBezTo>
                    <a:cubicBezTo>
                      <a:pt x="98" y="72"/>
                      <a:pt x="98" y="72"/>
                      <a:pt x="98" y="72"/>
                    </a:cubicBezTo>
                    <a:cubicBezTo>
                      <a:pt x="94" y="84"/>
                      <a:pt x="88" y="93"/>
                      <a:pt x="80" y="98"/>
                    </a:cubicBezTo>
                    <a:cubicBezTo>
                      <a:pt x="72" y="103"/>
                      <a:pt x="62" y="106"/>
                      <a:pt x="51" y="106"/>
                    </a:cubicBezTo>
                    <a:cubicBezTo>
                      <a:pt x="43" y="106"/>
                      <a:pt x="36" y="104"/>
                      <a:pt x="30" y="102"/>
                    </a:cubicBezTo>
                    <a:cubicBezTo>
                      <a:pt x="23" y="99"/>
                      <a:pt x="18" y="96"/>
                      <a:pt x="14" y="91"/>
                    </a:cubicBezTo>
                    <a:cubicBezTo>
                      <a:pt x="9" y="86"/>
                      <a:pt x="6" y="81"/>
                      <a:pt x="3" y="74"/>
                    </a:cubicBezTo>
                    <a:cubicBezTo>
                      <a:pt x="1" y="68"/>
                      <a:pt x="0" y="61"/>
                      <a:pt x="0" y="53"/>
                    </a:cubicBezTo>
                    <a:cubicBezTo>
                      <a:pt x="0" y="46"/>
                      <a:pt x="1" y="39"/>
                      <a:pt x="3" y="32"/>
                    </a:cubicBezTo>
                    <a:cubicBezTo>
                      <a:pt x="6" y="26"/>
                      <a:pt x="9" y="20"/>
                      <a:pt x="14" y="15"/>
                    </a:cubicBezTo>
                    <a:cubicBezTo>
                      <a:pt x="18" y="11"/>
                      <a:pt x="24" y="7"/>
                      <a:pt x="30" y="4"/>
                    </a:cubicBezTo>
                    <a:cubicBezTo>
                      <a:pt x="36" y="2"/>
                      <a:pt x="43" y="0"/>
                      <a:pt x="51" y="0"/>
                    </a:cubicBezTo>
                    <a:cubicBezTo>
                      <a:pt x="59" y="0"/>
                      <a:pt x="67" y="2"/>
                      <a:pt x="73" y="5"/>
                    </a:cubicBezTo>
                    <a:cubicBezTo>
                      <a:pt x="80" y="8"/>
                      <a:pt x="85" y="13"/>
                      <a:pt x="89" y="18"/>
                    </a:cubicBezTo>
                    <a:cubicBezTo>
                      <a:pt x="93" y="24"/>
                      <a:pt x="96" y="30"/>
                      <a:pt x="98" y="37"/>
                    </a:cubicBezTo>
                    <a:cubicBezTo>
                      <a:pt x="99" y="44"/>
                      <a:pt x="100" y="52"/>
                      <a:pt x="100" y="60"/>
                    </a:cubicBezTo>
                    <a:cubicBezTo>
                      <a:pt x="27" y="60"/>
                      <a:pt x="27" y="60"/>
                      <a:pt x="27" y="60"/>
                    </a:cubicBezTo>
                    <a:cubicBezTo>
                      <a:pt x="28" y="69"/>
                      <a:pt x="30" y="75"/>
                      <a:pt x="34" y="79"/>
                    </a:cubicBezTo>
                    <a:close/>
                    <a:moveTo>
                      <a:pt x="65" y="26"/>
                    </a:moveTo>
                    <a:cubicBezTo>
                      <a:pt x="62" y="23"/>
                      <a:pt x="57" y="21"/>
                      <a:pt x="50" y="21"/>
                    </a:cubicBezTo>
                    <a:cubicBezTo>
                      <a:pt x="46" y="21"/>
                      <a:pt x="42" y="22"/>
                      <a:pt x="39" y="23"/>
                    </a:cubicBezTo>
                    <a:cubicBezTo>
                      <a:pt x="36" y="25"/>
                      <a:pt x="34" y="26"/>
                      <a:pt x="32" y="29"/>
                    </a:cubicBezTo>
                    <a:cubicBezTo>
                      <a:pt x="31" y="31"/>
                      <a:pt x="29" y="33"/>
                      <a:pt x="29" y="36"/>
                    </a:cubicBezTo>
                    <a:cubicBezTo>
                      <a:pt x="28" y="38"/>
                      <a:pt x="27" y="40"/>
                      <a:pt x="27" y="42"/>
                    </a:cubicBezTo>
                    <a:cubicBezTo>
                      <a:pt x="72" y="42"/>
                      <a:pt x="72" y="42"/>
                      <a:pt x="72" y="42"/>
                    </a:cubicBezTo>
                    <a:cubicBezTo>
                      <a:pt x="71" y="35"/>
                      <a:pt x="68" y="30"/>
                      <a:pt x="65" y="26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8" name="Freeform 25"/>
              <p:cNvSpPr>
                <a:spLocks/>
              </p:cNvSpPr>
              <p:nvPr userDrawn="1"/>
            </p:nvSpPr>
            <p:spPr bwMode="auto">
              <a:xfrm>
                <a:off x="1479550" y="4678363"/>
                <a:ext cx="82550" cy="133350"/>
              </a:xfrm>
              <a:custGeom>
                <a:avLst/>
                <a:gdLst>
                  <a:gd name="T0" fmla="*/ 2147483647 w 64"/>
                  <a:gd name="T1" fmla="*/ 2147483647 h 103"/>
                  <a:gd name="T2" fmla="*/ 2147483647 w 64"/>
                  <a:gd name="T3" fmla="*/ 2147483647 h 103"/>
                  <a:gd name="T4" fmla="*/ 2147483647 w 64"/>
                  <a:gd name="T5" fmla="*/ 2147483647 h 103"/>
                  <a:gd name="T6" fmla="*/ 2147483647 w 64"/>
                  <a:gd name="T7" fmla="*/ 2147483647 h 103"/>
                  <a:gd name="T8" fmla="*/ 2147483647 w 64"/>
                  <a:gd name="T9" fmla="*/ 2147483647 h 103"/>
                  <a:gd name="T10" fmla="*/ 2147483647 w 64"/>
                  <a:gd name="T11" fmla="*/ 2147483647 h 103"/>
                  <a:gd name="T12" fmla="*/ 2147483647 w 64"/>
                  <a:gd name="T13" fmla="*/ 0 h 103"/>
                  <a:gd name="T14" fmla="*/ 2147483647 w 64"/>
                  <a:gd name="T15" fmla="*/ 2147483647 h 103"/>
                  <a:gd name="T16" fmla="*/ 2147483647 w 64"/>
                  <a:gd name="T17" fmla="*/ 2147483647 h 103"/>
                  <a:gd name="T18" fmla="*/ 2147483647 w 64"/>
                  <a:gd name="T19" fmla="*/ 2147483647 h 103"/>
                  <a:gd name="T20" fmla="*/ 2147483647 w 64"/>
                  <a:gd name="T21" fmla="*/ 2147483647 h 103"/>
                  <a:gd name="T22" fmla="*/ 2147483647 w 64"/>
                  <a:gd name="T23" fmla="*/ 2147483647 h 103"/>
                  <a:gd name="T24" fmla="*/ 2147483647 w 64"/>
                  <a:gd name="T25" fmla="*/ 2147483647 h 103"/>
                  <a:gd name="T26" fmla="*/ 2147483647 w 64"/>
                  <a:gd name="T27" fmla="*/ 2147483647 h 103"/>
                  <a:gd name="T28" fmla="*/ 2147483647 w 64"/>
                  <a:gd name="T29" fmla="*/ 2147483647 h 103"/>
                  <a:gd name="T30" fmla="*/ 2147483647 w 64"/>
                  <a:gd name="T31" fmla="*/ 2147483647 h 103"/>
                  <a:gd name="T32" fmla="*/ 0 w 64"/>
                  <a:gd name="T33" fmla="*/ 2147483647 h 103"/>
                  <a:gd name="T34" fmla="*/ 0 w 64"/>
                  <a:gd name="T35" fmla="*/ 2147483647 h 103"/>
                  <a:gd name="T36" fmla="*/ 2147483647 w 64"/>
                  <a:gd name="T37" fmla="*/ 2147483647 h 10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4" h="103">
                    <a:moveTo>
                      <a:pt x="26" y="3"/>
                    </a:moveTo>
                    <a:cubicBezTo>
                      <a:pt x="26" y="21"/>
                      <a:pt x="26" y="21"/>
                      <a:pt x="26" y="21"/>
                    </a:cubicBezTo>
                    <a:cubicBezTo>
                      <a:pt x="27" y="21"/>
                      <a:pt x="27" y="21"/>
                      <a:pt x="27" y="21"/>
                    </a:cubicBezTo>
                    <a:cubicBezTo>
                      <a:pt x="28" y="18"/>
                      <a:pt x="30" y="16"/>
                      <a:pt x="32" y="13"/>
                    </a:cubicBezTo>
                    <a:cubicBezTo>
                      <a:pt x="34" y="10"/>
                      <a:pt x="36" y="8"/>
                      <a:pt x="39" y="6"/>
                    </a:cubicBezTo>
                    <a:cubicBezTo>
                      <a:pt x="42" y="4"/>
                      <a:pt x="45" y="3"/>
                      <a:pt x="48" y="2"/>
                    </a:cubicBezTo>
                    <a:cubicBezTo>
                      <a:pt x="52" y="1"/>
                      <a:pt x="55" y="0"/>
                      <a:pt x="58" y="0"/>
                    </a:cubicBezTo>
                    <a:cubicBezTo>
                      <a:pt x="60" y="0"/>
                      <a:pt x="62" y="1"/>
                      <a:pt x="64" y="1"/>
                    </a:cubicBezTo>
                    <a:cubicBezTo>
                      <a:pt x="64" y="27"/>
                      <a:pt x="64" y="27"/>
                      <a:pt x="64" y="27"/>
                    </a:cubicBezTo>
                    <a:cubicBezTo>
                      <a:pt x="63" y="26"/>
                      <a:pt x="62" y="26"/>
                      <a:pt x="60" y="26"/>
                    </a:cubicBezTo>
                    <a:cubicBezTo>
                      <a:pt x="58" y="26"/>
                      <a:pt x="56" y="26"/>
                      <a:pt x="55" y="26"/>
                    </a:cubicBezTo>
                    <a:cubicBezTo>
                      <a:pt x="50" y="26"/>
                      <a:pt x="45" y="27"/>
                      <a:pt x="42" y="28"/>
                    </a:cubicBezTo>
                    <a:cubicBezTo>
                      <a:pt x="38" y="30"/>
                      <a:pt x="36" y="32"/>
                      <a:pt x="33" y="35"/>
                    </a:cubicBezTo>
                    <a:cubicBezTo>
                      <a:pt x="31" y="38"/>
                      <a:pt x="30" y="41"/>
                      <a:pt x="29" y="45"/>
                    </a:cubicBezTo>
                    <a:cubicBezTo>
                      <a:pt x="28" y="49"/>
                      <a:pt x="27" y="53"/>
                      <a:pt x="27" y="58"/>
                    </a:cubicBezTo>
                    <a:cubicBezTo>
                      <a:pt x="27" y="103"/>
                      <a:pt x="27" y="103"/>
                      <a:pt x="27" y="103"/>
                    </a:cubicBezTo>
                    <a:cubicBezTo>
                      <a:pt x="0" y="103"/>
                      <a:pt x="0" y="103"/>
                      <a:pt x="0" y="103"/>
                    </a:cubicBezTo>
                    <a:cubicBezTo>
                      <a:pt x="0" y="3"/>
                      <a:pt x="0" y="3"/>
                      <a:pt x="0" y="3"/>
                    </a:cubicBezTo>
                    <a:lnTo>
                      <a:pt x="2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9" name="Freeform 26"/>
              <p:cNvSpPr>
                <a:spLocks/>
              </p:cNvSpPr>
              <p:nvPr userDrawn="1"/>
            </p:nvSpPr>
            <p:spPr bwMode="auto">
              <a:xfrm>
                <a:off x="1573213" y="4681538"/>
                <a:ext cx="127000" cy="130175"/>
              </a:xfrm>
              <a:custGeom>
                <a:avLst/>
                <a:gdLst>
                  <a:gd name="T0" fmla="*/ 2147483647 w 80"/>
                  <a:gd name="T1" fmla="*/ 2147483647 h 82"/>
                  <a:gd name="T2" fmla="*/ 0 w 80"/>
                  <a:gd name="T3" fmla="*/ 0 h 82"/>
                  <a:gd name="T4" fmla="*/ 2147483647 w 80"/>
                  <a:gd name="T5" fmla="*/ 0 h 82"/>
                  <a:gd name="T6" fmla="*/ 2147483647 w 80"/>
                  <a:gd name="T7" fmla="*/ 2147483647 h 82"/>
                  <a:gd name="T8" fmla="*/ 2147483647 w 80"/>
                  <a:gd name="T9" fmla="*/ 2147483647 h 82"/>
                  <a:gd name="T10" fmla="*/ 2147483647 w 80"/>
                  <a:gd name="T11" fmla="*/ 0 h 82"/>
                  <a:gd name="T12" fmla="*/ 2147483647 w 80"/>
                  <a:gd name="T13" fmla="*/ 0 h 82"/>
                  <a:gd name="T14" fmla="*/ 2147483647 w 80"/>
                  <a:gd name="T15" fmla="*/ 2147483647 h 82"/>
                  <a:gd name="T16" fmla="*/ 2147483647 w 80"/>
                  <a:gd name="T17" fmla="*/ 2147483647 h 8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80" h="82">
                    <a:moveTo>
                      <a:pt x="28" y="82"/>
                    </a:moveTo>
                    <a:lnTo>
                      <a:pt x="0" y="0"/>
                    </a:lnTo>
                    <a:lnTo>
                      <a:pt x="24" y="0"/>
                    </a:lnTo>
                    <a:lnTo>
                      <a:pt x="41" y="56"/>
                    </a:lnTo>
                    <a:lnTo>
                      <a:pt x="58" y="0"/>
                    </a:lnTo>
                    <a:lnTo>
                      <a:pt x="80" y="0"/>
                    </a:lnTo>
                    <a:lnTo>
                      <a:pt x="53" y="82"/>
                    </a:lnTo>
                    <a:lnTo>
                      <a:pt x="28" y="8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0" name="Freeform 27"/>
              <p:cNvSpPr>
                <a:spLocks noEditPoints="1"/>
              </p:cNvSpPr>
              <p:nvPr userDrawn="1"/>
            </p:nvSpPr>
            <p:spPr bwMode="auto">
              <a:xfrm>
                <a:off x="1712913" y="4632326"/>
                <a:ext cx="34925" cy="179388"/>
              </a:xfrm>
              <a:custGeom>
                <a:avLst/>
                <a:gdLst>
                  <a:gd name="T0" fmla="*/ 0 w 22"/>
                  <a:gd name="T1" fmla="*/ 2147483647 h 113"/>
                  <a:gd name="T2" fmla="*/ 0 w 22"/>
                  <a:gd name="T3" fmla="*/ 0 h 113"/>
                  <a:gd name="T4" fmla="*/ 2147483647 w 22"/>
                  <a:gd name="T5" fmla="*/ 0 h 113"/>
                  <a:gd name="T6" fmla="*/ 2147483647 w 22"/>
                  <a:gd name="T7" fmla="*/ 2147483647 h 113"/>
                  <a:gd name="T8" fmla="*/ 0 w 22"/>
                  <a:gd name="T9" fmla="*/ 2147483647 h 113"/>
                  <a:gd name="T10" fmla="*/ 2147483647 w 22"/>
                  <a:gd name="T11" fmla="*/ 2147483647 h 113"/>
                  <a:gd name="T12" fmla="*/ 2147483647 w 22"/>
                  <a:gd name="T13" fmla="*/ 2147483647 h 113"/>
                  <a:gd name="T14" fmla="*/ 0 w 22"/>
                  <a:gd name="T15" fmla="*/ 2147483647 h 113"/>
                  <a:gd name="T16" fmla="*/ 0 w 22"/>
                  <a:gd name="T17" fmla="*/ 2147483647 h 113"/>
                  <a:gd name="T18" fmla="*/ 2147483647 w 22"/>
                  <a:gd name="T19" fmla="*/ 2147483647 h 11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" h="113">
                    <a:moveTo>
                      <a:pt x="0" y="18"/>
                    </a:moveTo>
                    <a:lnTo>
                      <a:pt x="0" y="0"/>
                    </a:lnTo>
                    <a:lnTo>
                      <a:pt x="22" y="0"/>
                    </a:lnTo>
                    <a:lnTo>
                      <a:pt x="22" y="18"/>
                    </a:lnTo>
                    <a:lnTo>
                      <a:pt x="0" y="18"/>
                    </a:lnTo>
                    <a:close/>
                    <a:moveTo>
                      <a:pt x="22" y="31"/>
                    </a:moveTo>
                    <a:lnTo>
                      <a:pt x="22" y="113"/>
                    </a:lnTo>
                    <a:lnTo>
                      <a:pt x="0" y="113"/>
                    </a:lnTo>
                    <a:lnTo>
                      <a:pt x="0" y="31"/>
                    </a:lnTo>
                    <a:lnTo>
                      <a:pt x="22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1" name="Freeform 28"/>
              <p:cNvSpPr>
                <a:spLocks/>
              </p:cNvSpPr>
              <p:nvPr userDrawn="1"/>
            </p:nvSpPr>
            <p:spPr bwMode="auto">
              <a:xfrm>
                <a:off x="1766888" y="4678363"/>
                <a:ext cx="127000" cy="136525"/>
              </a:xfrm>
              <a:custGeom>
                <a:avLst/>
                <a:gdLst>
                  <a:gd name="T0" fmla="*/ 2147483647 w 99"/>
                  <a:gd name="T1" fmla="*/ 2147483647 h 106"/>
                  <a:gd name="T2" fmla="*/ 2147483647 w 99"/>
                  <a:gd name="T3" fmla="*/ 2147483647 h 106"/>
                  <a:gd name="T4" fmla="*/ 2147483647 w 99"/>
                  <a:gd name="T5" fmla="*/ 2147483647 h 106"/>
                  <a:gd name="T6" fmla="*/ 2147483647 w 99"/>
                  <a:gd name="T7" fmla="*/ 2147483647 h 106"/>
                  <a:gd name="T8" fmla="*/ 2147483647 w 99"/>
                  <a:gd name="T9" fmla="*/ 2147483647 h 106"/>
                  <a:gd name="T10" fmla="*/ 2147483647 w 99"/>
                  <a:gd name="T11" fmla="*/ 2147483647 h 106"/>
                  <a:gd name="T12" fmla="*/ 2147483647 w 99"/>
                  <a:gd name="T13" fmla="*/ 2147483647 h 106"/>
                  <a:gd name="T14" fmla="*/ 2147483647 w 99"/>
                  <a:gd name="T15" fmla="*/ 2147483647 h 106"/>
                  <a:gd name="T16" fmla="*/ 2147483647 w 99"/>
                  <a:gd name="T17" fmla="*/ 2147483647 h 106"/>
                  <a:gd name="T18" fmla="*/ 2147483647 w 99"/>
                  <a:gd name="T19" fmla="*/ 2147483647 h 106"/>
                  <a:gd name="T20" fmla="*/ 2147483647 w 99"/>
                  <a:gd name="T21" fmla="*/ 2147483647 h 106"/>
                  <a:gd name="T22" fmla="*/ 2147483647 w 99"/>
                  <a:gd name="T23" fmla="*/ 2147483647 h 106"/>
                  <a:gd name="T24" fmla="*/ 2147483647 w 99"/>
                  <a:gd name="T25" fmla="*/ 2147483647 h 106"/>
                  <a:gd name="T26" fmla="*/ 2147483647 w 99"/>
                  <a:gd name="T27" fmla="*/ 2147483647 h 106"/>
                  <a:gd name="T28" fmla="*/ 2147483647 w 99"/>
                  <a:gd name="T29" fmla="*/ 2147483647 h 106"/>
                  <a:gd name="T30" fmla="*/ 2147483647 w 99"/>
                  <a:gd name="T31" fmla="*/ 2147483647 h 106"/>
                  <a:gd name="T32" fmla="*/ 2147483647 w 99"/>
                  <a:gd name="T33" fmla="*/ 2147483647 h 106"/>
                  <a:gd name="T34" fmla="*/ 0 w 99"/>
                  <a:gd name="T35" fmla="*/ 2147483647 h 106"/>
                  <a:gd name="T36" fmla="*/ 2147483647 w 99"/>
                  <a:gd name="T37" fmla="*/ 2147483647 h 106"/>
                  <a:gd name="T38" fmla="*/ 2147483647 w 99"/>
                  <a:gd name="T39" fmla="*/ 2147483647 h 106"/>
                  <a:gd name="T40" fmla="*/ 2147483647 w 99"/>
                  <a:gd name="T41" fmla="*/ 2147483647 h 106"/>
                  <a:gd name="T42" fmla="*/ 2147483647 w 99"/>
                  <a:gd name="T43" fmla="*/ 0 h 106"/>
                  <a:gd name="T44" fmla="*/ 2147483647 w 99"/>
                  <a:gd name="T45" fmla="*/ 2147483647 h 106"/>
                  <a:gd name="T46" fmla="*/ 2147483647 w 99"/>
                  <a:gd name="T47" fmla="*/ 2147483647 h 106"/>
                  <a:gd name="T48" fmla="*/ 2147483647 w 99"/>
                  <a:gd name="T49" fmla="*/ 2147483647 h 106"/>
                  <a:gd name="T50" fmla="*/ 2147483647 w 99"/>
                  <a:gd name="T51" fmla="*/ 2147483647 h 106"/>
                  <a:gd name="T52" fmla="*/ 2147483647 w 99"/>
                  <a:gd name="T53" fmla="*/ 2147483647 h 106"/>
                  <a:gd name="T54" fmla="*/ 2147483647 w 99"/>
                  <a:gd name="T55" fmla="*/ 2147483647 h 10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99" h="106">
                    <a:moveTo>
                      <a:pt x="51" y="21"/>
                    </a:moveTo>
                    <a:cubicBezTo>
                      <a:pt x="47" y="21"/>
                      <a:pt x="43" y="22"/>
                      <a:pt x="40" y="24"/>
                    </a:cubicBezTo>
                    <a:cubicBezTo>
                      <a:pt x="37" y="26"/>
                      <a:pt x="35" y="28"/>
                      <a:pt x="33" y="32"/>
                    </a:cubicBezTo>
                    <a:cubicBezTo>
                      <a:pt x="31" y="35"/>
                      <a:pt x="30" y="38"/>
                      <a:pt x="29" y="42"/>
                    </a:cubicBezTo>
                    <a:cubicBezTo>
                      <a:pt x="28" y="46"/>
                      <a:pt x="28" y="50"/>
                      <a:pt x="28" y="53"/>
                    </a:cubicBezTo>
                    <a:cubicBezTo>
                      <a:pt x="28" y="57"/>
                      <a:pt x="28" y="61"/>
                      <a:pt x="29" y="64"/>
                    </a:cubicBezTo>
                    <a:cubicBezTo>
                      <a:pt x="30" y="68"/>
                      <a:pt x="31" y="72"/>
                      <a:pt x="33" y="75"/>
                    </a:cubicBezTo>
                    <a:cubicBezTo>
                      <a:pt x="34" y="78"/>
                      <a:pt x="37" y="80"/>
                      <a:pt x="40" y="82"/>
                    </a:cubicBezTo>
                    <a:cubicBezTo>
                      <a:pt x="43" y="84"/>
                      <a:pt x="46" y="85"/>
                      <a:pt x="51" y="85"/>
                    </a:cubicBezTo>
                    <a:cubicBezTo>
                      <a:pt x="57" y="85"/>
                      <a:pt x="62" y="83"/>
                      <a:pt x="66" y="79"/>
                    </a:cubicBezTo>
                    <a:cubicBezTo>
                      <a:pt x="69" y="76"/>
                      <a:pt x="72" y="71"/>
                      <a:pt x="73" y="65"/>
                    </a:cubicBezTo>
                    <a:cubicBezTo>
                      <a:pt x="99" y="65"/>
                      <a:pt x="99" y="65"/>
                      <a:pt x="99" y="65"/>
                    </a:cubicBezTo>
                    <a:cubicBezTo>
                      <a:pt x="97" y="78"/>
                      <a:pt x="92" y="88"/>
                      <a:pt x="84" y="95"/>
                    </a:cubicBezTo>
                    <a:cubicBezTo>
                      <a:pt x="75" y="102"/>
                      <a:pt x="64" y="106"/>
                      <a:pt x="51" y="106"/>
                    </a:cubicBezTo>
                    <a:cubicBezTo>
                      <a:pt x="43" y="106"/>
                      <a:pt x="36" y="104"/>
                      <a:pt x="30" y="102"/>
                    </a:cubicBezTo>
                    <a:cubicBezTo>
                      <a:pt x="24" y="99"/>
                      <a:pt x="19" y="96"/>
                      <a:pt x="14" y="91"/>
                    </a:cubicBezTo>
                    <a:cubicBezTo>
                      <a:pt x="10" y="87"/>
                      <a:pt x="6" y="81"/>
                      <a:pt x="4" y="75"/>
                    </a:cubicBezTo>
                    <a:cubicBezTo>
                      <a:pt x="2" y="69"/>
                      <a:pt x="0" y="62"/>
                      <a:pt x="0" y="54"/>
                    </a:cubicBezTo>
                    <a:cubicBezTo>
                      <a:pt x="0" y="47"/>
                      <a:pt x="1" y="39"/>
                      <a:pt x="4" y="33"/>
                    </a:cubicBezTo>
                    <a:cubicBezTo>
                      <a:pt x="6" y="26"/>
                      <a:pt x="9" y="20"/>
                      <a:pt x="14" y="16"/>
                    </a:cubicBezTo>
                    <a:cubicBezTo>
                      <a:pt x="18" y="11"/>
                      <a:pt x="23" y="7"/>
                      <a:pt x="30" y="4"/>
                    </a:cubicBezTo>
                    <a:cubicBezTo>
                      <a:pt x="36" y="2"/>
                      <a:pt x="43" y="0"/>
                      <a:pt x="51" y="0"/>
                    </a:cubicBezTo>
                    <a:cubicBezTo>
                      <a:pt x="57" y="0"/>
                      <a:pt x="63" y="1"/>
                      <a:pt x="69" y="2"/>
                    </a:cubicBezTo>
                    <a:cubicBezTo>
                      <a:pt x="74" y="4"/>
                      <a:pt x="79" y="6"/>
                      <a:pt x="83" y="10"/>
                    </a:cubicBezTo>
                    <a:cubicBezTo>
                      <a:pt x="88" y="13"/>
                      <a:pt x="91" y="17"/>
                      <a:pt x="94" y="21"/>
                    </a:cubicBezTo>
                    <a:cubicBezTo>
                      <a:pt x="97" y="26"/>
                      <a:pt x="98" y="32"/>
                      <a:pt x="99" y="38"/>
                    </a:cubicBezTo>
                    <a:cubicBezTo>
                      <a:pt x="72" y="38"/>
                      <a:pt x="72" y="38"/>
                      <a:pt x="72" y="38"/>
                    </a:cubicBezTo>
                    <a:cubicBezTo>
                      <a:pt x="70" y="27"/>
                      <a:pt x="63" y="21"/>
                      <a:pt x="51" y="2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2" name="Freeform 29"/>
              <p:cNvSpPr>
                <a:spLocks noEditPoints="1"/>
              </p:cNvSpPr>
              <p:nvPr userDrawn="1"/>
            </p:nvSpPr>
            <p:spPr bwMode="auto">
              <a:xfrm>
                <a:off x="1903413" y="4678363"/>
                <a:ext cx="130175" cy="136525"/>
              </a:xfrm>
              <a:custGeom>
                <a:avLst/>
                <a:gdLst>
                  <a:gd name="T0" fmla="*/ 2147483647 w 101"/>
                  <a:gd name="T1" fmla="*/ 2147483647 h 106"/>
                  <a:gd name="T2" fmla="*/ 2147483647 w 101"/>
                  <a:gd name="T3" fmla="*/ 2147483647 h 106"/>
                  <a:gd name="T4" fmla="*/ 2147483647 w 101"/>
                  <a:gd name="T5" fmla="*/ 2147483647 h 106"/>
                  <a:gd name="T6" fmla="*/ 2147483647 w 101"/>
                  <a:gd name="T7" fmla="*/ 2147483647 h 106"/>
                  <a:gd name="T8" fmla="*/ 2147483647 w 101"/>
                  <a:gd name="T9" fmla="*/ 2147483647 h 106"/>
                  <a:gd name="T10" fmla="*/ 2147483647 w 101"/>
                  <a:gd name="T11" fmla="*/ 2147483647 h 106"/>
                  <a:gd name="T12" fmla="*/ 2147483647 w 101"/>
                  <a:gd name="T13" fmla="*/ 2147483647 h 106"/>
                  <a:gd name="T14" fmla="*/ 2147483647 w 101"/>
                  <a:gd name="T15" fmla="*/ 2147483647 h 106"/>
                  <a:gd name="T16" fmla="*/ 2147483647 w 101"/>
                  <a:gd name="T17" fmla="*/ 2147483647 h 106"/>
                  <a:gd name="T18" fmla="*/ 2147483647 w 101"/>
                  <a:gd name="T19" fmla="*/ 2147483647 h 106"/>
                  <a:gd name="T20" fmla="*/ 0 w 101"/>
                  <a:gd name="T21" fmla="*/ 2147483647 h 106"/>
                  <a:gd name="T22" fmla="*/ 2147483647 w 101"/>
                  <a:gd name="T23" fmla="*/ 2147483647 h 106"/>
                  <a:gd name="T24" fmla="*/ 2147483647 w 101"/>
                  <a:gd name="T25" fmla="*/ 2147483647 h 106"/>
                  <a:gd name="T26" fmla="*/ 2147483647 w 101"/>
                  <a:gd name="T27" fmla="*/ 2147483647 h 106"/>
                  <a:gd name="T28" fmla="*/ 2147483647 w 101"/>
                  <a:gd name="T29" fmla="*/ 0 h 106"/>
                  <a:gd name="T30" fmla="*/ 2147483647 w 101"/>
                  <a:gd name="T31" fmla="*/ 2147483647 h 106"/>
                  <a:gd name="T32" fmla="*/ 2147483647 w 101"/>
                  <a:gd name="T33" fmla="*/ 2147483647 h 106"/>
                  <a:gd name="T34" fmla="*/ 2147483647 w 101"/>
                  <a:gd name="T35" fmla="*/ 2147483647 h 106"/>
                  <a:gd name="T36" fmla="*/ 2147483647 w 101"/>
                  <a:gd name="T37" fmla="*/ 2147483647 h 106"/>
                  <a:gd name="T38" fmla="*/ 2147483647 w 101"/>
                  <a:gd name="T39" fmla="*/ 2147483647 h 106"/>
                  <a:gd name="T40" fmla="*/ 2147483647 w 101"/>
                  <a:gd name="T41" fmla="*/ 2147483647 h 106"/>
                  <a:gd name="T42" fmla="*/ 2147483647 w 101"/>
                  <a:gd name="T43" fmla="*/ 2147483647 h 106"/>
                  <a:gd name="T44" fmla="*/ 2147483647 w 101"/>
                  <a:gd name="T45" fmla="*/ 2147483647 h 106"/>
                  <a:gd name="T46" fmla="*/ 2147483647 w 101"/>
                  <a:gd name="T47" fmla="*/ 2147483647 h 106"/>
                  <a:gd name="T48" fmla="*/ 2147483647 w 101"/>
                  <a:gd name="T49" fmla="*/ 2147483647 h 106"/>
                  <a:gd name="T50" fmla="*/ 2147483647 w 101"/>
                  <a:gd name="T51" fmla="*/ 2147483647 h 106"/>
                  <a:gd name="T52" fmla="*/ 2147483647 w 101"/>
                  <a:gd name="T53" fmla="*/ 2147483647 h 106"/>
                  <a:gd name="T54" fmla="*/ 2147483647 w 101"/>
                  <a:gd name="T55" fmla="*/ 2147483647 h 106"/>
                  <a:gd name="T56" fmla="*/ 2147483647 w 101"/>
                  <a:gd name="T57" fmla="*/ 2147483647 h 10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01" h="106">
                    <a:moveTo>
                      <a:pt x="35" y="79"/>
                    </a:moveTo>
                    <a:cubicBezTo>
                      <a:pt x="39" y="83"/>
                      <a:pt x="45" y="85"/>
                      <a:pt x="52" y="85"/>
                    </a:cubicBezTo>
                    <a:cubicBezTo>
                      <a:pt x="58" y="85"/>
                      <a:pt x="63" y="84"/>
                      <a:pt x="67" y="81"/>
                    </a:cubicBezTo>
                    <a:cubicBezTo>
                      <a:pt x="71" y="78"/>
                      <a:pt x="73" y="75"/>
                      <a:pt x="74" y="72"/>
                    </a:cubicBezTo>
                    <a:cubicBezTo>
                      <a:pt x="98" y="72"/>
                      <a:pt x="98" y="72"/>
                      <a:pt x="98" y="72"/>
                    </a:cubicBezTo>
                    <a:cubicBezTo>
                      <a:pt x="94" y="84"/>
                      <a:pt x="89" y="93"/>
                      <a:pt x="81" y="98"/>
                    </a:cubicBezTo>
                    <a:cubicBezTo>
                      <a:pt x="73" y="103"/>
                      <a:pt x="63" y="106"/>
                      <a:pt x="51" y="106"/>
                    </a:cubicBezTo>
                    <a:cubicBezTo>
                      <a:pt x="44" y="106"/>
                      <a:pt x="36" y="104"/>
                      <a:pt x="30" y="102"/>
                    </a:cubicBezTo>
                    <a:cubicBezTo>
                      <a:pt x="24" y="99"/>
                      <a:pt x="18" y="96"/>
                      <a:pt x="14" y="91"/>
                    </a:cubicBezTo>
                    <a:cubicBezTo>
                      <a:pt x="10" y="86"/>
                      <a:pt x="6" y="81"/>
                      <a:pt x="4" y="74"/>
                    </a:cubicBezTo>
                    <a:cubicBezTo>
                      <a:pt x="2" y="68"/>
                      <a:pt x="0" y="61"/>
                      <a:pt x="0" y="53"/>
                    </a:cubicBezTo>
                    <a:cubicBezTo>
                      <a:pt x="0" y="46"/>
                      <a:pt x="2" y="39"/>
                      <a:pt x="4" y="32"/>
                    </a:cubicBezTo>
                    <a:cubicBezTo>
                      <a:pt x="6" y="26"/>
                      <a:pt x="10" y="20"/>
                      <a:pt x="14" y="15"/>
                    </a:cubicBezTo>
                    <a:cubicBezTo>
                      <a:pt x="19" y="11"/>
                      <a:pt x="24" y="7"/>
                      <a:pt x="31" y="4"/>
                    </a:cubicBezTo>
                    <a:cubicBezTo>
                      <a:pt x="37" y="2"/>
                      <a:pt x="44" y="0"/>
                      <a:pt x="51" y="0"/>
                    </a:cubicBezTo>
                    <a:cubicBezTo>
                      <a:pt x="60" y="0"/>
                      <a:pt x="67" y="2"/>
                      <a:pt x="74" y="5"/>
                    </a:cubicBezTo>
                    <a:cubicBezTo>
                      <a:pt x="80" y="8"/>
                      <a:pt x="85" y="13"/>
                      <a:pt x="89" y="18"/>
                    </a:cubicBezTo>
                    <a:cubicBezTo>
                      <a:pt x="93" y="24"/>
                      <a:pt x="96" y="30"/>
                      <a:pt x="98" y="37"/>
                    </a:cubicBezTo>
                    <a:cubicBezTo>
                      <a:pt x="100" y="44"/>
                      <a:pt x="101" y="52"/>
                      <a:pt x="100" y="60"/>
                    </a:cubicBezTo>
                    <a:cubicBezTo>
                      <a:pt x="28" y="60"/>
                      <a:pt x="28" y="60"/>
                      <a:pt x="28" y="60"/>
                    </a:cubicBezTo>
                    <a:cubicBezTo>
                      <a:pt x="28" y="69"/>
                      <a:pt x="30" y="75"/>
                      <a:pt x="35" y="79"/>
                    </a:cubicBezTo>
                    <a:close/>
                    <a:moveTo>
                      <a:pt x="66" y="26"/>
                    </a:moveTo>
                    <a:cubicBezTo>
                      <a:pt x="62" y="23"/>
                      <a:pt x="57" y="21"/>
                      <a:pt x="51" y="21"/>
                    </a:cubicBezTo>
                    <a:cubicBezTo>
                      <a:pt x="46" y="21"/>
                      <a:pt x="43" y="22"/>
                      <a:pt x="40" y="23"/>
                    </a:cubicBezTo>
                    <a:cubicBezTo>
                      <a:pt x="37" y="25"/>
                      <a:pt x="35" y="26"/>
                      <a:pt x="33" y="29"/>
                    </a:cubicBezTo>
                    <a:cubicBezTo>
                      <a:pt x="31" y="31"/>
                      <a:pt x="30" y="33"/>
                      <a:pt x="29" y="36"/>
                    </a:cubicBezTo>
                    <a:cubicBezTo>
                      <a:pt x="28" y="38"/>
                      <a:pt x="28" y="40"/>
                      <a:pt x="28" y="42"/>
                    </a:cubicBezTo>
                    <a:cubicBezTo>
                      <a:pt x="73" y="42"/>
                      <a:pt x="73" y="42"/>
                      <a:pt x="73" y="42"/>
                    </a:cubicBezTo>
                    <a:cubicBezTo>
                      <a:pt x="71" y="35"/>
                      <a:pt x="69" y="30"/>
                      <a:pt x="66" y="26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3" name="Freeform 30"/>
              <p:cNvSpPr>
                <a:spLocks/>
              </p:cNvSpPr>
              <p:nvPr userDrawn="1"/>
            </p:nvSpPr>
            <p:spPr bwMode="auto">
              <a:xfrm>
                <a:off x="2043113" y="4678363"/>
                <a:ext cx="119063" cy="136525"/>
              </a:xfrm>
              <a:custGeom>
                <a:avLst/>
                <a:gdLst>
                  <a:gd name="T0" fmla="*/ 2147483647 w 93"/>
                  <a:gd name="T1" fmla="*/ 2147483647 h 106"/>
                  <a:gd name="T2" fmla="*/ 2147483647 w 93"/>
                  <a:gd name="T3" fmla="*/ 2147483647 h 106"/>
                  <a:gd name="T4" fmla="*/ 2147483647 w 93"/>
                  <a:gd name="T5" fmla="*/ 2147483647 h 106"/>
                  <a:gd name="T6" fmla="*/ 2147483647 w 93"/>
                  <a:gd name="T7" fmla="*/ 2147483647 h 106"/>
                  <a:gd name="T8" fmla="*/ 2147483647 w 93"/>
                  <a:gd name="T9" fmla="*/ 2147483647 h 106"/>
                  <a:gd name="T10" fmla="*/ 2147483647 w 93"/>
                  <a:gd name="T11" fmla="*/ 2147483647 h 106"/>
                  <a:gd name="T12" fmla="*/ 2147483647 w 93"/>
                  <a:gd name="T13" fmla="*/ 2147483647 h 106"/>
                  <a:gd name="T14" fmla="*/ 2147483647 w 93"/>
                  <a:gd name="T15" fmla="*/ 2147483647 h 106"/>
                  <a:gd name="T16" fmla="*/ 2147483647 w 93"/>
                  <a:gd name="T17" fmla="*/ 2147483647 h 106"/>
                  <a:gd name="T18" fmla="*/ 2147483647 w 93"/>
                  <a:gd name="T19" fmla="*/ 2147483647 h 106"/>
                  <a:gd name="T20" fmla="*/ 2147483647 w 93"/>
                  <a:gd name="T21" fmla="*/ 2147483647 h 106"/>
                  <a:gd name="T22" fmla="*/ 2147483647 w 93"/>
                  <a:gd name="T23" fmla="*/ 2147483647 h 106"/>
                  <a:gd name="T24" fmla="*/ 2147483647 w 93"/>
                  <a:gd name="T25" fmla="*/ 2147483647 h 106"/>
                  <a:gd name="T26" fmla="*/ 2147483647 w 93"/>
                  <a:gd name="T27" fmla="*/ 2147483647 h 106"/>
                  <a:gd name="T28" fmla="*/ 2147483647 w 93"/>
                  <a:gd name="T29" fmla="*/ 2147483647 h 106"/>
                  <a:gd name="T30" fmla="*/ 2147483647 w 93"/>
                  <a:gd name="T31" fmla="*/ 2147483647 h 106"/>
                  <a:gd name="T32" fmla="*/ 2147483647 w 93"/>
                  <a:gd name="T33" fmla="*/ 2147483647 h 106"/>
                  <a:gd name="T34" fmla="*/ 2147483647 w 93"/>
                  <a:gd name="T35" fmla="*/ 0 h 106"/>
                  <a:gd name="T36" fmla="*/ 2147483647 w 93"/>
                  <a:gd name="T37" fmla="*/ 2147483647 h 106"/>
                  <a:gd name="T38" fmla="*/ 2147483647 w 93"/>
                  <a:gd name="T39" fmla="*/ 2147483647 h 106"/>
                  <a:gd name="T40" fmla="*/ 2147483647 w 93"/>
                  <a:gd name="T41" fmla="*/ 2147483647 h 106"/>
                  <a:gd name="T42" fmla="*/ 2147483647 w 93"/>
                  <a:gd name="T43" fmla="*/ 2147483647 h 106"/>
                  <a:gd name="T44" fmla="*/ 2147483647 w 93"/>
                  <a:gd name="T45" fmla="*/ 2147483647 h 106"/>
                  <a:gd name="T46" fmla="*/ 2147483647 w 93"/>
                  <a:gd name="T47" fmla="*/ 2147483647 h 106"/>
                  <a:gd name="T48" fmla="*/ 2147483647 w 93"/>
                  <a:gd name="T49" fmla="*/ 2147483647 h 106"/>
                  <a:gd name="T50" fmla="*/ 2147483647 w 93"/>
                  <a:gd name="T51" fmla="*/ 2147483647 h 106"/>
                  <a:gd name="T52" fmla="*/ 2147483647 w 93"/>
                  <a:gd name="T53" fmla="*/ 2147483647 h 106"/>
                  <a:gd name="T54" fmla="*/ 2147483647 w 93"/>
                  <a:gd name="T55" fmla="*/ 2147483647 h 106"/>
                  <a:gd name="T56" fmla="*/ 2147483647 w 93"/>
                  <a:gd name="T57" fmla="*/ 2147483647 h 106"/>
                  <a:gd name="T58" fmla="*/ 2147483647 w 93"/>
                  <a:gd name="T59" fmla="*/ 2147483647 h 106"/>
                  <a:gd name="T60" fmla="*/ 2147483647 w 93"/>
                  <a:gd name="T61" fmla="*/ 2147483647 h 106"/>
                  <a:gd name="T62" fmla="*/ 2147483647 w 93"/>
                  <a:gd name="T63" fmla="*/ 2147483647 h 106"/>
                  <a:gd name="T64" fmla="*/ 2147483647 w 93"/>
                  <a:gd name="T65" fmla="*/ 2147483647 h 106"/>
                  <a:gd name="T66" fmla="*/ 2147483647 w 93"/>
                  <a:gd name="T67" fmla="*/ 2147483647 h 106"/>
                  <a:gd name="T68" fmla="*/ 2147483647 w 93"/>
                  <a:gd name="T69" fmla="*/ 2147483647 h 106"/>
                  <a:gd name="T70" fmla="*/ 2147483647 w 93"/>
                  <a:gd name="T71" fmla="*/ 2147483647 h 106"/>
                  <a:gd name="T72" fmla="*/ 2147483647 w 93"/>
                  <a:gd name="T73" fmla="*/ 2147483647 h 106"/>
                  <a:gd name="T74" fmla="*/ 2147483647 w 93"/>
                  <a:gd name="T75" fmla="*/ 2147483647 h 106"/>
                  <a:gd name="T76" fmla="*/ 2147483647 w 93"/>
                  <a:gd name="T77" fmla="*/ 2147483647 h 106"/>
                  <a:gd name="T78" fmla="*/ 2147483647 w 93"/>
                  <a:gd name="T79" fmla="*/ 2147483647 h 106"/>
                  <a:gd name="T80" fmla="*/ 2147483647 w 93"/>
                  <a:gd name="T81" fmla="*/ 2147483647 h 106"/>
                  <a:gd name="T82" fmla="*/ 2147483647 w 93"/>
                  <a:gd name="T83" fmla="*/ 2147483647 h 106"/>
                  <a:gd name="T84" fmla="*/ 2147483647 w 93"/>
                  <a:gd name="T85" fmla="*/ 2147483647 h 106"/>
                  <a:gd name="T86" fmla="*/ 2147483647 w 93"/>
                  <a:gd name="T87" fmla="*/ 2147483647 h 106"/>
                  <a:gd name="T88" fmla="*/ 0 w 93"/>
                  <a:gd name="T89" fmla="*/ 2147483647 h 106"/>
                  <a:gd name="T90" fmla="*/ 2147483647 w 93"/>
                  <a:gd name="T91" fmla="*/ 2147483647 h 106"/>
                  <a:gd name="T92" fmla="*/ 2147483647 w 93"/>
                  <a:gd name="T93" fmla="*/ 2147483647 h 10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93" h="106">
                    <a:moveTo>
                      <a:pt x="28" y="78"/>
                    </a:moveTo>
                    <a:cubicBezTo>
                      <a:pt x="29" y="80"/>
                      <a:pt x="31" y="82"/>
                      <a:pt x="33" y="83"/>
                    </a:cubicBezTo>
                    <a:cubicBezTo>
                      <a:pt x="35" y="85"/>
                      <a:pt x="37" y="86"/>
                      <a:pt x="39" y="86"/>
                    </a:cubicBezTo>
                    <a:cubicBezTo>
                      <a:pt x="42" y="87"/>
                      <a:pt x="45" y="87"/>
                      <a:pt x="47" y="87"/>
                    </a:cubicBezTo>
                    <a:cubicBezTo>
                      <a:pt x="49" y="87"/>
                      <a:pt x="51" y="87"/>
                      <a:pt x="53" y="87"/>
                    </a:cubicBezTo>
                    <a:cubicBezTo>
                      <a:pt x="56" y="86"/>
                      <a:pt x="57" y="85"/>
                      <a:pt x="59" y="85"/>
                    </a:cubicBezTo>
                    <a:cubicBezTo>
                      <a:pt x="61" y="84"/>
                      <a:pt x="62" y="82"/>
                      <a:pt x="64" y="81"/>
                    </a:cubicBezTo>
                    <a:cubicBezTo>
                      <a:pt x="65" y="79"/>
                      <a:pt x="65" y="77"/>
                      <a:pt x="65" y="75"/>
                    </a:cubicBezTo>
                    <a:cubicBezTo>
                      <a:pt x="65" y="70"/>
                      <a:pt x="63" y="67"/>
                      <a:pt x="57" y="65"/>
                    </a:cubicBezTo>
                    <a:cubicBezTo>
                      <a:pt x="52" y="63"/>
                      <a:pt x="44" y="61"/>
                      <a:pt x="34" y="59"/>
                    </a:cubicBezTo>
                    <a:cubicBezTo>
                      <a:pt x="30" y="58"/>
                      <a:pt x="26" y="57"/>
                      <a:pt x="22" y="56"/>
                    </a:cubicBezTo>
                    <a:cubicBezTo>
                      <a:pt x="19" y="55"/>
                      <a:pt x="15" y="53"/>
                      <a:pt x="12" y="51"/>
                    </a:cubicBezTo>
                    <a:cubicBezTo>
                      <a:pt x="9" y="49"/>
                      <a:pt x="7" y="46"/>
                      <a:pt x="5" y="43"/>
                    </a:cubicBezTo>
                    <a:cubicBezTo>
                      <a:pt x="3" y="40"/>
                      <a:pt x="2" y="37"/>
                      <a:pt x="2" y="32"/>
                    </a:cubicBezTo>
                    <a:cubicBezTo>
                      <a:pt x="2" y="26"/>
                      <a:pt x="4" y="21"/>
                      <a:pt x="6" y="16"/>
                    </a:cubicBezTo>
                    <a:cubicBezTo>
                      <a:pt x="9" y="12"/>
                      <a:pt x="12" y="9"/>
                      <a:pt x="16" y="7"/>
                    </a:cubicBezTo>
                    <a:cubicBezTo>
                      <a:pt x="20" y="4"/>
                      <a:pt x="25" y="3"/>
                      <a:pt x="30" y="2"/>
                    </a:cubicBezTo>
                    <a:cubicBezTo>
                      <a:pt x="35" y="1"/>
                      <a:pt x="41" y="0"/>
                      <a:pt x="46" y="0"/>
                    </a:cubicBezTo>
                    <a:cubicBezTo>
                      <a:pt x="51" y="0"/>
                      <a:pt x="57" y="1"/>
                      <a:pt x="62" y="2"/>
                    </a:cubicBezTo>
                    <a:cubicBezTo>
                      <a:pt x="67" y="3"/>
                      <a:pt x="71" y="4"/>
                      <a:pt x="75" y="7"/>
                    </a:cubicBezTo>
                    <a:cubicBezTo>
                      <a:pt x="79" y="9"/>
                      <a:pt x="83" y="13"/>
                      <a:pt x="85" y="17"/>
                    </a:cubicBezTo>
                    <a:cubicBezTo>
                      <a:pt x="88" y="21"/>
                      <a:pt x="90" y="26"/>
                      <a:pt x="90" y="32"/>
                    </a:cubicBezTo>
                    <a:cubicBezTo>
                      <a:pt x="64" y="32"/>
                      <a:pt x="64" y="32"/>
                      <a:pt x="64" y="32"/>
                    </a:cubicBezTo>
                    <a:cubicBezTo>
                      <a:pt x="64" y="27"/>
                      <a:pt x="62" y="23"/>
                      <a:pt x="58" y="21"/>
                    </a:cubicBezTo>
                    <a:cubicBezTo>
                      <a:pt x="54" y="20"/>
                      <a:pt x="50" y="19"/>
                      <a:pt x="45" y="19"/>
                    </a:cubicBezTo>
                    <a:cubicBezTo>
                      <a:pt x="44" y="19"/>
                      <a:pt x="42" y="19"/>
                      <a:pt x="40" y="19"/>
                    </a:cubicBezTo>
                    <a:cubicBezTo>
                      <a:pt x="38" y="19"/>
                      <a:pt x="37" y="19"/>
                      <a:pt x="35" y="20"/>
                    </a:cubicBezTo>
                    <a:cubicBezTo>
                      <a:pt x="34" y="21"/>
                      <a:pt x="32" y="22"/>
                      <a:pt x="31" y="23"/>
                    </a:cubicBezTo>
                    <a:cubicBezTo>
                      <a:pt x="30" y="24"/>
                      <a:pt x="30" y="26"/>
                      <a:pt x="30" y="28"/>
                    </a:cubicBezTo>
                    <a:cubicBezTo>
                      <a:pt x="30" y="30"/>
                      <a:pt x="31" y="32"/>
                      <a:pt x="33" y="34"/>
                    </a:cubicBezTo>
                    <a:cubicBezTo>
                      <a:pt x="34" y="35"/>
                      <a:pt x="37" y="37"/>
                      <a:pt x="40" y="38"/>
                    </a:cubicBezTo>
                    <a:cubicBezTo>
                      <a:pt x="43" y="39"/>
                      <a:pt x="46" y="39"/>
                      <a:pt x="50" y="40"/>
                    </a:cubicBezTo>
                    <a:cubicBezTo>
                      <a:pt x="53" y="41"/>
                      <a:pt x="57" y="42"/>
                      <a:pt x="61" y="43"/>
                    </a:cubicBezTo>
                    <a:cubicBezTo>
                      <a:pt x="65" y="44"/>
                      <a:pt x="69" y="45"/>
                      <a:pt x="73" y="46"/>
                    </a:cubicBezTo>
                    <a:cubicBezTo>
                      <a:pt x="77" y="47"/>
                      <a:pt x="80" y="49"/>
                      <a:pt x="83" y="51"/>
                    </a:cubicBezTo>
                    <a:cubicBezTo>
                      <a:pt x="86" y="53"/>
                      <a:pt x="88" y="56"/>
                      <a:pt x="90" y="59"/>
                    </a:cubicBezTo>
                    <a:cubicBezTo>
                      <a:pt x="92" y="62"/>
                      <a:pt x="93" y="66"/>
                      <a:pt x="93" y="71"/>
                    </a:cubicBezTo>
                    <a:cubicBezTo>
                      <a:pt x="93" y="77"/>
                      <a:pt x="91" y="83"/>
                      <a:pt x="89" y="87"/>
                    </a:cubicBezTo>
                    <a:cubicBezTo>
                      <a:pt x="86" y="92"/>
                      <a:pt x="83" y="95"/>
                      <a:pt x="78" y="98"/>
                    </a:cubicBezTo>
                    <a:cubicBezTo>
                      <a:pt x="74" y="101"/>
                      <a:pt x="69" y="103"/>
                      <a:pt x="64" y="104"/>
                    </a:cubicBezTo>
                    <a:cubicBezTo>
                      <a:pt x="58" y="105"/>
                      <a:pt x="53" y="106"/>
                      <a:pt x="47" y="106"/>
                    </a:cubicBezTo>
                    <a:cubicBezTo>
                      <a:pt x="41" y="106"/>
                      <a:pt x="36" y="105"/>
                      <a:pt x="30" y="104"/>
                    </a:cubicBezTo>
                    <a:cubicBezTo>
                      <a:pt x="25" y="103"/>
                      <a:pt x="20" y="101"/>
                      <a:pt x="15" y="98"/>
                    </a:cubicBezTo>
                    <a:cubicBezTo>
                      <a:pt x="11" y="95"/>
                      <a:pt x="7" y="92"/>
                      <a:pt x="5" y="87"/>
                    </a:cubicBezTo>
                    <a:cubicBezTo>
                      <a:pt x="2" y="83"/>
                      <a:pt x="0" y="77"/>
                      <a:pt x="0" y="70"/>
                    </a:cubicBezTo>
                    <a:cubicBezTo>
                      <a:pt x="26" y="70"/>
                      <a:pt x="26" y="70"/>
                      <a:pt x="26" y="70"/>
                    </a:cubicBezTo>
                    <a:cubicBezTo>
                      <a:pt x="26" y="73"/>
                      <a:pt x="27" y="76"/>
                      <a:pt x="28" y="7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</p:grp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24769768"/>
      </p:ext>
    </p:extLst>
  </p:cSld>
  <p:clrMapOvr>
    <a:masterClrMapping/>
  </p:clrMapOvr>
  <p:transition spd="med">
    <p:fade/>
  </p:transition>
  <p:hf sldNum="0" hdr="0" ftr="0"/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4223736220"/>
      </p:ext>
    </p:extLst>
  </p:cSld>
  <p:clrMapOvr>
    <a:masterClrMapping/>
  </p:clrMapOvr>
  <p:transition spd="med">
    <p:fade/>
  </p:transition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986364112"/>
      </p:ext>
    </p:extLst>
  </p:cSld>
  <p:clrMapOvr>
    <a:masterClrMapping/>
  </p:clrMapOvr>
  <p:transition spd="med">
    <p:fade/>
  </p:transition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9069220"/>
      </p:ext>
    </p:extLst>
  </p:cSld>
  <p:clrMapOvr>
    <a:masterClrMapping/>
  </p:clrMapOvr>
  <p:transition spd="med">
    <p:fade/>
  </p:transition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968603"/>
      </p:ext>
    </p:extLst>
  </p:cSld>
  <p:clrMapOvr>
    <a:masterClrMapping/>
  </p:clrMapOvr>
  <p:transition spd="med">
    <p:fade/>
  </p:transition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0765846"/>
      </p:ext>
    </p:extLst>
  </p:cSld>
  <p:clrMapOvr>
    <a:masterClrMapping/>
  </p:clrMapOvr>
  <p:transition spd="med">
    <p:fade/>
  </p:transition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8955640"/>
      </p:ext>
    </p:extLst>
  </p:cSld>
  <p:clrMapOvr>
    <a:masterClrMapping/>
  </p:clrMapOvr>
  <p:transition spd="med">
    <p:fade/>
  </p:transition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1776578"/>
      </p:ext>
    </p:extLst>
  </p:cSld>
  <p:clrMapOvr>
    <a:masterClrMapping/>
  </p:clrMapOvr>
  <p:transition spd="med">
    <p:fade/>
  </p:transition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0653363"/>
      </p:ext>
    </p:extLst>
  </p:cSld>
  <p:clrMapOvr>
    <a:masterClrMapping/>
  </p:clrMapOvr>
  <p:transition spd="med">
    <p:fade/>
  </p:transition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2788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6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5pPr>
              <a:lvl6pPr marL="18811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6pPr>
              <a:lvl7pPr marL="23383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7pPr>
              <a:lvl8pPr marL="27955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8pPr>
              <a:lvl9pPr marL="32527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smtClean="0">
                <a:solidFill>
                  <a:srgbClr val="FF6600"/>
                </a:solidFill>
                <a:latin typeface="Helvetica 75 Bold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7 w 104"/>
                <a:gd name="T1" fmla="*/ 2147483647 h 122"/>
                <a:gd name="T2" fmla="*/ 2147483647 w 104"/>
                <a:gd name="T3" fmla="*/ 2147483647 h 122"/>
                <a:gd name="T4" fmla="*/ 2147483647 w 104"/>
                <a:gd name="T5" fmla="*/ 2147483647 h 122"/>
                <a:gd name="T6" fmla="*/ 2147483647 w 104"/>
                <a:gd name="T7" fmla="*/ 2147483647 h 122"/>
                <a:gd name="T8" fmla="*/ 2147483647 w 104"/>
                <a:gd name="T9" fmla="*/ 2147483647 h 122"/>
                <a:gd name="T10" fmla="*/ 2147483647 w 104"/>
                <a:gd name="T11" fmla="*/ 2147483647 h 122"/>
                <a:gd name="T12" fmla="*/ 2147483647 w 104"/>
                <a:gd name="T13" fmla="*/ 2147483647 h 122"/>
                <a:gd name="T14" fmla="*/ 0 w 104"/>
                <a:gd name="T15" fmla="*/ 2147483647 h 122"/>
                <a:gd name="T16" fmla="*/ 2147483647 w 104"/>
                <a:gd name="T17" fmla="*/ 2147483647 h 122"/>
                <a:gd name="T18" fmla="*/ 2147483647 w 104"/>
                <a:gd name="T19" fmla="*/ 2147483647 h 122"/>
                <a:gd name="T20" fmla="*/ 2147483647 w 104"/>
                <a:gd name="T21" fmla="*/ 2147483647 h 122"/>
                <a:gd name="T22" fmla="*/ 2147483647 w 104"/>
                <a:gd name="T23" fmla="*/ 2147483647 h 122"/>
                <a:gd name="T24" fmla="*/ 2147483647 w 104"/>
                <a:gd name="T25" fmla="*/ 2147483647 h 122"/>
                <a:gd name="T26" fmla="*/ 2147483647 w 104"/>
                <a:gd name="T27" fmla="*/ 0 h 122"/>
                <a:gd name="T28" fmla="*/ 2147483647 w 104"/>
                <a:gd name="T29" fmla="*/ 2147483647 h 122"/>
                <a:gd name="T30" fmla="*/ 2147483647 w 104"/>
                <a:gd name="T31" fmla="*/ 2147483647 h 122"/>
                <a:gd name="T32" fmla="*/ 2147483647 w 104"/>
                <a:gd name="T33" fmla="*/ 2147483647 h 122"/>
                <a:gd name="T34" fmla="*/ 2147483647 w 104"/>
                <a:gd name="T35" fmla="*/ 2147483647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7 h 120"/>
                <a:gd name="T2" fmla="*/ 2147483647 w 105"/>
                <a:gd name="T3" fmla="*/ 2147483647 h 120"/>
                <a:gd name="T4" fmla="*/ 2147483647 w 105"/>
                <a:gd name="T5" fmla="*/ 2147483647 h 120"/>
                <a:gd name="T6" fmla="*/ 2147483647 w 105"/>
                <a:gd name="T7" fmla="*/ 0 h 120"/>
                <a:gd name="T8" fmla="*/ 2147483647 w 105"/>
                <a:gd name="T9" fmla="*/ 2147483647 h 120"/>
                <a:gd name="T10" fmla="*/ 2147483647 w 105"/>
                <a:gd name="T11" fmla="*/ 2147483647 h 120"/>
                <a:gd name="T12" fmla="*/ 2147483647 w 105"/>
                <a:gd name="T13" fmla="*/ 2147483647 h 120"/>
                <a:gd name="T14" fmla="*/ 2147483647 w 105"/>
                <a:gd name="T15" fmla="*/ 2147483647 h 120"/>
                <a:gd name="T16" fmla="*/ 2147483647 w 105"/>
                <a:gd name="T17" fmla="*/ 2147483647 h 120"/>
                <a:gd name="T18" fmla="*/ 2147483647 w 105"/>
                <a:gd name="T19" fmla="*/ 2147483647 h 120"/>
                <a:gd name="T20" fmla="*/ 2147483647 w 105"/>
                <a:gd name="T21" fmla="*/ 2147483647 h 120"/>
                <a:gd name="T22" fmla="*/ 0 w 105"/>
                <a:gd name="T23" fmla="*/ 2147483647 h 120"/>
                <a:gd name="T24" fmla="*/ 0 w 105"/>
                <a:gd name="T25" fmla="*/ 2147483647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7 w 109"/>
                <a:gd name="T1" fmla="*/ 2147483647 h 122"/>
                <a:gd name="T2" fmla="*/ 2147483647 w 109"/>
                <a:gd name="T3" fmla="*/ 2147483647 h 122"/>
                <a:gd name="T4" fmla="*/ 2147483647 w 109"/>
                <a:gd name="T5" fmla="*/ 2147483647 h 122"/>
                <a:gd name="T6" fmla="*/ 2147483647 w 109"/>
                <a:gd name="T7" fmla="*/ 2147483647 h 122"/>
                <a:gd name="T8" fmla="*/ 2147483647 w 109"/>
                <a:gd name="T9" fmla="*/ 2147483647 h 122"/>
                <a:gd name="T10" fmla="*/ 0 w 109"/>
                <a:gd name="T11" fmla="*/ 2147483647 h 122"/>
                <a:gd name="T12" fmla="*/ 2147483647 w 109"/>
                <a:gd name="T13" fmla="*/ 0 h 122"/>
                <a:gd name="T14" fmla="*/ 2147483647 w 109"/>
                <a:gd name="T15" fmla="*/ 2147483647 h 122"/>
                <a:gd name="T16" fmla="*/ 2147483647 w 109"/>
                <a:gd name="T17" fmla="*/ 2147483647 h 122"/>
                <a:gd name="T18" fmla="*/ 2147483647 w 109"/>
                <a:gd name="T19" fmla="*/ 2147483647 h 122"/>
                <a:gd name="T20" fmla="*/ 2147483647 w 109"/>
                <a:gd name="T21" fmla="*/ 2147483647 h 122"/>
                <a:gd name="T22" fmla="*/ 2147483647 w 109"/>
                <a:gd name="T23" fmla="*/ 2147483647 h 122"/>
                <a:gd name="T24" fmla="*/ 2147483647 w 109"/>
                <a:gd name="T25" fmla="*/ 2147483647 h 122"/>
                <a:gd name="T26" fmla="*/ 2147483647 w 109"/>
                <a:gd name="T27" fmla="*/ 2147483647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7 w 116"/>
                <a:gd name="T1" fmla="*/ 2147483647 h 124"/>
                <a:gd name="T2" fmla="*/ 2147483647 w 116"/>
                <a:gd name="T3" fmla="*/ 2147483647 h 124"/>
                <a:gd name="T4" fmla="*/ 2147483647 w 116"/>
                <a:gd name="T5" fmla="*/ 2147483647 h 124"/>
                <a:gd name="T6" fmla="*/ 2147483647 w 116"/>
                <a:gd name="T7" fmla="*/ 2147483647 h 124"/>
                <a:gd name="T8" fmla="*/ 2147483647 w 116"/>
                <a:gd name="T9" fmla="*/ 2147483647 h 124"/>
                <a:gd name="T10" fmla="*/ 2147483647 w 116"/>
                <a:gd name="T11" fmla="*/ 2147483647 h 124"/>
                <a:gd name="T12" fmla="*/ 0 w 116"/>
                <a:gd name="T13" fmla="*/ 2147483647 h 124"/>
                <a:gd name="T14" fmla="*/ 2147483647 w 116"/>
                <a:gd name="T15" fmla="*/ 0 h 124"/>
                <a:gd name="T16" fmla="*/ 2147483647 w 116"/>
                <a:gd name="T17" fmla="*/ 2147483647 h 124"/>
                <a:gd name="T18" fmla="*/ 2147483647 w 116"/>
                <a:gd name="T19" fmla="*/ 2147483647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7 h 120"/>
                <a:gd name="T2" fmla="*/ 2147483647 w 66"/>
                <a:gd name="T3" fmla="*/ 2147483647 h 120"/>
                <a:gd name="T4" fmla="*/ 2147483647 w 66"/>
                <a:gd name="T5" fmla="*/ 2147483647 h 120"/>
                <a:gd name="T6" fmla="*/ 2147483647 w 66"/>
                <a:gd name="T7" fmla="*/ 0 h 120"/>
                <a:gd name="T8" fmla="*/ 2147483647 w 66"/>
                <a:gd name="T9" fmla="*/ 2147483647 h 120"/>
                <a:gd name="T10" fmla="*/ 2147483647 w 66"/>
                <a:gd name="T11" fmla="*/ 2147483647 h 120"/>
                <a:gd name="T12" fmla="*/ 2147483647 w 66"/>
                <a:gd name="T13" fmla="*/ 2147483647 h 120"/>
                <a:gd name="T14" fmla="*/ 2147483647 w 66"/>
                <a:gd name="T15" fmla="*/ 2147483647 h 120"/>
                <a:gd name="T16" fmla="*/ 2147483647 w 66"/>
                <a:gd name="T17" fmla="*/ 2147483647 h 120"/>
                <a:gd name="T18" fmla="*/ 0 w 66"/>
                <a:gd name="T19" fmla="*/ 2147483647 h 120"/>
                <a:gd name="T20" fmla="*/ 0 w 66"/>
                <a:gd name="T21" fmla="*/ 2147483647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7 w 110"/>
                <a:gd name="T1" fmla="*/ 2147483647 h 166"/>
                <a:gd name="T2" fmla="*/ 2147483647 w 110"/>
                <a:gd name="T3" fmla="*/ 2147483647 h 166"/>
                <a:gd name="T4" fmla="*/ 2147483647 w 110"/>
                <a:gd name="T5" fmla="*/ 2147483647 h 166"/>
                <a:gd name="T6" fmla="*/ 2147483647 w 110"/>
                <a:gd name="T7" fmla="*/ 2147483647 h 166"/>
                <a:gd name="T8" fmla="*/ 2147483647 w 110"/>
                <a:gd name="T9" fmla="*/ 2147483647 h 166"/>
                <a:gd name="T10" fmla="*/ 2147483647 w 110"/>
                <a:gd name="T11" fmla="*/ 2147483647 h 166"/>
                <a:gd name="T12" fmla="*/ 2147483647 w 110"/>
                <a:gd name="T13" fmla="*/ 2147483647 h 166"/>
                <a:gd name="T14" fmla="*/ 2147483647 w 110"/>
                <a:gd name="T15" fmla="*/ 2147483647 h 166"/>
                <a:gd name="T16" fmla="*/ 2147483647 w 110"/>
                <a:gd name="T17" fmla="*/ 2147483647 h 166"/>
                <a:gd name="T18" fmla="*/ 2147483647 w 110"/>
                <a:gd name="T19" fmla="*/ 2147483647 h 166"/>
                <a:gd name="T20" fmla="*/ 0 w 110"/>
                <a:gd name="T21" fmla="*/ 2147483647 h 166"/>
                <a:gd name="T22" fmla="*/ 2147483647 w 110"/>
                <a:gd name="T23" fmla="*/ 0 h 166"/>
                <a:gd name="T24" fmla="*/ 2147483647 w 110"/>
                <a:gd name="T25" fmla="*/ 2147483647 h 166"/>
                <a:gd name="T26" fmla="*/ 2147483647 w 110"/>
                <a:gd name="T27" fmla="*/ 2147483647 h 166"/>
                <a:gd name="T28" fmla="*/ 2147483647 w 110"/>
                <a:gd name="T29" fmla="*/ 2147483647 h 166"/>
                <a:gd name="T30" fmla="*/ 2147483647 w 110"/>
                <a:gd name="T31" fmla="*/ 2147483647 h 166"/>
                <a:gd name="T32" fmla="*/ 2147483647 w 110"/>
                <a:gd name="T33" fmla="*/ 2147483647 h 166"/>
                <a:gd name="T34" fmla="*/ 2147483647 w 110"/>
                <a:gd name="T35" fmla="*/ 2147483647 h 166"/>
                <a:gd name="T36" fmla="*/ 2147483647 w 110"/>
                <a:gd name="T37" fmla="*/ 2147483647 h 166"/>
                <a:gd name="T38" fmla="*/ 2147483647 w 110"/>
                <a:gd name="T39" fmla="*/ 2147483647 h 166"/>
                <a:gd name="T40" fmla="*/ 2147483647 w 110"/>
                <a:gd name="T41" fmla="*/ 2147483647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7 w 195"/>
                <a:gd name="T1" fmla="*/ 2147483647 h 92"/>
                <a:gd name="T2" fmla="*/ 2147483647 w 195"/>
                <a:gd name="T3" fmla="*/ 2147483647 h 92"/>
                <a:gd name="T4" fmla="*/ 2147483647 w 195"/>
                <a:gd name="T5" fmla="*/ 2147483647 h 92"/>
                <a:gd name="T6" fmla="*/ 2147483647 w 195"/>
                <a:gd name="T7" fmla="*/ 2147483647 h 92"/>
                <a:gd name="T8" fmla="*/ 2147483647 w 195"/>
                <a:gd name="T9" fmla="*/ 2147483647 h 92"/>
                <a:gd name="T10" fmla="*/ 2147483647 w 195"/>
                <a:gd name="T11" fmla="*/ 2147483647 h 92"/>
                <a:gd name="T12" fmla="*/ 2147483647 w 195"/>
                <a:gd name="T13" fmla="*/ 2147483647 h 92"/>
                <a:gd name="T14" fmla="*/ 2147483647 w 195"/>
                <a:gd name="T15" fmla="*/ 2147483647 h 92"/>
                <a:gd name="T16" fmla="*/ 2147483647 w 195"/>
                <a:gd name="T17" fmla="*/ 2147483647 h 92"/>
                <a:gd name="T18" fmla="*/ 2147483647 w 195"/>
                <a:gd name="T19" fmla="*/ 2147483647 h 92"/>
                <a:gd name="T20" fmla="*/ 2147483647 w 195"/>
                <a:gd name="T21" fmla="*/ 0 h 92"/>
                <a:gd name="T22" fmla="*/ 2147483647 w 195"/>
                <a:gd name="T23" fmla="*/ 0 h 92"/>
                <a:gd name="T24" fmla="*/ 2147483647 w 195"/>
                <a:gd name="T25" fmla="*/ 2147483647 h 92"/>
                <a:gd name="T26" fmla="*/ 2147483647 w 195"/>
                <a:gd name="T27" fmla="*/ 0 h 92"/>
                <a:gd name="T28" fmla="*/ 2147483647 w 195"/>
                <a:gd name="T29" fmla="*/ 0 h 92"/>
                <a:gd name="T30" fmla="*/ 2147483647 w 195"/>
                <a:gd name="T31" fmla="*/ 2147483647 h 92"/>
                <a:gd name="T32" fmla="*/ 2147483647 w 195"/>
                <a:gd name="T33" fmla="*/ 2147483647 h 92"/>
                <a:gd name="T34" fmla="*/ 2147483647 w 195"/>
                <a:gd name="T35" fmla="*/ 2147483647 h 92"/>
                <a:gd name="T36" fmla="*/ 2147483647 w 195"/>
                <a:gd name="T37" fmla="*/ 2147483647 h 92"/>
                <a:gd name="T38" fmla="*/ 2147483647 w 195"/>
                <a:gd name="T39" fmla="*/ 2147483647 h 92"/>
                <a:gd name="T40" fmla="*/ 2147483647 w 195"/>
                <a:gd name="T41" fmla="*/ 2147483647 h 92"/>
                <a:gd name="T42" fmla="*/ 0 w 195"/>
                <a:gd name="T43" fmla="*/ 2147483647 h 92"/>
                <a:gd name="T44" fmla="*/ 0 w 195"/>
                <a:gd name="T45" fmla="*/ 0 h 92"/>
                <a:gd name="T46" fmla="*/ 2147483647 w 195"/>
                <a:gd name="T47" fmla="*/ 0 h 92"/>
                <a:gd name="T48" fmla="*/ 2147483647 w 195"/>
                <a:gd name="T49" fmla="*/ 2147483647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409064512"/>
      </p:ext>
    </p:extLst>
  </p:cSld>
  <p:clrMapOvr>
    <a:masterClrMapping/>
  </p:clrMapOvr>
  <p:transition spd="med">
    <p:fade/>
  </p:transition>
  <p:hf sldNum="0" hdr="0" ftr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62"/>
          <p:cNvSpPr>
            <a:spLocks noChangeArrowheads="1"/>
          </p:cNvSpPr>
          <p:nvPr userDrawn="1"/>
        </p:nvSpPr>
        <p:spPr bwMode="auto">
          <a:xfrm rot="16200000">
            <a:off x="7676357" y="3601244"/>
            <a:ext cx="2795587" cy="18732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45717" rIns="0" bIns="45717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327" eaLnBrk="1" hangingPunct="1">
              <a:defRPr/>
            </a:pPr>
            <a:r>
              <a:rPr lang="en-GB" altLang="fr-FR" sz="700" dirty="0" smtClean="0">
                <a:solidFill>
                  <a:srgbClr val="7F7F7F"/>
                </a:solidFill>
                <a:latin typeface="Helvetica 55 Roman" pitchFamily="2" charset="0"/>
                <a:ea typeface="+mn-ea"/>
              </a:rPr>
              <a:t>Interne</a:t>
            </a:r>
            <a:r>
              <a:rPr lang="en-US" altLang="fr-FR" sz="700" dirty="0" smtClean="0">
                <a:solidFill>
                  <a:srgbClr val="7F7F7F"/>
                </a:solidFill>
                <a:latin typeface="Helvetica 55 Roman" pitchFamily="2" charset="0"/>
                <a:ea typeface="+mn-ea"/>
              </a:rPr>
              <a:t> Orange – DR Orange Open pro partagé </a:t>
            </a:r>
          </a:p>
        </p:txBody>
      </p:sp>
      <p:sp>
        <p:nvSpPr>
          <p:cNvPr id="3" name="ZoneTexte 2"/>
          <p:cNvSpPr txBox="1">
            <a:spLocks noChangeArrowheads="1"/>
          </p:cNvSpPr>
          <p:nvPr userDrawn="1"/>
        </p:nvSpPr>
        <p:spPr bwMode="auto">
          <a:xfrm>
            <a:off x="107950" y="4779963"/>
            <a:ext cx="23018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7" rIns="0" bIns="45717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327">
              <a:defRPr/>
            </a:pPr>
            <a:fld id="{413EA713-2884-4687-99AA-1BEDF9DF0267}" type="slidenum">
              <a:rPr lang="fr-FR" altLang="fr-FR" sz="800" smtClean="0">
                <a:solidFill>
                  <a:srgbClr val="000000"/>
                </a:solidFill>
                <a:latin typeface="Helvetica 55 Roman" panose="020B0604020202020204" pitchFamily="2" charset="0"/>
                <a:ea typeface="+mn-ea"/>
                <a:cs typeface="Arial" charset="0"/>
              </a:rPr>
              <a:pPr defTabSz="914327">
                <a:defRPr/>
              </a:pPr>
              <a:t>‹N°›</a:t>
            </a:fld>
            <a:endParaRPr lang="fr-FR" altLang="fr-FR" sz="800" dirty="0" smtClean="0">
              <a:solidFill>
                <a:srgbClr val="000000"/>
              </a:solidFill>
              <a:latin typeface="Helvetica 55 Roman" panose="020B0604020202020204" pitchFamily="2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1046562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370282343"/>
      </p:ext>
    </p:extLst>
  </p:cSld>
  <p:clrMapOvr>
    <a:masterClrMapping/>
  </p:clrMapOvr>
  <p:transition spd="med">
    <p:fade/>
  </p:transition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96981026"/>
      </p:ext>
    </p:extLst>
  </p:cSld>
  <p:clrMapOvr>
    <a:masterClrMapping/>
  </p:clrMapOvr>
  <p:transition spd="med">
    <p:fade/>
  </p:transition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9063269"/>
      </p:ext>
    </p:extLst>
  </p:cSld>
  <p:clrMapOvr>
    <a:masterClrMapping/>
  </p:clrMapOvr>
  <p:transition spd="med">
    <p:fade/>
  </p:transition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8385593"/>
      </p:ext>
    </p:extLst>
  </p:cSld>
  <p:clrMapOvr>
    <a:masterClrMapping/>
  </p:clrMapOvr>
  <p:transition spd="med">
    <p:fade/>
  </p:transition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4806460"/>
      </p:ext>
    </p:extLst>
  </p:cSld>
  <p:clrMapOvr>
    <a:masterClrMapping/>
  </p:clrMapOvr>
  <p:transition spd="med">
    <p:fade/>
  </p:transition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7584568"/>
      </p:ext>
    </p:extLst>
  </p:cSld>
  <p:clrMapOvr>
    <a:masterClrMapping/>
  </p:clrMapOvr>
  <p:transition spd="med">
    <p:fade/>
  </p:transition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616822"/>
      </p:ext>
    </p:extLst>
  </p:cSld>
  <p:clrMapOvr>
    <a:masterClrMapping/>
  </p:clrMapOvr>
  <p:transition spd="med">
    <p:fade/>
  </p:transition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1884517"/>
      </p:ext>
    </p:extLst>
  </p:cSld>
  <p:clrMapOvr>
    <a:masterClrMapping/>
  </p:clrMapOvr>
  <p:transition spd="med">
    <p:fade/>
  </p:transition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39733" y="339728"/>
            <a:ext cx="7904683" cy="621329"/>
          </a:xfrm>
        </p:spPr>
        <p:txBody>
          <a:bodyPr/>
          <a:lstStyle/>
          <a:p>
            <a:r>
              <a:rPr lang="fr-FR" dirty="0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7819702"/>
      </p:ext>
    </p:extLst>
  </p:cSld>
  <p:clrMapOvr>
    <a:masterClrMapping/>
  </p:clrMapOvr>
  <p:transition spd="med">
    <p:fade/>
  </p:transition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8670674"/>
      </p:ext>
    </p:extLst>
  </p:cSld>
  <p:clrMapOvr>
    <a:masterClrMapping/>
  </p:clrMapOvr>
  <p:transition spd="med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EMTA8361\Documents\Divers\Logos\O BS logo bottom right_RGB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6338" y="4300538"/>
            <a:ext cx="1319212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63558" y="1597821"/>
            <a:ext cx="8474400" cy="1679178"/>
          </a:xfrm>
        </p:spPr>
        <p:txBody>
          <a:bodyPr>
            <a:spAutoFit/>
          </a:bodyPr>
          <a:lstStyle>
            <a:lvl1pPr>
              <a:defRPr sz="4400" b="0"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363557" y="2400302"/>
            <a:ext cx="8474400" cy="947952"/>
          </a:xfrm>
        </p:spPr>
        <p:txBody>
          <a:bodyPr>
            <a:spAutoFit/>
          </a:bodyPr>
          <a:lstStyle>
            <a:lvl1pPr marL="344461" indent="-344461">
              <a:buClr>
                <a:schemeClr val="bg1">
                  <a:lumMod val="50000"/>
                  <a:lumOff val="50000"/>
                </a:schemeClr>
              </a:buClr>
              <a:buSzPct val="100000"/>
              <a:buFont typeface="Helvetica 35 Thin" pitchFamily="34" charset="0"/>
              <a:buChar char="&gt;"/>
              <a:defRPr sz="2800">
                <a:solidFill>
                  <a:schemeClr val="bg1">
                    <a:lumMod val="50000"/>
                    <a:lumOff val="50000"/>
                  </a:schemeClr>
                </a:solidFill>
                <a:latin typeface="Helvetica 75 Bold" panose="020B0804020202020204" pitchFamily="34" charset="0"/>
              </a:defRPr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1"/>
          </p:nvPr>
        </p:nvSpPr>
        <p:spPr>
          <a:xfrm>
            <a:off x="363556" y="3314703"/>
            <a:ext cx="8474400" cy="236988"/>
          </a:xfrm>
        </p:spPr>
        <p:txBody>
          <a:bodyPr>
            <a:spAutoFit/>
          </a:bodyPr>
          <a:lstStyle>
            <a:lvl1pPr marL="0" indent="0">
              <a:buNone/>
              <a:defRPr sz="1400"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147660468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7625183"/>
      </p:ext>
    </p:extLst>
  </p:cSld>
  <p:clrMapOvr>
    <a:masterClrMapping/>
  </p:clrMapOvr>
  <p:transition spd="med">
    <p:fade/>
  </p:transition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title"/>
          </p:nvPr>
        </p:nvSpPr>
        <p:spPr>
          <a:xfrm>
            <a:off x="339725" y="339728"/>
            <a:ext cx="8470900" cy="621329"/>
          </a:xfrm>
        </p:spPr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7910086"/>
      </p:ext>
    </p:extLst>
  </p:cSld>
  <p:clrMapOvr>
    <a:masterClrMapping/>
  </p:clrMapOvr>
  <p:transition spd="med">
    <p:fade/>
  </p:transition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1515606"/>
      </p:ext>
    </p:extLst>
  </p:cSld>
  <p:clrMapOvr>
    <a:masterClrMapping/>
  </p:clrMapOvr>
  <p:transition spd="med">
    <p:fade/>
  </p:transition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>
            <a:spLocks noGrp="1"/>
          </p:cNvSpPr>
          <p:nvPr>
            <p:ph type="title"/>
          </p:nvPr>
        </p:nvSpPr>
        <p:spPr>
          <a:xfrm>
            <a:off x="339725" y="339728"/>
            <a:ext cx="8470900" cy="621329"/>
          </a:xfrm>
        </p:spPr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467219"/>
      </p:ext>
    </p:extLst>
  </p:cSld>
  <p:clrMapOvr>
    <a:masterClrMapping/>
  </p:clrMapOvr>
  <p:transition spd="med">
    <p:fade/>
  </p:transition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GBLG1056\Desktop\images\Orange Business Services logo 080714\digital\PNG\obs_left_rgb_black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55" t="26700" r="11490" b="22862"/>
          <a:stretch>
            <a:fillRect/>
          </a:stretch>
        </p:blipFill>
        <p:spPr bwMode="auto">
          <a:xfrm>
            <a:off x="242888" y="4084638"/>
            <a:ext cx="1901825" cy="82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8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94658962"/>
      </p:ext>
    </p:extLst>
  </p:cSld>
  <p:clrMapOvr>
    <a:masterClrMapping/>
  </p:clrMapOvr>
  <p:transition spd="med">
    <p:fade/>
  </p:transition>
  <p:hf sldNum="0" hdr="0" ftr="0"/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611188" y="4657725"/>
            <a:ext cx="1081087" cy="2905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2788">
              <a:defRPr/>
            </a:pPr>
            <a:endParaRPr lang="fr-FR">
              <a:solidFill>
                <a:srgbClr val="00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0" y="33972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2505431162"/>
      </p:ext>
    </p:extLst>
  </p:cSld>
  <p:clrMapOvr>
    <a:masterClrMapping/>
  </p:clrMapOvr>
  <p:transition spd="med">
    <p:fade/>
  </p:transition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2760272"/>
      </p:ext>
    </p:extLst>
  </p:cSld>
  <p:clrMapOvr>
    <a:masterClrMapping/>
  </p:clrMapOvr>
  <p:transition spd="med">
    <p:fade/>
  </p:transition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2788">
              <a:defRPr/>
            </a:pPr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6" name="Group 6"/>
          <p:cNvGrpSpPr>
            <a:grpSpLocks/>
          </p:cNvGrpSpPr>
          <p:nvPr userDrawn="1"/>
        </p:nvGrpSpPr>
        <p:grpSpPr bwMode="auto">
          <a:xfrm>
            <a:off x="339725" y="4132263"/>
            <a:ext cx="1873250" cy="682625"/>
            <a:chOff x="339725" y="4132263"/>
            <a:chExt cx="1873251" cy="682625"/>
          </a:xfrm>
        </p:grpSpPr>
        <p:grpSp>
          <p:nvGrpSpPr>
            <p:cNvPr id="7" name="Group 7"/>
            <p:cNvGrpSpPr>
              <a:grpSpLocks/>
            </p:cNvGrpSpPr>
            <p:nvPr userDrawn="1"/>
          </p:nvGrpSpPr>
          <p:grpSpPr bwMode="auto">
            <a:xfrm>
              <a:off x="339725" y="4132263"/>
              <a:ext cx="674688" cy="677863"/>
              <a:chOff x="339725" y="4132263"/>
              <a:chExt cx="674688" cy="677863"/>
            </a:xfrm>
          </p:grpSpPr>
          <p:sp>
            <p:nvSpPr>
              <p:cNvPr id="25" name="Rectangle 7"/>
              <p:cNvSpPr>
                <a:spLocks noChangeArrowheads="1"/>
              </p:cNvSpPr>
              <p:nvPr userDrawn="1"/>
            </p:nvSpPr>
            <p:spPr bwMode="auto">
              <a:xfrm>
                <a:off x="339725" y="4132263"/>
                <a:ext cx="674688" cy="677862"/>
              </a:xfrm>
              <a:prstGeom prst="rect">
                <a:avLst/>
              </a:prstGeom>
              <a:solidFill>
                <a:srgbClr val="FF66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712788" eaLnBrk="0" hangingPunct="0">
                  <a:defRPr sz="1200">
                    <a:solidFill>
                      <a:schemeClr val="tx1"/>
                    </a:solidFill>
                    <a:latin typeface="Helvetica 55 Roman" pitchFamily="2" charset="0"/>
                    <a:cs typeface="Arial" pitchFamily="34" charset="0"/>
                  </a:defRPr>
                </a:lvl1pPr>
                <a:lvl2pPr marL="742950" indent="-285750" defTabSz="712788" eaLnBrk="0" hangingPunct="0">
                  <a:defRPr sz="1200">
                    <a:solidFill>
                      <a:schemeClr val="tx1"/>
                    </a:solidFill>
                    <a:latin typeface="Helvetica 55 Roman" pitchFamily="2" charset="0"/>
                    <a:cs typeface="Arial" pitchFamily="34" charset="0"/>
                  </a:defRPr>
                </a:lvl2pPr>
                <a:lvl3pPr marL="1143000" indent="-228600" defTabSz="712788" eaLnBrk="0" hangingPunct="0">
                  <a:defRPr sz="1200">
                    <a:solidFill>
                      <a:schemeClr val="tx1"/>
                    </a:solidFill>
                    <a:latin typeface="Helvetica 55 Roman" pitchFamily="2" charset="0"/>
                    <a:cs typeface="Arial" pitchFamily="34" charset="0"/>
                  </a:defRPr>
                </a:lvl3pPr>
                <a:lvl4pPr marL="1600200" indent="-228600" defTabSz="712788" eaLnBrk="0" hangingPunct="0">
                  <a:defRPr sz="1200">
                    <a:solidFill>
                      <a:schemeClr val="tx1"/>
                    </a:solidFill>
                    <a:latin typeface="Helvetica 55 Roman" pitchFamily="2" charset="0"/>
                    <a:cs typeface="Arial" pitchFamily="34" charset="0"/>
                  </a:defRPr>
                </a:lvl4pPr>
                <a:lvl5pPr marL="2057400" indent="-228600" defTabSz="712788" eaLnBrk="0" hangingPunct="0">
                  <a:defRPr sz="1200">
                    <a:solidFill>
                      <a:schemeClr val="tx1"/>
                    </a:solidFill>
                    <a:latin typeface="Helvetica 55 Roman" pitchFamily="2" charset="0"/>
                    <a:cs typeface="Arial" pitchFamily="34" charset="0"/>
                  </a:defRPr>
                </a:lvl5pPr>
                <a:lvl6pPr marL="2514600" indent="-228600" defTabSz="7127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chemeClr val="tx1"/>
                    </a:solidFill>
                    <a:latin typeface="Helvetica 55 Roman" pitchFamily="2" charset="0"/>
                    <a:cs typeface="Arial" pitchFamily="34" charset="0"/>
                  </a:defRPr>
                </a:lvl6pPr>
                <a:lvl7pPr marL="2971800" indent="-228600" defTabSz="7127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chemeClr val="tx1"/>
                    </a:solidFill>
                    <a:latin typeface="Helvetica 55 Roman" pitchFamily="2" charset="0"/>
                    <a:cs typeface="Arial" pitchFamily="34" charset="0"/>
                  </a:defRPr>
                </a:lvl7pPr>
                <a:lvl8pPr marL="3429000" indent="-228600" defTabSz="7127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chemeClr val="tx1"/>
                    </a:solidFill>
                    <a:latin typeface="Helvetica 55 Roman" pitchFamily="2" charset="0"/>
                    <a:cs typeface="Arial" pitchFamily="34" charset="0"/>
                  </a:defRPr>
                </a:lvl8pPr>
                <a:lvl9pPr marL="3886200" indent="-228600" defTabSz="7127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200">
                    <a:solidFill>
                      <a:schemeClr val="tx1"/>
                    </a:solidFill>
                    <a:latin typeface="Helvetica 55 Roman" pitchFamily="2" charset="0"/>
                    <a:cs typeface="Arial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GB" altLang="fr-FR" sz="1400" smtClean="0">
                  <a:solidFill>
                    <a:srgbClr val="000000"/>
                  </a:solidFill>
                  <a:latin typeface="Helvetica 75" pitchFamily="34" charset="0"/>
                </a:endParaRPr>
              </a:p>
            </p:txBody>
          </p:sp>
          <p:sp>
            <p:nvSpPr>
              <p:cNvPr id="26" name="Freeform 8"/>
              <p:cNvSpPr>
                <a:spLocks noEditPoints="1"/>
              </p:cNvSpPr>
              <p:nvPr userDrawn="1"/>
            </p:nvSpPr>
            <p:spPr bwMode="auto">
              <a:xfrm>
                <a:off x="546100" y="4656138"/>
                <a:ext cx="82550" cy="98425"/>
              </a:xfrm>
              <a:custGeom>
                <a:avLst/>
                <a:gdLst>
                  <a:gd name="T0" fmla="*/ 2147483647 w 65"/>
                  <a:gd name="T1" fmla="*/ 2147483647 h 76"/>
                  <a:gd name="T2" fmla="*/ 2147483647 w 65"/>
                  <a:gd name="T3" fmla="*/ 2147483647 h 76"/>
                  <a:gd name="T4" fmla="*/ 0 w 65"/>
                  <a:gd name="T5" fmla="*/ 2147483647 h 76"/>
                  <a:gd name="T6" fmla="*/ 2147483647 w 65"/>
                  <a:gd name="T7" fmla="*/ 2147483647 h 76"/>
                  <a:gd name="T8" fmla="*/ 2147483647 w 65"/>
                  <a:gd name="T9" fmla="*/ 2147483647 h 76"/>
                  <a:gd name="T10" fmla="*/ 2147483647 w 65"/>
                  <a:gd name="T11" fmla="*/ 2147483647 h 76"/>
                  <a:gd name="T12" fmla="*/ 2147483647 w 65"/>
                  <a:gd name="T13" fmla="*/ 2147483647 h 76"/>
                  <a:gd name="T14" fmla="*/ 2147483647 w 65"/>
                  <a:gd name="T15" fmla="*/ 2147483647 h 76"/>
                  <a:gd name="T16" fmla="*/ 2147483647 w 65"/>
                  <a:gd name="T17" fmla="*/ 0 h 76"/>
                  <a:gd name="T18" fmla="*/ 2147483647 w 65"/>
                  <a:gd name="T19" fmla="*/ 2147483647 h 76"/>
                  <a:gd name="T20" fmla="*/ 2147483647 w 65"/>
                  <a:gd name="T21" fmla="*/ 2147483647 h 76"/>
                  <a:gd name="T22" fmla="*/ 2147483647 w 65"/>
                  <a:gd name="T23" fmla="*/ 2147483647 h 76"/>
                  <a:gd name="T24" fmla="*/ 2147483647 w 65"/>
                  <a:gd name="T25" fmla="*/ 2147483647 h 76"/>
                  <a:gd name="T26" fmla="*/ 2147483647 w 65"/>
                  <a:gd name="T27" fmla="*/ 2147483647 h 76"/>
                  <a:gd name="T28" fmla="*/ 2147483647 w 65"/>
                  <a:gd name="T29" fmla="*/ 2147483647 h 76"/>
                  <a:gd name="T30" fmla="*/ 2147483647 w 65"/>
                  <a:gd name="T31" fmla="*/ 2147483647 h 76"/>
                  <a:gd name="T32" fmla="*/ 2147483647 w 65"/>
                  <a:gd name="T33" fmla="*/ 2147483647 h 76"/>
                  <a:gd name="T34" fmla="*/ 2147483647 w 65"/>
                  <a:gd name="T35" fmla="*/ 2147483647 h 7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65" h="76">
                    <a:moveTo>
                      <a:pt x="46" y="69"/>
                    </a:moveTo>
                    <a:cubicBezTo>
                      <a:pt x="38" y="73"/>
                      <a:pt x="30" y="76"/>
                      <a:pt x="22" y="76"/>
                    </a:cubicBezTo>
                    <a:cubicBezTo>
                      <a:pt x="8" y="76"/>
                      <a:pt x="0" y="67"/>
                      <a:pt x="0" y="55"/>
                    </a:cubicBezTo>
                    <a:cubicBezTo>
                      <a:pt x="0" y="38"/>
                      <a:pt x="15" y="29"/>
                      <a:pt x="46" y="26"/>
                    </a:cubicBezTo>
                    <a:cubicBezTo>
                      <a:pt x="46" y="22"/>
                      <a:pt x="46" y="22"/>
                      <a:pt x="46" y="22"/>
                    </a:cubicBezTo>
                    <a:cubicBezTo>
                      <a:pt x="46" y="17"/>
                      <a:pt x="42" y="14"/>
                      <a:pt x="35" y="14"/>
                    </a:cubicBezTo>
                    <a:cubicBezTo>
                      <a:pt x="27" y="14"/>
                      <a:pt x="21" y="16"/>
                      <a:pt x="17" y="22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11" y="5"/>
                      <a:pt x="21" y="0"/>
                      <a:pt x="35" y="0"/>
                    </a:cubicBezTo>
                    <a:cubicBezTo>
                      <a:pt x="54" y="0"/>
                      <a:pt x="65" y="8"/>
                      <a:pt x="65" y="22"/>
                    </a:cubicBezTo>
                    <a:cubicBezTo>
                      <a:pt x="65" y="22"/>
                      <a:pt x="65" y="75"/>
                      <a:pt x="65" y="75"/>
                    </a:cubicBezTo>
                    <a:cubicBezTo>
                      <a:pt x="48" y="75"/>
                      <a:pt x="48" y="75"/>
                      <a:pt x="48" y="75"/>
                    </a:cubicBezTo>
                    <a:lnTo>
                      <a:pt x="46" y="69"/>
                    </a:lnTo>
                    <a:close/>
                    <a:moveTo>
                      <a:pt x="19" y="53"/>
                    </a:moveTo>
                    <a:cubicBezTo>
                      <a:pt x="19" y="58"/>
                      <a:pt x="22" y="63"/>
                      <a:pt x="28" y="63"/>
                    </a:cubicBezTo>
                    <a:cubicBezTo>
                      <a:pt x="34" y="63"/>
                      <a:pt x="40" y="60"/>
                      <a:pt x="45" y="55"/>
                    </a:cubicBezTo>
                    <a:cubicBezTo>
                      <a:pt x="45" y="38"/>
                      <a:pt x="45" y="38"/>
                      <a:pt x="45" y="38"/>
                    </a:cubicBezTo>
                    <a:cubicBezTo>
                      <a:pt x="27" y="40"/>
                      <a:pt x="19" y="44"/>
                      <a:pt x="19" y="5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7" name="Freeform 9"/>
              <p:cNvSpPr>
                <a:spLocks/>
              </p:cNvSpPr>
              <p:nvPr userDrawn="1"/>
            </p:nvSpPr>
            <p:spPr bwMode="auto">
              <a:xfrm>
                <a:off x="647700" y="4656138"/>
                <a:ext cx="85725" cy="96838"/>
              </a:xfrm>
              <a:custGeom>
                <a:avLst/>
                <a:gdLst>
                  <a:gd name="T0" fmla="*/ 0 w 66"/>
                  <a:gd name="T1" fmla="*/ 2147483647 h 75"/>
                  <a:gd name="T2" fmla="*/ 2147483647 w 66"/>
                  <a:gd name="T3" fmla="*/ 2147483647 h 75"/>
                  <a:gd name="T4" fmla="*/ 2147483647 w 66"/>
                  <a:gd name="T5" fmla="*/ 2147483647 h 75"/>
                  <a:gd name="T6" fmla="*/ 2147483647 w 66"/>
                  <a:gd name="T7" fmla="*/ 0 h 75"/>
                  <a:gd name="T8" fmla="*/ 2147483647 w 66"/>
                  <a:gd name="T9" fmla="*/ 2147483647 h 75"/>
                  <a:gd name="T10" fmla="*/ 2147483647 w 66"/>
                  <a:gd name="T11" fmla="*/ 2147483647 h 75"/>
                  <a:gd name="T12" fmla="*/ 2147483647 w 66"/>
                  <a:gd name="T13" fmla="*/ 2147483647 h 75"/>
                  <a:gd name="T14" fmla="*/ 2147483647 w 66"/>
                  <a:gd name="T15" fmla="*/ 2147483647 h 75"/>
                  <a:gd name="T16" fmla="*/ 2147483647 w 66"/>
                  <a:gd name="T17" fmla="*/ 2147483647 h 75"/>
                  <a:gd name="T18" fmla="*/ 2147483647 w 66"/>
                  <a:gd name="T19" fmla="*/ 2147483647 h 75"/>
                  <a:gd name="T20" fmla="*/ 2147483647 w 66"/>
                  <a:gd name="T21" fmla="*/ 2147483647 h 75"/>
                  <a:gd name="T22" fmla="*/ 0 w 66"/>
                  <a:gd name="T23" fmla="*/ 2147483647 h 75"/>
                  <a:gd name="T24" fmla="*/ 0 w 66"/>
                  <a:gd name="T25" fmla="*/ 2147483647 h 7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66" h="75">
                    <a:moveTo>
                      <a:pt x="0" y="4"/>
                    </a:moveTo>
                    <a:cubicBezTo>
                      <a:pt x="16" y="2"/>
                      <a:pt x="16" y="2"/>
                      <a:pt x="16" y="2"/>
                    </a:cubicBezTo>
                    <a:cubicBezTo>
                      <a:pt x="18" y="10"/>
                      <a:pt x="18" y="10"/>
                      <a:pt x="18" y="10"/>
                    </a:cubicBezTo>
                    <a:cubicBezTo>
                      <a:pt x="27" y="4"/>
                      <a:pt x="34" y="0"/>
                      <a:pt x="43" y="0"/>
                    </a:cubicBezTo>
                    <a:cubicBezTo>
                      <a:pt x="58" y="0"/>
                      <a:pt x="66" y="8"/>
                      <a:pt x="66" y="24"/>
                    </a:cubicBezTo>
                    <a:cubicBezTo>
                      <a:pt x="66" y="75"/>
                      <a:pt x="66" y="75"/>
                      <a:pt x="66" y="75"/>
                    </a:cubicBezTo>
                    <a:cubicBezTo>
                      <a:pt x="46" y="75"/>
                      <a:pt x="46" y="75"/>
                      <a:pt x="46" y="75"/>
                    </a:cubicBezTo>
                    <a:cubicBezTo>
                      <a:pt x="46" y="27"/>
                      <a:pt x="46" y="27"/>
                      <a:pt x="46" y="27"/>
                    </a:cubicBezTo>
                    <a:cubicBezTo>
                      <a:pt x="46" y="18"/>
                      <a:pt x="44" y="14"/>
                      <a:pt x="37" y="14"/>
                    </a:cubicBezTo>
                    <a:cubicBezTo>
                      <a:pt x="31" y="14"/>
                      <a:pt x="26" y="17"/>
                      <a:pt x="19" y="22"/>
                    </a:cubicBezTo>
                    <a:cubicBezTo>
                      <a:pt x="19" y="75"/>
                      <a:pt x="19" y="75"/>
                      <a:pt x="19" y="75"/>
                    </a:cubicBezTo>
                    <a:cubicBezTo>
                      <a:pt x="0" y="75"/>
                      <a:pt x="0" y="75"/>
                      <a:pt x="0" y="75"/>
                    </a:cubicBez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8" name="Freeform 10"/>
              <p:cNvSpPr>
                <a:spLocks noEditPoints="1"/>
              </p:cNvSpPr>
              <p:nvPr userDrawn="1"/>
            </p:nvSpPr>
            <p:spPr bwMode="auto">
              <a:xfrm>
                <a:off x="852488" y="4656138"/>
                <a:ext cx="87313" cy="98425"/>
              </a:xfrm>
              <a:custGeom>
                <a:avLst/>
                <a:gdLst>
                  <a:gd name="T0" fmla="*/ 2147483647 w 67"/>
                  <a:gd name="T1" fmla="*/ 2147483647 h 76"/>
                  <a:gd name="T2" fmla="*/ 0 w 67"/>
                  <a:gd name="T3" fmla="*/ 2147483647 h 76"/>
                  <a:gd name="T4" fmla="*/ 2147483647 w 67"/>
                  <a:gd name="T5" fmla="*/ 0 h 76"/>
                  <a:gd name="T6" fmla="*/ 2147483647 w 67"/>
                  <a:gd name="T7" fmla="*/ 2147483647 h 76"/>
                  <a:gd name="T8" fmla="*/ 2147483647 w 67"/>
                  <a:gd name="T9" fmla="*/ 2147483647 h 76"/>
                  <a:gd name="T10" fmla="*/ 2147483647 w 67"/>
                  <a:gd name="T11" fmla="*/ 2147483647 h 76"/>
                  <a:gd name="T12" fmla="*/ 2147483647 w 67"/>
                  <a:gd name="T13" fmla="*/ 2147483647 h 76"/>
                  <a:gd name="T14" fmla="*/ 2147483647 w 67"/>
                  <a:gd name="T15" fmla="*/ 2147483647 h 76"/>
                  <a:gd name="T16" fmla="*/ 2147483647 w 67"/>
                  <a:gd name="T17" fmla="*/ 2147483647 h 76"/>
                  <a:gd name="T18" fmla="*/ 2147483647 w 67"/>
                  <a:gd name="T19" fmla="*/ 2147483647 h 76"/>
                  <a:gd name="T20" fmla="*/ 2147483647 w 67"/>
                  <a:gd name="T21" fmla="*/ 2147483647 h 76"/>
                  <a:gd name="T22" fmla="*/ 2147483647 w 67"/>
                  <a:gd name="T23" fmla="*/ 2147483647 h 76"/>
                  <a:gd name="T24" fmla="*/ 2147483647 w 67"/>
                  <a:gd name="T25" fmla="*/ 2147483647 h 76"/>
                  <a:gd name="T26" fmla="*/ 2147483647 w 67"/>
                  <a:gd name="T27" fmla="*/ 2147483647 h 7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7" h="76">
                    <a:moveTo>
                      <a:pt x="34" y="76"/>
                    </a:moveTo>
                    <a:cubicBezTo>
                      <a:pt x="13" y="76"/>
                      <a:pt x="0" y="62"/>
                      <a:pt x="0" y="38"/>
                    </a:cubicBezTo>
                    <a:cubicBezTo>
                      <a:pt x="0" y="14"/>
                      <a:pt x="13" y="0"/>
                      <a:pt x="34" y="0"/>
                    </a:cubicBezTo>
                    <a:cubicBezTo>
                      <a:pt x="55" y="0"/>
                      <a:pt x="67" y="14"/>
                      <a:pt x="67" y="37"/>
                    </a:cubicBezTo>
                    <a:cubicBezTo>
                      <a:pt x="67" y="39"/>
                      <a:pt x="67" y="40"/>
                      <a:pt x="67" y="41"/>
                    </a:cubicBezTo>
                    <a:cubicBezTo>
                      <a:pt x="19" y="41"/>
                      <a:pt x="19" y="41"/>
                      <a:pt x="19" y="41"/>
                    </a:cubicBezTo>
                    <a:cubicBezTo>
                      <a:pt x="19" y="55"/>
                      <a:pt x="24" y="62"/>
                      <a:pt x="36" y="62"/>
                    </a:cubicBezTo>
                    <a:cubicBezTo>
                      <a:pt x="43" y="62"/>
                      <a:pt x="48" y="59"/>
                      <a:pt x="52" y="53"/>
                    </a:cubicBezTo>
                    <a:cubicBezTo>
                      <a:pt x="67" y="60"/>
                      <a:pt x="67" y="60"/>
                      <a:pt x="67" y="60"/>
                    </a:cubicBezTo>
                    <a:cubicBezTo>
                      <a:pt x="60" y="71"/>
                      <a:pt x="49" y="76"/>
                      <a:pt x="34" y="76"/>
                    </a:cubicBezTo>
                    <a:close/>
                    <a:moveTo>
                      <a:pt x="49" y="29"/>
                    </a:moveTo>
                    <a:cubicBezTo>
                      <a:pt x="49" y="19"/>
                      <a:pt x="43" y="13"/>
                      <a:pt x="34" y="13"/>
                    </a:cubicBezTo>
                    <a:cubicBezTo>
                      <a:pt x="25" y="13"/>
                      <a:pt x="20" y="19"/>
                      <a:pt x="19" y="29"/>
                    </a:cubicBezTo>
                    <a:lnTo>
                      <a:pt x="49" y="2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9" name="Freeform 11"/>
              <p:cNvSpPr>
                <a:spLocks noEditPoints="1"/>
              </p:cNvSpPr>
              <p:nvPr userDrawn="1"/>
            </p:nvSpPr>
            <p:spPr bwMode="auto">
              <a:xfrm>
                <a:off x="376238" y="4656138"/>
                <a:ext cx="93663" cy="100013"/>
              </a:xfrm>
              <a:custGeom>
                <a:avLst/>
                <a:gdLst>
                  <a:gd name="T0" fmla="*/ 2147483647 w 73"/>
                  <a:gd name="T1" fmla="*/ 2147483647 h 77"/>
                  <a:gd name="T2" fmla="*/ 0 w 73"/>
                  <a:gd name="T3" fmla="*/ 2147483647 h 77"/>
                  <a:gd name="T4" fmla="*/ 2147483647 w 73"/>
                  <a:gd name="T5" fmla="*/ 0 h 77"/>
                  <a:gd name="T6" fmla="*/ 2147483647 w 73"/>
                  <a:gd name="T7" fmla="*/ 2147483647 h 77"/>
                  <a:gd name="T8" fmla="*/ 2147483647 w 73"/>
                  <a:gd name="T9" fmla="*/ 2147483647 h 77"/>
                  <a:gd name="T10" fmla="*/ 2147483647 w 73"/>
                  <a:gd name="T11" fmla="*/ 2147483647 h 77"/>
                  <a:gd name="T12" fmla="*/ 2147483647 w 73"/>
                  <a:gd name="T13" fmla="*/ 2147483647 h 77"/>
                  <a:gd name="T14" fmla="*/ 2147483647 w 73"/>
                  <a:gd name="T15" fmla="*/ 2147483647 h 77"/>
                  <a:gd name="T16" fmla="*/ 2147483647 w 73"/>
                  <a:gd name="T17" fmla="*/ 2147483647 h 77"/>
                  <a:gd name="T18" fmla="*/ 2147483647 w 73"/>
                  <a:gd name="T19" fmla="*/ 2147483647 h 7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73" h="77">
                    <a:moveTo>
                      <a:pt x="36" y="77"/>
                    </a:moveTo>
                    <a:cubicBezTo>
                      <a:pt x="17" y="77"/>
                      <a:pt x="0" y="65"/>
                      <a:pt x="0" y="38"/>
                    </a:cubicBezTo>
                    <a:cubicBezTo>
                      <a:pt x="0" y="12"/>
                      <a:pt x="17" y="0"/>
                      <a:pt x="36" y="0"/>
                    </a:cubicBezTo>
                    <a:cubicBezTo>
                      <a:pt x="55" y="0"/>
                      <a:pt x="73" y="12"/>
                      <a:pt x="73" y="38"/>
                    </a:cubicBezTo>
                    <a:cubicBezTo>
                      <a:pt x="73" y="65"/>
                      <a:pt x="55" y="77"/>
                      <a:pt x="36" y="77"/>
                    </a:cubicBezTo>
                    <a:close/>
                    <a:moveTo>
                      <a:pt x="36" y="16"/>
                    </a:moveTo>
                    <a:cubicBezTo>
                      <a:pt x="22" y="16"/>
                      <a:pt x="19" y="29"/>
                      <a:pt x="19" y="38"/>
                    </a:cubicBezTo>
                    <a:cubicBezTo>
                      <a:pt x="19" y="48"/>
                      <a:pt x="22" y="61"/>
                      <a:pt x="36" y="61"/>
                    </a:cubicBezTo>
                    <a:cubicBezTo>
                      <a:pt x="51" y="61"/>
                      <a:pt x="53" y="48"/>
                      <a:pt x="53" y="38"/>
                    </a:cubicBezTo>
                    <a:cubicBezTo>
                      <a:pt x="53" y="29"/>
                      <a:pt x="51" y="16"/>
                      <a:pt x="36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30" name="Freeform 12"/>
              <p:cNvSpPr>
                <a:spLocks/>
              </p:cNvSpPr>
              <p:nvPr userDrawn="1"/>
            </p:nvSpPr>
            <p:spPr bwMode="auto">
              <a:xfrm>
                <a:off x="485775" y="4656138"/>
                <a:ext cx="53975" cy="96838"/>
              </a:xfrm>
              <a:custGeom>
                <a:avLst/>
                <a:gdLst>
                  <a:gd name="T0" fmla="*/ 0 w 41"/>
                  <a:gd name="T1" fmla="*/ 2147483647 h 75"/>
                  <a:gd name="T2" fmla="*/ 2147483647 w 41"/>
                  <a:gd name="T3" fmla="*/ 2147483647 h 75"/>
                  <a:gd name="T4" fmla="*/ 2147483647 w 41"/>
                  <a:gd name="T5" fmla="*/ 2147483647 h 75"/>
                  <a:gd name="T6" fmla="*/ 2147483647 w 41"/>
                  <a:gd name="T7" fmla="*/ 0 h 75"/>
                  <a:gd name="T8" fmla="*/ 2147483647 w 41"/>
                  <a:gd name="T9" fmla="*/ 0 h 75"/>
                  <a:gd name="T10" fmla="*/ 2147483647 w 41"/>
                  <a:gd name="T11" fmla="*/ 2147483647 h 75"/>
                  <a:gd name="T12" fmla="*/ 2147483647 w 41"/>
                  <a:gd name="T13" fmla="*/ 2147483647 h 75"/>
                  <a:gd name="T14" fmla="*/ 2147483647 w 41"/>
                  <a:gd name="T15" fmla="*/ 2147483647 h 75"/>
                  <a:gd name="T16" fmla="*/ 2147483647 w 41"/>
                  <a:gd name="T17" fmla="*/ 2147483647 h 75"/>
                  <a:gd name="T18" fmla="*/ 0 w 41"/>
                  <a:gd name="T19" fmla="*/ 2147483647 h 75"/>
                  <a:gd name="T20" fmla="*/ 0 w 41"/>
                  <a:gd name="T21" fmla="*/ 2147483647 h 7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41" h="75">
                    <a:moveTo>
                      <a:pt x="0" y="2"/>
                    </a:moveTo>
                    <a:cubicBezTo>
                      <a:pt x="18" y="2"/>
                      <a:pt x="18" y="2"/>
                      <a:pt x="18" y="2"/>
                    </a:cubicBezTo>
                    <a:cubicBezTo>
                      <a:pt x="18" y="10"/>
                      <a:pt x="18" y="10"/>
                      <a:pt x="18" y="10"/>
                    </a:cubicBezTo>
                    <a:cubicBezTo>
                      <a:pt x="22" y="6"/>
                      <a:pt x="30" y="0"/>
                      <a:pt x="38" y="0"/>
                    </a:cubicBezTo>
                    <a:cubicBezTo>
                      <a:pt x="39" y="0"/>
                      <a:pt x="40" y="0"/>
                      <a:pt x="41" y="0"/>
                    </a:cubicBezTo>
                    <a:cubicBezTo>
                      <a:pt x="41" y="18"/>
                      <a:pt x="41" y="18"/>
                      <a:pt x="41" y="18"/>
                    </a:cubicBezTo>
                    <a:cubicBezTo>
                      <a:pt x="40" y="18"/>
                      <a:pt x="40" y="18"/>
                      <a:pt x="40" y="18"/>
                    </a:cubicBezTo>
                    <a:cubicBezTo>
                      <a:pt x="31" y="18"/>
                      <a:pt x="22" y="20"/>
                      <a:pt x="19" y="26"/>
                    </a:cubicBezTo>
                    <a:cubicBezTo>
                      <a:pt x="19" y="75"/>
                      <a:pt x="19" y="75"/>
                      <a:pt x="19" y="75"/>
                    </a:cubicBezTo>
                    <a:cubicBezTo>
                      <a:pt x="0" y="75"/>
                      <a:pt x="0" y="75"/>
                      <a:pt x="0" y="75"/>
                    </a:cubicBez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31" name="Freeform 13"/>
              <p:cNvSpPr>
                <a:spLocks noEditPoints="1"/>
              </p:cNvSpPr>
              <p:nvPr userDrawn="1"/>
            </p:nvSpPr>
            <p:spPr bwMode="auto">
              <a:xfrm>
                <a:off x="749300" y="4656138"/>
                <a:ext cx="88900" cy="133350"/>
              </a:xfrm>
              <a:custGeom>
                <a:avLst/>
                <a:gdLst>
                  <a:gd name="T0" fmla="*/ 2147483647 w 68"/>
                  <a:gd name="T1" fmla="*/ 2147483647 h 103"/>
                  <a:gd name="T2" fmla="*/ 2147483647 w 68"/>
                  <a:gd name="T3" fmla="*/ 2147483647 h 103"/>
                  <a:gd name="T4" fmla="*/ 2147483647 w 68"/>
                  <a:gd name="T5" fmla="*/ 2147483647 h 103"/>
                  <a:gd name="T6" fmla="*/ 2147483647 w 68"/>
                  <a:gd name="T7" fmla="*/ 2147483647 h 103"/>
                  <a:gd name="T8" fmla="*/ 2147483647 w 68"/>
                  <a:gd name="T9" fmla="*/ 2147483647 h 103"/>
                  <a:gd name="T10" fmla="*/ 2147483647 w 68"/>
                  <a:gd name="T11" fmla="*/ 2147483647 h 103"/>
                  <a:gd name="T12" fmla="*/ 2147483647 w 68"/>
                  <a:gd name="T13" fmla="*/ 2147483647 h 103"/>
                  <a:gd name="T14" fmla="*/ 2147483647 w 68"/>
                  <a:gd name="T15" fmla="*/ 2147483647 h 103"/>
                  <a:gd name="T16" fmla="*/ 2147483647 w 68"/>
                  <a:gd name="T17" fmla="*/ 2147483647 h 103"/>
                  <a:gd name="T18" fmla="*/ 2147483647 w 68"/>
                  <a:gd name="T19" fmla="*/ 2147483647 h 103"/>
                  <a:gd name="T20" fmla="*/ 2147483647 w 68"/>
                  <a:gd name="T21" fmla="*/ 2147483647 h 103"/>
                  <a:gd name="T22" fmla="*/ 2147483647 w 68"/>
                  <a:gd name="T23" fmla="*/ 2147483647 h 103"/>
                  <a:gd name="T24" fmla="*/ 2147483647 w 68"/>
                  <a:gd name="T25" fmla="*/ 2147483647 h 103"/>
                  <a:gd name="T26" fmla="*/ 2147483647 w 68"/>
                  <a:gd name="T27" fmla="*/ 2147483647 h 103"/>
                  <a:gd name="T28" fmla="*/ 2147483647 w 68"/>
                  <a:gd name="T29" fmla="*/ 2147483647 h 103"/>
                  <a:gd name="T30" fmla="*/ 0 w 68"/>
                  <a:gd name="T31" fmla="*/ 2147483647 h 103"/>
                  <a:gd name="T32" fmla="*/ 2147483647 w 68"/>
                  <a:gd name="T33" fmla="*/ 0 h 103"/>
                  <a:gd name="T34" fmla="*/ 2147483647 w 68"/>
                  <a:gd name="T35" fmla="*/ 2147483647 h 103"/>
                  <a:gd name="T36" fmla="*/ 2147483647 w 68"/>
                  <a:gd name="T37" fmla="*/ 2147483647 h 103"/>
                  <a:gd name="T38" fmla="*/ 2147483647 w 68"/>
                  <a:gd name="T39" fmla="*/ 2147483647 h 103"/>
                  <a:gd name="T40" fmla="*/ 2147483647 w 68"/>
                  <a:gd name="T41" fmla="*/ 2147483647 h 103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68" h="103">
                    <a:moveTo>
                      <a:pt x="34" y="59"/>
                    </a:moveTo>
                    <a:cubicBezTo>
                      <a:pt x="48" y="59"/>
                      <a:pt x="50" y="44"/>
                      <a:pt x="50" y="35"/>
                    </a:cubicBezTo>
                    <a:cubicBezTo>
                      <a:pt x="50" y="23"/>
                      <a:pt x="44" y="14"/>
                      <a:pt x="34" y="14"/>
                    </a:cubicBezTo>
                    <a:cubicBezTo>
                      <a:pt x="27" y="14"/>
                      <a:pt x="19" y="19"/>
                      <a:pt x="19" y="35"/>
                    </a:cubicBezTo>
                    <a:cubicBezTo>
                      <a:pt x="19" y="44"/>
                      <a:pt x="20" y="59"/>
                      <a:pt x="34" y="59"/>
                    </a:cubicBezTo>
                    <a:close/>
                    <a:moveTo>
                      <a:pt x="68" y="1"/>
                    </a:moveTo>
                    <a:cubicBezTo>
                      <a:pt x="68" y="71"/>
                      <a:pt x="68" y="71"/>
                      <a:pt x="68" y="71"/>
                    </a:cubicBezTo>
                    <a:cubicBezTo>
                      <a:pt x="68" y="83"/>
                      <a:pt x="67" y="103"/>
                      <a:pt x="32" y="103"/>
                    </a:cubicBezTo>
                    <a:cubicBezTo>
                      <a:pt x="18" y="103"/>
                      <a:pt x="5" y="98"/>
                      <a:pt x="2" y="85"/>
                    </a:cubicBezTo>
                    <a:cubicBezTo>
                      <a:pt x="21" y="82"/>
                      <a:pt x="21" y="82"/>
                      <a:pt x="21" y="82"/>
                    </a:cubicBezTo>
                    <a:cubicBezTo>
                      <a:pt x="22" y="86"/>
                      <a:pt x="24" y="89"/>
                      <a:pt x="35" y="89"/>
                    </a:cubicBezTo>
                    <a:cubicBezTo>
                      <a:pt x="45" y="89"/>
                      <a:pt x="49" y="84"/>
                      <a:pt x="49" y="73"/>
                    </a:cubicBezTo>
                    <a:cubicBezTo>
                      <a:pt x="49" y="65"/>
                      <a:pt x="49" y="65"/>
                      <a:pt x="49" y="65"/>
                    </a:cubicBezTo>
                    <a:cubicBezTo>
                      <a:pt x="49" y="64"/>
                      <a:pt x="49" y="64"/>
                      <a:pt x="49" y="64"/>
                    </a:cubicBezTo>
                    <a:cubicBezTo>
                      <a:pt x="46" y="70"/>
                      <a:pt x="41" y="75"/>
                      <a:pt x="30" y="75"/>
                    </a:cubicBezTo>
                    <a:cubicBezTo>
                      <a:pt x="13" y="75"/>
                      <a:pt x="0" y="63"/>
                      <a:pt x="0" y="38"/>
                    </a:cubicBezTo>
                    <a:cubicBezTo>
                      <a:pt x="0" y="14"/>
                      <a:pt x="14" y="0"/>
                      <a:pt x="29" y="0"/>
                    </a:cubicBezTo>
                    <a:cubicBezTo>
                      <a:pt x="44" y="0"/>
                      <a:pt x="49" y="7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2" y="1"/>
                      <a:pt x="52" y="1"/>
                      <a:pt x="52" y="1"/>
                    </a:cubicBezTo>
                    <a:lnTo>
                      <a:pt x="68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32" name="Freeform 14"/>
              <p:cNvSpPr>
                <a:spLocks noEditPoints="1"/>
              </p:cNvSpPr>
              <p:nvPr userDrawn="1"/>
            </p:nvSpPr>
            <p:spPr bwMode="auto">
              <a:xfrm>
                <a:off x="925513" y="4622801"/>
                <a:ext cx="65088" cy="30163"/>
              </a:xfrm>
              <a:custGeom>
                <a:avLst/>
                <a:gdLst>
                  <a:gd name="T0" fmla="*/ 2147483647 w 41"/>
                  <a:gd name="T1" fmla="*/ 2147483647 h 19"/>
                  <a:gd name="T2" fmla="*/ 2147483647 w 41"/>
                  <a:gd name="T3" fmla="*/ 2147483647 h 19"/>
                  <a:gd name="T4" fmla="*/ 2147483647 w 41"/>
                  <a:gd name="T5" fmla="*/ 2147483647 h 19"/>
                  <a:gd name="T6" fmla="*/ 2147483647 w 41"/>
                  <a:gd name="T7" fmla="*/ 2147483647 h 19"/>
                  <a:gd name="T8" fmla="*/ 2147483647 w 41"/>
                  <a:gd name="T9" fmla="*/ 2147483647 h 19"/>
                  <a:gd name="T10" fmla="*/ 0 w 41"/>
                  <a:gd name="T11" fmla="*/ 2147483647 h 19"/>
                  <a:gd name="T12" fmla="*/ 0 w 41"/>
                  <a:gd name="T13" fmla="*/ 0 h 19"/>
                  <a:gd name="T14" fmla="*/ 2147483647 w 41"/>
                  <a:gd name="T15" fmla="*/ 0 h 19"/>
                  <a:gd name="T16" fmla="*/ 2147483647 w 41"/>
                  <a:gd name="T17" fmla="*/ 2147483647 h 19"/>
                  <a:gd name="T18" fmla="*/ 2147483647 w 41"/>
                  <a:gd name="T19" fmla="*/ 2147483647 h 19"/>
                  <a:gd name="T20" fmla="*/ 2147483647 w 41"/>
                  <a:gd name="T21" fmla="*/ 2147483647 h 19"/>
                  <a:gd name="T22" fmla="*/ 2147483647 w 41"/>
                  <a:gd name="T23" fmla="*/ 2147483647 h 19"/>
                  <a:gd name="T24" fmla="*/ 2147483647 w 41"/>
                  <a:gd name="T25" fmla="*/ 2147483647 h 19"/>
                  <a:gd name="T26" fmla="*/ 2147483647 w 41"/>
                  <a:gd name="T27" fmla="*/ 2147483647 h 19"/>
                  <a:gd name="T28" fmla="*/ 2147483647 w 41"/>
                  <a:gd name="T29" fmla="*/ 2147483647 h 19"/>
                  <a:gd name="T30" fmla="*/ 2147483647 w 41"/>
                  <a:gd name="T31" fmla="*/ 2147483647 h 19"/>
                  <a:gd name="T32" fmla="*/ 2147483647 w 41"/>
                  <a:gd name="T33" fmla="*/ 2147483647 h 19"/>
                  <a:gd name="T34" fmla="*/ 2147483647 w 41"/>
                  <a:gd name="T35" fmla="*/ 2147483647 h 19"/>
                  <a:gd name="T36" fmla="*/ 2147483647 w 41"/>
                  <a:gd name="T37" fmla="*/ 2147483647 h 19"/>
                  <a:gd name="T38" fmla="*/ 2147483647 w 41"/>
                  <a:gd name="T39" fmla="*/ 0 h 19"/>
                  <a:gd name="T40" fmla="*/ 2147483647 w 41"/>
                  <a:gd name="T41" fmla="*/ 0 h 19"/>
                  <a:gd name="T42" fmla="*/ 2147483647 w 41"/>
                  <a:gd name="T43" fmla="*/ 2147483647 h 19"/>
                  <a:gd name="T44" fmla="*/ 2147483647 w 41"/>
                  <a:gd name="T45" fmla="*/ 0 h 19"/>
                  <a:gd name="T46" fmla="*/ 2147483647 w 41"/>
                  <a:gd name="T47" fmla="*/ 0 h 19"/>
                  <a:gd name="T48" fmla="*/ 2147483647 w 41"/>
                  <a:gd name="T49" fmla="*/ 2147483647 h 19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1" h="19">
                    <a:moveTo>
                      <a:pt x="15" y="2"/>
                    </a:moveTo>
                    <a:lnTo>
                      <a:pt x="9" y="2"/>
                    </a:lnTo>
                    <a:lnTo>
                      <a:pt x="9" y="19"/>
                    </a:lnTo>
                    <a:lnTo>
                      <a:pt x="5" y="19"/>
                    </a:lnTo>
                    <a:lnTo>
                      <a:pt x="5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15" y="2"/>
                    </a:lnTo>
                    <a:close/>
                    <a:moveTo>
                      <a:pt x="41" y="19"/>
                    </a:moveTo>
                    <a:lnTo>
                      <a:pt x="38" y="19"/>
                    </a:lnTo>
                    <a:lnTo>
                      <a:pt x="38" y="3"/>
                    </a:lnTo>
                    <a:lnTo>
                      <a:pt x="37" y="3"/>
                    </a:lnTo>
                    <a:lnTo>
                      <a:pt x="31" y="19"/>
                    </a:lnTo>
                    <a:lnTo>
                      <a:pt x="29" y="19"/>
                    </a:lnTo>
                    <a:lnTo>
                      <a:pt x="22" y="3"/>
                    </a:lnTo>
                    <a:lnTo>
                      <a:pt x="22" y="19"/>
                    </a:lnTo>
                    <a:lnTo>
                      <a:pt x="19" y="19"/>
                    </a:lnTo>
                    <a:lnTo>
                      <a:pt x="19" y="0"/>
                    </a:lnTo>
                    <a:lnTo>
                      <a:pt x="24" y="0"/>
                    </a:lnTo>
                    <a:lnTo>
                      <a:pt x="30" y="15"/>
                    </a:lnTo>
                    <a:lnTo>
                      <a:pt x="35" y="0"/>
                    </a:lnTo>
                    <a:lnTo>
                      <a:pt x="41" y="0"/>
                    </a:lnTo>
                    <a:lnTo>
                      <a:pt x="4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</p:grpSp>
        <p:grpSp>
          <p:nvGrpSpPr>
            <p:cNvPr id="8" name="Group 8"/>
            <p:cNvGrpSpPr>
              <a:grpSpLocks/>
            </p:cNvGrpSpPr>
            <p:nvPr userDrawn="1"/>
          </p:nvGrpSpPr>
          <p:grpSpPr bwMode="auto">
            <a:xfrm>
              <a:off x="1173163" y="4383088"/>
              <a:ext cx="1039813" cy="431800"/>
              <a:chOff x="1173163" y="4383088"/>
              <a:chExt cx="1039813" cy="431800"/>
            </a:xfrm>
          </p:grpSpPr>
          <p:sp>
            <p:nvSpPr>
              <p:cNvPr id="9" name="Freeform 15"/>
              <p:cNvSpPr>
                <a:spLocks noEditPoints="1"/>
              </p:cNvSpPr>
              <p:nvPr userDrawn="1"/>
            </p:nvSpPr>
            <p:spPr bwMode="auto">
              <a:xfrm>
                <a:off x="1184275" y="4383088"/>
                <a:ext cx="149225" cy="177800"/>
              </a:xfrm>
              <a:custGeom>
                <a:avLst/>
                <a:gdLst>
                  <a:gd name="T0" fmla="*/ 2147483647 w 116"/>
                  <a:gd name="T1" fmla="*/ 0 h 138"/>
                  <a:gd name="T2" fmla="*/ 2147483647 w 116"/>
                  <a:gd name="T3" fmla="*/ 2147483647 h 138"/>
                  <a:gd name="T4" fmla="*/ 2147483647 w 116"/>
                  <a:gd name="T5" fmla="*/ 2147483647 h 138"/>
                  <a:gd name="T6" fmla="*/ 2147483647 w 116"/>
                  <a:gd name="T7" fmla="*/ 2147483647 h 138"/>
                  <a:gd name="T8" fmla="*/ 2147483647 w 116"/>
                  <a:gd name="T9" fmla="*/ 2147483647 h 138"/>
                  <a:gd name="T10" fmla="*/ 2147483647 w 116"/>
                  <a:gd name="T11" fmla="*/ 2147483647 h 138"/>
                  <a:gd name="T12" fmla="*/ 2147483647 w 116"/>
                  <a:gd name="T13" fmla="*/ 2147483647 h 138"/>
                  <a:gd name="T14" fmla="*/ 2147483647 w 116"/>
                  <a:gd name="T15" fmla="*/ 2147483647 h 138"/>
                  <a:gd name="T16" fmla="*/ 2147483647 w 116"/>
                  <a:gd name="T17" fmla="*/ 2147483647 h 138"/>
                  <a:gd name="T18" fmla="*/ 2147483647 w 116"/>
                  <a:gd name="T19" fmla="*/ 2147483647 h 138"/>
                  <a:gd name="T20" fmla="*/ 2147483647 w 116"/>
                  <a:gd name="T21" fmla="*/ 2147483647 h 138"/>
                  <a:gd name="T22" fmla="*/ 2147483647 w 116"/>
                  <a:gd name="T23" fmla="*/ 2147483647 h 138"/>
                  <a:gd name="T24" fmla="*/ 2147483647 w 116"/>
                  <a:gd name="T25" fmla="*/ 2147483647 h 138"/>
                  <a:gd name="T26" fmla="*/ 0 w 116"/>
                  <a:gd name="T27" fmla="*/ 2147483647 h 138"/>
                  <a:gd name="T28" fmla="*/ 0 w 116"/>
                  <a:gd name="T29" fmla="*/ 0 h 138"/>
                  <a:gd name="T30" fmla="*/ 2147483647 w 116"/>
                  <a:gd name="T31" fmla="*/ 0 h 138"/>
                  <a:gd name="T32" fmla="*/ 2147483647 w 116"/>
                  <a:gd name="T33" fmla="*/ 2147483647 h 138"/>
                  <a:gd name="T34" fmla="*/ 2147483647 w 116"/>
                  <a:gd name="T35" fmla="*/ 2147483647 h 138"/>
                  <a:gd name="T36" fmla="*/ 2147483647 w 116"/>
                  <a:gd name="T37" fmla="*/ 2147483647 h 138"/>
                  <a:gd name="T38" fmla="*/ 2147483647 w 116"/>
                  <a:gd name="T39" fmla="*/ 2147483647 h 138"/>
                  <a:gd name="T40" fmla="*/ 2147483647 w 116"/>
                  <a:gd name="T41" fmla="*/ 2147483647 h 138"/>
                  <a:gd name="T42" fmla="*/ 2147483647 w 116"/>
                  <a:gd name="T43" fmla="*/ 2147483647 h 138"/>
                  <a:gd name="T44" fmla="*/ 2147483647 w 116"/>
                  <a:gd name="T45" fmla="*/ 2147483647 h 138"/>
                  <a:gd name="T46" fmla="*/ 2147483647 w 116"/>
                  <a:gd name="T47" fmla="*/ 2147483647 h 138"/>
                  <a:gd name="T48" fmla="*/ 2147483647 w 116"/>
                  <a:gd name="T49" fmla="*/ 2147483647 h 138"/>
                  <a:gd name="T50" fmla="*/ 2147483647 w 116"/>
                  <a:gd name="T51" fmla="*/ 2147483647 h 138"/>
                  <a:gd name="T52" fmla="*/ 2147483647 w 116"/>
                  <a:gd name="T53" fmla="*/ 2147483647 h 138"/>
                  <a:gd name="T54" fmla="*/ 2147483647 w 116"/>
                  <a:gd name="T55" fmla="*/ 2147483647 h 138"/>
                  <a:gd name="T56" fmla="*/ 2147483647 w 116"/>
                  <a:gd name="T57" fmla="*/ 2147483647 h 138"/>
                  <a:gd name="T58" fmla="*/ 2147483647 w 116"/>
                  <a:gd name="T59" fmla="*/ 2147483647 h 138"/>
                  <a:gd name="T60" fmla="*/ 2147483647 w 116"/>
                  <a:gd name="T61" fmla="*/ 2147483647 h 138"/>
                  <a:gd name="T62" fmla="*/ 2147483647 w 116"/>
                  <a:gd name="T63" fmla="*/ 2147483647 h 138"/>
                  <a:gd name="T64" fmla="*/ 2147483647 w 116"/>
                  <a:gd name="T65" fmla="*/ 2147483647 h 138"/>
                  <a:gd name="T66" fmla="*/ 2147483647 w 116"/>
                  <a:gd name="T67" fmla="*/ 2147483647 h 138"/>
                  <a:gd name="T68" fmla="*/ 2147483647 w 116"/>
                  <a:gd name="T69" fmla="*/ 2147483647 h 138"/>
                  <a:gd name="T70" fmla="*/ 2147483647 w 116"/>
                  <a:gd name="T71" fmla="*/ 2147483647 h 13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116" h="138">
                    <a:moveTo>
                      <a:pt x="65" y="0"/>
                    </a:moveTo>
                    <a:cubicBezTo>
                      <a:pt x="72" y="0"/>
                      <a:pt x="78" y="1"/>
                      <a:pt x="83" y="2"/>
                    </a:cubicBezTo>
                    <a:cubicBezTo>
                      <a:pt x="88" y="3"/>
                      <a:pt x="93" y="5"/>
                      <a:pt x="97" y="7"/>
                    </a:cubicBezTo>
                    <a:cubicBezTo>
                      <a:pt x="101" y="10"/>
                      <a:pt x="104" y="14"/>
                      <a:pt x="106" y="18"/>
                    </a:cubicBezTo>
                    <a:cubicBezTo>
                      <a:pt x="108" y="22"/>
                      <a:pt x="109" y="28"/>
                      <a:pt x="109" y="34"/>
                    </a:cubicBezTo>
                    <a:cubicBezTo>
                      <a:pt x="109" y="41"/>
                      <a:pt x="107" y="47"/>
                      <a:pt x="104" y="52"/>
                    </a:cubicBezTo>
                    <a:cubicBezTo>
                      <a:pt x="101" y="56"/>
                      <a:pt x="96" y="60"/>
                      <a:pt x="90" y="63"/>
                    </a:cubicBezTo>
                    <a:cubicBezTo>
                      <a:pt x="99" y="66"/>
                      <a:pt x="105" y="70"/>
                      <a:pt x="109" y="76"/>
                    </a:cubicBezTo>
                    <a:cubicBezTo>
                      <a:pt x="114" y="82"/>
                      <a:pt x="116" y="89"/>
                      <a:pt x="116" y="98"/>
                    </a:cubicBezTo>
                    <a:cubicBezTo>
                      <a:pt x="116" y="105"/>
                      <a:pt x="114" y="111"/>
                      <a:pt x="112" y="116"/>
                    </a:cubicBezTo>
                    <a:cubicBezTo>
                      <a:pt x="109" y="121"/>
                      <a:pt x="105" y="126"/>
                      <a:pt x="101" y="129"/>
                    </a:cubicBezTo>
                    <a:cubicBezTo>
                      <a:pt x="96" y="132"/>
                      <a:pt x="91" y="134"/>
                      <a:pt x="85" y="136"/>
                    </a:cubicBezTo>
                    <a:cubicBezTo>
                      <a:pt x="79" y="137"/>
                      <a:pt x="73" y="138"/>
                      <a:pt x="67" y="138"/>
                    </a:cubicBezTo>
                    <a:cubicBezTo>
                      <a:pt x="0" y="138"/>
                      <a:pt x="0" y="138"/>
                      <a:pt x="0" y="138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65" y="0"/>
                    </a:lnTo>
                    <a:close/>
                    <a:moveTo>
                      <a:pt x="61" y="56"/>
                    </a:moveTo>
                    <a:cubicBezTo>
                      <a:pt x="66" y="56"/>
                      <a:pt x="71" y="55"/>
                      <a:pt x="74" y="52"/>
                    </a:cubicBezTo>
                    <a:cubicBezTo>
                      <a:pt x="78" y="49"/>
                      <a:pt x="80" y="45"/>
                      <a:pt x="80" y="39"/>
                    </a:cubicBezTo>
                    <a:cubicBezTo>
                      <a:pt x="80" y="36"/>
                      <a:pt x="79" y="34"/>
                      <a:pt x="78" y="32"/>
                    </a:cubicBezTo>
                    <a:cubicBezTo>
                      <a:pt x="77" y="29"/>
                      <a:pt x="75" y="28"/>
                      <a:pt x="73" y="27"/>
                    </a:cubicBezTo>
                    <a:cubicBezTo>
                      <a:pt x="71" y="26"/>
                      <a:pt x="69" y="25"/>
                      <a:pt x="67" y="24"/>
                    </a:cubicBezTo>
                    <a:cubicBezTo>
                      <a:pt x="64" y="24"/>
                      <a:pt x="61" y="24"/>
                      <a:pt x="59" y="24"/>
                    </a:cubicBezTo>
                    <a:cubicBezTo>
                      <a:pt x="30" y="24"/>
                      <a:pt x="30" y="24"/>
                      <a:pt x="30" y="24"/>
                    </a:cubicBezTo>
                    <a:cubicBezTo>
                      <a:pt x="30" y="56"/>
                      <a:pt x="30" y="56"/>
                      <a:pt x="30" y="56"/>
                    </a:cubicBezTo>
                    <a:lnTo>
                      <a:pt x="61" y="56"/>
                    </a:lnTo>
                    <a:close/>
                    <a:moveTo>
                      <a:pt x="63" y="115"/>
                    </a:moveTo>
                    <a:cubicBezTo>
                      <a:pt x="66" y="115"/>
                      <a:pt x="69" y="114"/>
                      <a:pt x="71" y="114"/>
                    </a:cubicBezTo>
                    <a:cubicBezTo>
                      <a:pt x="74" y="113"/>
                      <a:pt x="76" y="112"/>
                      <a:pt x="78" y="111"/>
                    </a:cubicBezTo>
                    <a:cubicBezTo>
                      <a:pt x="81" y="109"/>
                      <a:pt x="82" y="108"/>
                      <a:pt x="83" y="105"/>
                    </a:cubicBezTo>
                    <a:cubicBezTo>
                      <a:pt x="85" y="103"/>
                      <a:pt x="85" y="100"/>
                      <a:pt x="85" y="96"/>
                    </a:cubicBezTo>
                    <a:cubicBezTo>
                      <a:pt x="85" y="89"/>
                      <a:pt x="83" y="84"/>
                      <a:pt x="79" y="81"/>
                    </a:cubicBezTo>
                    <a:cubicBezTo>
                      <a:pt x="75" y="78"/>
                      <a:pt x="70" y="77"/>
                      <a:pt x="63" y="77"/>
                    </a:cubicBezTo>
                    <a:cubicBezTo>
                      <a:pt x="30" y="77"/>
                      <a:pt x="30" y="77"/>
                      <a:pt x="30" y="77"/>
                    </a:cubicBezTo>
                    <a:cubicBezTo>
                      <a:pt x="30" y="115"/>
                      <a:pt x="30" y="115"/>
                      <a:pt x="30" y="115"/>
                    </a:cubicBezTo>
                    <a:lnTo>
                      <a:pt x="63" y="11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0" name="Freeform 16"/>
              <p:cNvSpPr>
                <a:spLocks/>
              </p:cNvSpPr>
              <p:nvPr userDrawn="1"/>
            </p:nvSpPr>
            <p:spPr bwMode="auto">
              <a:xfrm>
                <a:off x="1352550" y="4432301"/>
                <a:ext cx="120650" cy="131763"/>
              </a:xfrm>
              <a:custGeom>
                <a:avLst/>
                <a:gdLst>
                  <a:gd name="T0" fmla="*/ 2147483647 w 94"/>
                  <a:gd name="T1" fmla="*/ 2147483647 h 103"/>
                  <a:gd name="T2" fmla="*/ 2147483647 w 94"/>
                  <a:gd name="T3" fmla="*/ 2147483647 h 103"/>
                  <a:gd name="T4" fmla="*/ 2147483647 w 94"/>
                  <a:gd name="T5" fmla="*/ 2147483647 h 103"/>
                  <a:gd name="T6" fmla="*/ 2147483647 w 94"/>
                  <a:gd name="T7" fmla="*/ 2147483647 h 103"/>
                  <a:gd name="T8" fmla="*/ 2147483647 w 94"/>
                  <a:gd name="T9" fmla="*/ 2147483647 h 103"/>
                  <a:gd name="T10" fmla="*/ 2147483647 w 94"/>
                  <a:gd name="T11" fmla="*/ 2147483647 h 103"/>
                  <a:gd name="T12" fmla="*/ 2147483647 w 94"/>
                  <a:gd name="T13" fmla="*/ 2147483647 h 103"/>
                  <a:gd name="T14" fmla="*/ 2147483647 w 94"/>
                  <a:gd name="T15" fmla="*/ 2147483647 h 103"/>
                  <a:gd name="T16" fmla="*/ 0 w 94"/>
                  <a:gd name="T17" fmla="*/ 2147483647 h 103"/>
                  <a:gd name="T18" fmla="*/ 0 w 94"/>
                  <a:gd name="T19" fmla="*/ 0 h 103"/>
                  <a:gd name="T20" fmla="*/ 2147483647 w 94"/>
                  <a:gd name="T21" fmla="*/ 0 h 103"/>
                  <a:gd name="T22" fmla="*/ 2147483647 w 94"/>
                  <a:gd name="T23" fmla="*/ 2147483647 h 103"/>
                  <a:gd name="T24" fmla="*/ 2147483647 w 94"/>
                  <a:gd name="T25" fmla="*/ 2147483647 h 103"/>
                  <a:gd name="T26" fmla="*/ 2147483647 w 94"/>
                  <a:gd name="T27" fmla="*/ 2147483647 h 103"/>
                  <a:gd name="T28" fmla="*/ 2147483647 w 94"/>
                  <a:gd name="T29" fmla="*/ 2147483647 h 103"/>
                  <a:gd name="T30" fmla="*/ 2147483647 w 94"/>
                  <a:gd name="T31" fmla="*/ 2147483647 h 103"/>
                  <a:gd name="T32" fmla="*/ 2147483647 w 94"/>
                  <a:gd name="T33" fmla="*/ 0 h 103"/>
                  <a:gd name="T34" fmla="*/ 2147483647 w 94"/>
                  <a:gd name="T35" fmla="*/ 0 h 103"/>
                  <a:gd name="T36" fmla="*/ 2147483647 w 94"/>
                  <a:gd name="T37" fmla="*/ 2147483647 h 103"/>
                  <a:gd name="T38" fmla="*/ 2147483647 w 94"/>
                  <a:gd name="T39" fmla="*/ 2147483647 h 10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94" h="103">
                    <a:moveTo>
                      <a:pt x="68" y="100"/>
                    </a:moveTo>
                    <a:cubicBezTo>
                      <a:pt x="68" y="86"/>
                      <a:pt x="68" y="86"/>
                      <a:pt x="68" y="86"/>
                    </a:cubicBezTo>
                    <a:cubicBezTo>
                      <a:pt x="67" y="86"/>
                      <a:pt x="67" y="86"/>
                      <a:pt x="67" y="86"/>
                    </a:cubicBezTo>
                    <a:cubicBezTo>
                      <a:pt x="64" y="92"/>
                      <a:pt x="59" y="96"/>
                      <a:pt x="53" y="99"/>
                    </a:cubicBezTo>
                    <a:cubicBezTo>
                      <a:pt x="48" y="101"/>
                      <a:pt x="42" y="103"/>
                      <a:pt x="36" y="103"/>
                    </a:cubicBezTo>
                    <a:cubicBezTo>
                      <a:pt x="29" y="103"/>
                      <a:pt x="23" y="102"/>
                      <a:pt x="18" y="100"/>
                    </a:cubicBezTo>
                    <a:cubicBezTo>
                      <a:pt x="14" y="98"/>
                      <a:pt x="10" y="95"/>
                      <a:pt x="7" y="92"/>
                    </a:cubicBezTo>
                    <a:cubicBezTo>
                      <a:pt x="4" y="88"/>
                      <a:pt x="3" y="84"/>
                      <a:pt x="1" y="79"/>
                    </a:cubicBezTo>
                    <a:cubicBezTo>
                      <a:pt x="0" y="74"/>
                      <a:pt x="0" y="68"/>
                      <a:pt x="0" y="6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27" y="57"/>
                      <a:pt x="27" y="57"/>
                      <a:pt x="27" y="57"/>
                    </a:cubicBezTo>
                    <a:cubicBezTo>
                      <a:pt x="27" y="65"/>
                      <a:pt x="29" y="71"/>
                      <a:pt x="31" y="75"/>
                    </a:cubicBezTo>
                    <a:cubicBezTo>
                      <a:pt x="34" y="79"/>
                      <a:pt x="38" y="81"/>
                      <a:pt x="45" y="81"/>
                    </a:cubicBezTo>
                    <a:cubicBezTo>
                      <a:pt x="52" y="81"/>
                      <a:pt x="58" y="79"/>
                      <a:pt x="61" y="75"/>
                    </a:cubicBezTo>
                    <a:cubicBezTo>
                      <a:pt x="65" y="70"/>
                      <a:pt x="66" y="63"/>
                      <a:pt x="66" y="53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94" y="0"/>
                      <a:pt x="94" y="0"/>
                      <a:pt x="94" y="0"/>
                    </a:cubicBezTo>
                    <a:cubicBezTo>
                      <a:pt x="94" y="100"/>
                      <a:pt x="94" y="100"/>
                      <a:pt x="94" y="100"/>
                    </a:cubicBezTo>
                    <a:lnTo>
                      <a:pt x="68" y="10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1" name="Freeform 17"/>
              <p:cNvSpPr>
                <a:spLocks/>
              </p:cNvSpPr>
              <p:nvPr userDrawn="1"/>
            </p:nvSpPr>
            <p:spPr bwMode="auto">
              <a:xfrm>
                <a:off x="1489075" y="4427538"/>
                <a:ext cx="120650" cy="136525"/>
              </a:xfrm>
              <a:custGeom>
                <a:avLst/>
                <a:gdLst>
                  <a:gd name="T0" fmla="*/ 2147483647 w 93"/>
                  <a:gd name="T1" fmla="*/ 2147483647 h 106"/>
                  <a:gd name="T2" fmla="*/ 2147483647 w 93"/>
                  <a:gd name="T3" fmla="*/ 2147483647 h 106"/>
                  <a:gd name="T4" fmla="*/ 2147483647 w 93"/>
                  <a:gd name="T5" fmla="*/ 2147483647 h 106"/>
                  <a:gd name="T6" fmla="*/ 2147483647 w 93"/>
                  <a:gd name="T7" fmla="*/ 2147483647 h 106"/>
                  <a:gd name="T8" fmla="*/ 2147483647 w 93"/>
                  <a:gd name="T9" fmla="*/ 2147483647 h 106"/>
                  <a:gd name="T10" fmla="*/ 2147483647 w 93"/>
                  <a:gd name="T11" fmla="*/ 2147483647 h 106"/>
                  <a:gd name="T12" fmla="*/ 2147483647 w 93"/>
                  <a:gd name="T13" fmla="*/ 2147483647 h 106"/>
                  <a:gd name="T14" fmla="*/ 2147483647 w 93"/>
                  <a:gd name="T15" fmla="*/ 2147483647 h 106"/>
                  <a:gd name="T16" fmla="*/ 2147483647 w 93"/>
                  <a:gd name="T17" fmla="*/ 2147483647 h 106"/>
                  <a:gd name="T18" fmla="*/ 2147483647 w 93"/>
                  <a:gd name="T19" fmla="*/ 2147483647 h 106"/>
                  <a:gd name="T20" fmla="*/ 2147483647 w 93"/>
                  <a:gd name="T21" fmla="*/ 2147483647 h 106"/>
                  <a:gd name="T22" fmla="*/ 2147483647 w 93"/>
                  <a:gd name="T23" fmla="*/ 2147483647 h 106"/>
                  <a:gd name="T24" fmla="*/ 2147483647 w 93"/>
                  <a:gd name="T25" fmla="*/ 2147483647 h 106"/>
                  <a:gd name="T26" fmla="*/ 2147483647 w 93"/>
                  <a:gd name="T27" fmla="*/ 2147483647 h 106"/>
                  <a:gd name="T28" fmla="*/ 2147483647 w 93"/>
                  <a:gd name="T29" fmla="*/ 2147483647 h 106"/>
                  <a:gd name="T30" fmla="*/ 2147483647 w 93"/>
                  <a:gd name="T31" fmla="*/ 2147483647 h 106"/>
                  <a:gd name="T32" fmla="*/ 2147483647 w 93"/>
                  <a:gd name="T33" fmla="*/ 2147483647 h 106"/>
                  <a:gd name="T34" fmla="*/ 2147483647 w 93"/>
                  <a:gd name="T35" fmla="*/ 0 h 106"/>
                  <a:gd name="T36" fmla="*/ 2147483647 w 93"/>
                  <a:gd name="T37" fmla="*/ 2147483647 h 106"/>
                  <a:gd name="T38" fmla="*/ 2147483647 w 93"/>
                  <a:gd name="T39" fmla="*/ 2147483647 h 106"/>
                  <a:gd name="T40" fmla="*/ 2147483647 w 93"/>
                  <a:gd name="T41" fmla="*/ 2147483647 h 106"/>
                  <a:gd name="T42" fmla="*/ 2147483647 w 93"/>
                  <a:gd name="T43" fmla="*/ 2147483647 h 106"/>
                  <a:gd name="T44" fmla="*/ 2147483647 w 93"/>
                  <a:gd name="T45" fmla="*/ 2147483647 h 106"/>
                  <a:gd name="T46" fmla="*/ 2147483647 w 93"/>
                  <a:gd name="T47" fmla="*/ 2147483647 h 106"/>
                  <a:gd name="T48" fmla="*/ 2147483647 w 93"/>
                  <a:gd name="T49" fmla="*/ 2147483647 h 106"/>
                  <a:gd name="T50" fmla="*/ 2147483647 w 93"/>
                  <a:gd name="T51" fmla="*/ 2147483647 h 106"/>
                  <a:gd name="T52" fmla="*/ 2147483647 w 93"/>
                  <a:gd name="T53" fmla="*/ 2147483647 h 106"/>
                  <a:gd name="T54" fmla="*/ 2147483647 w 93"/>
                  <a:gd name="T55" fmla="*/ 2147483647 h 106"/>
                  <a:gd name="T56" fmla="*/ 2147483647 w 93"/>
                  <a:gd name="T57" fmla="*/ 2147483647 h 106"/>
                  <a:gd name="T58" fmla="*/ 2147483647 w 93"/>
                  <a:gd name="T59" fmla="*/ 2147483647 h 106"/>
                  <a:gd name="T60" fmla="*/ 2147483647 w 93"/>
                  <a:gd name="T61" fmla="*/ 2147483647 h 106"/>
                  <a:gd name="T62" fmla="*/ 2147483647 w 93"/>
                  <a:gd name="T63" fmla="*/ 2147483647 h 106"/>
                  <a:gd name="T64" fmla="*/ 2147483647 w 93"/>
                  <a:gd name="T65" fmla="*/ 2147483647 h 106"/>
                  <a:gd name="T66" fmla="*/ 2147483647 w 93"/>
                  <a:gd name="T67" fmla="*/ 2147483647 h 106"/>
                  <a:gd name="T68" fmla="*/ 2147483647 w 93"/>
                  <a:gd name="T69" fmla="*/ 2147483647 h 106"/>
                  <a:gd name="T70" fmla="*/ 2147483647 w 93"/>
                  <a:gd name="T71" fmla="*/ 2147483647 h 106"/>
                  <a:gd name="T72" fmla="*/ 2147483647 w 93"/>
                  <a:gd name="T73" fmla="*/ 2147483647 h 106"/>
                  <a:gd name="T74" fmla="*/ 2147483647 w 93"/>
                  <a:gd name="T75" fmla="*/ 2147483647 h 106"/>
                  <a:gd name="T76" fmla="*/ 2147483647 w 93"/>
                  <a:gd name="T77" fmla="*/ 2147483647 h 106"/>
                  <a:gd name="T78" fmla="*/ 2147483647 w 93"/>
                  <a:gd name="T79" fmla="*/ 2147483647 h 106"/>
                  <a:gd name="T80" fmla="*/ 2147483647 w 93"/>
                  <a:gd name="T81" fmla="*/ 2147483647 h 106"/>
                  <a:gd name="T82" fmla="*/ 2147483647 w 93"/>
                  <a:gd name="T83" fmla="*/ 2147483647 h 106"/>
                  <a:gd name="T84" fmla="*/ 2147483647 w 93"/>
                  <a:gd name="T85" fmla="*/ 2147483647 h 106"/>
                  <a:gd name="T86" fmla="*/ 2147483647 w 93"/>
                  <a:gd name="T87" fmla="*/ 2147483647 h 106"/>
                  <a:gd name="T88" fmla="*/ 0 w 93"/>
                  <a:gd name="T89" fmla="*/ 2147483647 h 106"/>
                  <a:gd name="T90" fmla="*/ 2147483647 w 93"/>
                  <a:gd name="T91" fmla="*/ 2147483647 h 106"/>
                  <a:gd name="T92" fmla="*/ 2147483647 w 93"/>
                  <a:gd name="T93" fmla="*/ 2147483647 h 10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93" h="106">
                    <a:moveTo>
                      <a:pt x="28" y="78"/>
                    </a:moveTo>
                    <a:cubicBezTo>
                      <a:pt x="29" y="80"/>
                      <a:pt x="31" y="82"/>
                      <a:pt x="33" y="84"/>
                    </a:cubicBezTo>
                    <a:cubicBezTo>
                      <a:pt x="35" y="85"/>
                      <a:pt x="37" y="86"/>
                      <a:pt x="40" y="87"/>
                    </a:cubicBezTo>
                    <a:cubicBezTo>
                      <a:pt x="42" y="87"/>
                      <a:pt x="45" y="88"/>
                      <a:pt x="47" y="88"/>
                    </a:cubicBezTo>
                    <a:cubicBezTo>
                      <a:pt x="49" y="88"/>
                      <a:pt x="51" y="87"/>
                      <a:pt x="54" y="87"/>
                    </a:cubicBezTo>
                    <a:cubicBezTo>
                      <a:pt x="56" y="86"/>
                      <a:pt x="58" y="86"/>
                      <a:pt x="59" y="85"/>
                    </a:cubicBezTo>
                    <a:cubicBezTo>
                      <a:pt x="61" y="84"/>
                      <a:pt x="63" y="82"/>
                      <a:pt x="64" y="81"/>
                    </a:cubicBezTo>
                    <a:cubicBezTo>
                      <a:pt x="65" y="79"/>
                      <a:pt x="65" y="77"/>
                      <a:pt x="65" y="75"/>
                    </a:cubicBezTo>
                    <a:cubicBezTo>
                      <a:pt x="65" y="71"/>
                      <a:pt x="63" y="68"/>
                      <a:pt x="57" y="65"/>
                    </a:cubicBezTo>
                    <a:cubicBezTo>
                      <a:pt x="52" y="63"/>
                      <a:pt x="44" y="61"/>
                      <a:pt x="34" y="59"/>
                    </a:cubicBezTo>
                    <a:cubicBezTo>
                      <a:pt x="30" y="58"/>
                      <a:pt x="26" y="57"/>
                      <a:pt x="23" y="56"/>
                    </a:cubicBezTo>
                    <a:cubicBezTo>
                      <a:pt x="19" y="55"/>
                      <a:pt x="15" y="53"/>
                      <a:pt x="12" y="51"/>
                    </a:cubicBezTo>
                    <a:cubicBezTo>
                      <a:pt x="9" y="49"/>
                      <a:pt x="7" y="47"/>
                      <a:pt x="5" y="44"/>
                    </a:cubicBezTo>
                    <a:cubicBezTo>
                      <a:pt x="3" y="41"/>
                      <a:pt x="3" y="37"/>
                      <a:pt x="3" y="33"/>
                    </a:cubicBezTo>
                    <a:cubicBezTo>
                      <a:pt x="3" y="26"/>
                      <a:pt x="4" y="21"/>
                      <a:pt x="6" y="17"/>
                    </a:cubicBezTo>
                    <a:cubicBezTo>
                      <a:pt x="9" y="13"/>
                      <a:pt x="12" y="9"/>
                      <a:pt x="16" y="7"/>
                    </a:cubicBezTo>
                    <a:cubicBezTo>
                      <a:pt x="20" y="4"/>
                      <a:pt x="25" y="3"/>
                      <a:pt x="30" y="2"/>
                    </a:cubicBezTo>
                    <a:cubicBezTo>
                      <a:pt x="35" y="1"/>
                      <a:pt x="41" y="0"/>
                      <a:pt x="46" y="0"/>
                    </a:cubicBezTo>
                    <a:cubicBezTo>
                      <a:pt x="52" y="0"/>
                      <a:pt x="57" y="1"/>
                      <a:pt x="62" y="2"/>
                    </a:cubicBezTo>
                    <a:cubicBezTo>
                      <a:pt x="67" y="3"/>
                      <a:pt x="72" y="5"/>
                      <a:pt x="76" y="7"/>
                    </a:cubicBezTo>
                    <a:cubicBezTo>
                      <a:pt x="80" y="10"/>
                      <a:pt x="83" y="13"/>
                      <a:pt x="86" y="17"/>
                    </a:cubicBezTo>
                    <a:cubicBezTo>
                      <a:pt x="88" y="21"/>
                      <a:pt x="90" y="26"/>
                      <a:pt x="90" y="32"/>
                    </a:cubicBezTo>
                    <a:cubicBezTo>
                      <a:pt x="64" y="32"/>
                      <a:pt x="64" y="32"/>
                      <a:pt x="64" y="32"/>
                    </a:cubicBezTo>
                    <a:cubicBezTo>
                      <a:pt x="64" y="27"/>
                      <a:pt x="62" y="23"/>
                      <a:pt x="58" y="22"/>
                    </a:cubicBezTo>
                    <a:cubicBezTo>
                      <a:pt x="54" y="20"/>
                      <a:pt x="50" y="19"/>
                      <a:pt x="45" y="19"/>
                    </a:cubicBezTo>
                    <a:cubicBezTo>
                      <a:pt x="44" y="19"/>
                      <a:pt x="42" y="19"/>
                      <a:pt x="40" y="19"/>
                    </a:cubicBezTo>
                    <a:cubicBezTo>
                      <a:pt x="38" y="19"/>
                      <a:pt x="37" y="20"/>
                      <a:pt x="35" y="20"/>
                    </a:cubicBezTo>
                    <a:cubicBezTo>
                      <a:pt x="34" y="21"/>
                      <a:pt x="33" y="22"/>
                      <a:pt x="32" y="23"/>
                    </a:cubicBezTo>
                    <a:cubicBezTo>
                      <a:pt x="31" y="24"/>
                      <a:pt x="30" y="26"/>
                      <a:pt x="30" y="28"/>
                    </a:cubicBezTo>
                    <a:cubicBezTo>
                      <a:pt x="30" y="31"/>
                      <a:pt x="31" y="33"/>
                      <a:pt x="33" y="34"/>
                    </a:cubicBezTo>
                    <a:cubicBezTo>
                      <a:pt x="35" y="36"/>
                      <a:pt x="37" y="37"/>
                      <a:pt x="40" y="38"/>
                    </a:cubicBezTo>
                    <a:cubicBezTo>
                      <a:pt x="43" y="39"/>
                      <a:pt x="46" y="40"/>
                      <a:pt x="50" y="40"/>
                    </a:cubicBezTo>
                    <a:cubicBezTo>
                      <a:pt x="54" y="41"/>
                      <a:pt x="57" y="42"/>
                      <a:pt x="61" y="43"/>
                    </a:cubicBezTo>
                    <a:cubicBezTo>
                      <a:pt x="65" y="44"/>
                      <a:pt x="69" y="45"/>
                      <a:pt x="73" y="46"/>
                    </a:cubicBezTo>
                    <a:cubicBezTo>
                      <a:pt x="77" y="48"/>
                      <a:pt x="80" y="49"/>
                      <a:pt x="83" y="51"/>
                    </a:cubicBezTo>
                    <a:cubicBezTo>
                      <a:pt x="86" y="54"/>
                      <a:pt x="88" y="56"/>
                      <a:pt x="90" y="59"/>
                    </a:cubicBezTo>
                    <a:cubicBezTo>
                      <a:pt x="92" y="63"/>
                      <a:pt x="93" y="66"/>
                      <a:pt x="93" y="71"/>
                    </a:cubicBezTo>
                    <a:cubicBezTo>
                      <a:pt x="93" y="78"/>
                      <a:pt x="92" y="83"/>
                      <a:pt x="89" y="88"/>
                    </a:cubicBezTo>
                    <a:cubicBezTo>
                      <a:pt x="86" y="92"/>
                      <a:pt x="83" y="96"/>
                      <a:pt x="79" y="98"/>
                    </a:cubicBezTo>
                    <a:cubicBezTo>
                      <a:pt x="74" y="101"/>
                      <a:pt x="69" y="103"/>
                      <a:pt x="64" y="104"/>
                    </a:cubicBezTo>
                    <a:cubicBezTo>
                      <a:pt x="59" y="105"/>
                      <a:pt x="53" y="106"/>
                      <a:pt x="47" y="106"/>
                    </a:cubicBezTo>
                    <a:cubicBezTo>
                      <a:pt x="41" y="106"/>
                      <a:pt x="36" y="105"/>
                      <a:pt x="30" y="104"/>
                    </a:cubicBezTo>
                    <a:cubicBezTo>
                      <a:pt x="25" y="103"/>
                      <a:pt x="20" y="101"/>
                      <a:pt x="15" y="98"/>
                    </a:cubicBezTo>
                    <a:cubicBezTo>
                      <a:pt x="11" y="95"/>
                      <a:pt x="8" y="92"/>
                      <a:pt x="5" y="87"/>
                    </a:cubicBezTo>
                    <a:cubicBezTo>
                      <a:pt x="2" y="83"/>
                      <a:pt x="0" y="77"/>
                      <a:pt x="0" y="71"/>
                    </a:cubicBezTo>
                    <a:cubicBezTo>
                      <a:pt x="26" y="71"/>
                      <a:pt x="26" y="71"/>
                      <a:pt x="26" y="71"/>
                    </a:cubicBezTo>
                    <a:cubicBezTo>
                      <a:pt x="26" y="74"/>
                      <a:pt x="27" y="76"/>
                      <a:pt x="28" y="7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" name="Freeform 18"/>
              <p:cNvSpPr>
                <a:spLocks noEditPoints="1"/>
              </p:cNvSpPr>
              <p:nvPr userDrawn="1"/>
            </p:nvSpPr>
            <p:spPr bwMode="auto">
              <a:xfrm>
                <a:off x="1627188" y="4383088"/>
                <a:ext cx="36513" cy="177800"/>
              </a:xfrm>
              <a:custGeom>
                <a:avLst/>
                <a:gdLst>
                  <a:gd name="T0" fmla="*/ 0 w 23"/>
                  <a:gd name="T1" fmla="*/ 2147483647 h 112"/>
                  <a:gd name="T2" fmla="*/ 0 w 23"/>
                  <a:gd name="T3" fmla="*/ 0 h 112"/>
                  <a:gd name="T4" fmla="*/ 2147483647 w 23"/>
                  <a:gd name="T5" fmla="*/ 0 h 112"/>
                  <a:gd name="T6" fmla="*/ 2147483647 w 23"/>
                  <a:gd name="T7" fmla="*/ 2147483647 h 112"/>
                  <a:gd name="T8" fmla="*/ 0 w 23"/>
                  <a:gd name="T9" fmla="*/ 2147483647 h 112"/>
                  <a:gd name="T10" fmla="*/ 2147483647 w 23"/>
                  <a:gd name="T11" fmla="*/ 2147483647 h 112"/>
                  <a:gd name="T12" fmla="*/ 2147483647 w 23"/>
                  <a:gd name="T13" fmla="*/ 2147483647 h 112"/>
                  <a:gd name="T14" fmla="*/ 0 w 23"/>
                  <a:gd name="T15" fmla="*/ 2147483647 h 112"/>
                  <a:gd name="T16" fmla="*/ 0 w 23"/>
                  <a:gd name="T17" fmla="*/ 2147483647 h 112"/>
                  <a:gd name="T18" fmla="*/ 2147483647 w 23"/>
                  <a:gd name="T19" fmla="*/ 2147483647 h 11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3" h="112">
                    <a:moveTo>
                      <a:pt x="0" y="18"/>
                    </a:moveTo>
                    <a:lnTo>
                      <a:pt x="0" y="0"/>
                    </a:lnTo>
                    <a:lnTo>
                      <a:pt x="23" y="0"/>
                    </a:lnTo>
                    <a:lnTo>
                      <a:pt x="23" y="18"/>
                    </a:lnTo>
                    <a:lnTo>
                      <a:pt x="0" y="18"/>
                    </a:lnTo>
                    <a:close/>
                    <a:moveTo>
                      <a:pt x="23" y="31"/>
                    </a:moveTo>
                    <a:lnTo>
                      <a:pt x="23" y="112"/>
                    </a:lnTo>
                    <a:lnTo>
                      <a:pt x="0" y="112"/>
                    </a:lnTo>
                    <a:lnTo>
                      <a:pt x="0" y="31"/>
                    </a:lnTo>
                    <a:lnTo>
                      <a:pt x="23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3" name="Freeform 19"/>
              <p:cNvSpPr>
                <a:spLocks/>
              </p:cNvSpPr>
              <p:nvPr userDrawn="1"/>
            </p:nvSpPr>
            <p:spPr bwMode="auto">
              <a:xfrm>
                <a:off x="1685925" y="4427538"/>
                <a:ext cx="122238" cy="133350"/>
              </a:xfrm>
              <a:custGeom>
                <a:avLst/>
                <a:gdLst>
                  <a:gd name="T0" fmla="*/ 2147483647 w 94"/>
                  <a:gd name="T1" fmla="*/ 2147483647 h 103"/>
                  <a:gd name="T2" fmla="*/ 2147483647 w 94"/>
                  <a:gd name="T3" fmla="*/ 2147483647 h 103"/>
                  <a:gd name="T4" fmla="*/ 2147483647 w 94"/>
                  <a:gd name="T5" fmla="*/ 2147483647 h 103"/>
                  <a:gd name="T6" fmla="*/ 2147483647 w 94"/>
                  <a:gd name="T7" fmla="*/ 2147483647 h 103"/>
                  <a:gd name="T8" fmla="*/ 2147483647 w 94"/>
                  <a:gd name="T9" fmla="*/ 0 h 103"/>
                  <a:gd name="T10" fmla="*/ 2147483647 w 94"/>
                  <a:gd name="T11" fmla="*/ 2147483647 h 103"/>
                  <a:gd name="T12" fmla="*/ 2147483647 w 94"/>
                  <a:gd name="T13" fmla="*/ 2147483647 h 103"/>
                  <a:gd name="T14" fmla="*/ 2147483647 w 94"/>
                  <a:gd name="T15" fmla="*/ 2147483647 h 103"/>
                  <a:gd name="T16" fmla="*/ 2147483647 w 94"/>
                  <a:gd name="T17" fmla="*/ 2147483647 h 103"/>
                  <a:gd name="T18" fmla="*/ 2147483647 w 94"/>
                  <a:gd name="T19" fmla="*/ 2147483647 h 103"/>
                  <a:gd name="T20" fmla="*/ 2147483647 w 94"/>
                  <a:gd name="T21" fmla="*/ 2147483647 h 103"/>
                  <a:gd name="T22" fmla="*/ 2147483647 w 94"/>
                  <a:gd name="T23" fmla="*/ 2147483647 h 103"/>
                  <a:gd name="T24" fmla="*/ 2147483647 w 94"/>
                  <a:gd name="T25" fmla="*/ 2147483647 h 103"/>
                  <a:gd name="T26" fmla="*/ 2147483647 w 94"/>
                  <a:gd name="T27" fmla="*/ 2147483647 h 103"/>
                  <a:gd name="T28" fmla="*/ 2147483647 w 94"/>
                  <a:gd name="T29" fmla="*/ 2147483647 h 103"/>
                  <a:gd name="T30" fmla="*/ 2147483647 w 94"/>
                  <a:gd name="T31" fmla="*/ 2147483647 h 103"/>
                  <a:gd name="T32" fmla="*/ 2147483647 w 94"/>
                  <a:gd name="T33" fmla="*/ 2147483647 h 103"/>
                  <a:gd name="T34" fmla="*/ 0 w 94"/>
                  <a:gd name="T35" fmla="*/ 2147483647 h 103"/>
                  <a:gd name="T36" fmla="*/ 0 w 94"/>
                  <a:gd name="T37" fmla="*/ 2147483647 h 103"/>
                  <a:gd name="T38" fmla="*/ 2147483647 w 94"/>
                  <a:gd name="T39" fmla="*/ 2147483647 h 10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94" h="103">
                    <a:moveTo>
                      <a:pt x="26" y="3"/>
                    </a:move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7"/>
                      <a:pt x="27" y="17"/>
                      <a:pt x="27" y="17"/>
                    </a:cubicBezTo>
                    <a:cubicBezTo>
                      <a:pt x="30" y="11"/>
                      <a:pt x="35" y="7"/>
                      <a:pt x="40" y="4"/>
                    </a:cubicBezTo>
                    <a:cubicBezTo>
                      <a:pt x="46" y="2"/>
                      <a:pt x="52" y="0"/>
                      <a:pt x="57" y="0"/>
                    </a:cubicBezTo>
                    <a:cubicBezTo>
                      <a:pt x="65" y="0"/>
                      <a:pt x="71" y="1"/>
                      <a:pt x="76" y="3"/>
                    </a:cubicBezTo>
                    <a:cubicBezTo>
                      <a:pt x="80" y="5"/>
                      <a:pt x="84" y="8"/>
                      <a:pt x="87" y="12"/>
                    </a:cubicBezTo>
                    <a:cubicBezTo>
                      <a:pt x="89" y="15"/>
                      <a:pt x="91" y="20"/>
                      <a:pt x="92" y="25"/>
                    </a:cubicBezTo>
                    <a:cubicBezTo>
                      <a:pt x="94" y="30"/>
                      <a:pt x="94" y="35"/>
                      <a:pt x="94" y="42"/>
                    </a:cubicBezTo>
                    <a:cubicBezTo>
                      <a:pt x="94" y="103"/>
                      <a:pt x="94" y="103"/>
                      <a:pt x="94" y="103"/>
                    </a:cubicBezTo>
                    <a:cubicBezTo>
                      <a:pt x="67" y="103"/>
                      <a:pt x="67" y="103"/>
                      <a:pt x="67" y="103"/>
                    </a:cubicBezTo>
                    <a:cubicBezTo>
                      <a:pt x="67" y="47"/>
                      <a:pt x="67" y="47"/>
                      <a:pt x="67" y="47"/>
                    </a:cubicBezTo>
                    <a:cubicBezTo>
                      <a:pt x="67" y="38"/>
                      <a:pt x="65" y="32"/>
                      <a:pt x="63" y="28"/>
                    </a:cubicBezTo>
                    <a:cubicBezTo>
                      <a:pt x="60" y="24"/>
                      <a:pt x="56" y="22"/>
                      <a:pt x="49" y="22"/>
                    </a:cubicBezTo>
                    <a:cubicBezTo>
                      <a:pt x="41" y="22"/>
                      <a:pt x="36" y="24"/>
                      <a:pt x="33" y="29"/>
                    </a:cubicBezTo>
                    <a:cubicBezTo>
                      <a:pt x="29" y="33"/>
                      <a:pt x="28" y="41"/>
                      <a:pt x="28" y="51"/>
                    </a:cubicBezTo>
                    <a:cubicBezTo>
                      <a:pt x="28" y="103"/>
                      <a:pt x="28" y="103"/>
                      <a:pt x="28" y="103"/>
                    </a:cubicBezTo>
                    <a:cubicBezTo>
                      <a:pt x="0" y="103"/>
                      <a:pt x="0" y="103"/>
                      <a:pt x="0" y="103"/>
                    </a:cubicBezTo>
                    <a:cubicBezTo>
                      <a:pt x="0" y="3"/>
                      <a:pt x="0" y="3"/>
                      <a:pt x="0" y="3"/>
                    </a:cubicBezTo>
                    <a:lnTo>
                      <a:pt x="2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4" name="Freeform 20"/>
              <p:cNvSpPr>
                <a:spLocks noEditPoints="1"/>
              </p:cNvSpPr>
              <p:nvPr userDrawn="1"/>
            </p:nvSpPr>
            <p:spPr bwMode="auto">
              <a:xfrm>
                <a:off x="1824038" y="4427538"/>
                <a:ext cx="128588" cy="136525"/>
              </a:xfrm>
              <a:custGeom>
                <a:avLst/>
                <a:gdLst>
                  <a:gd name="T0" fmla="*/ 2147483647 w 100"/>
                  <a:gd name="T1" fmla="*/ 2147483647 h 106"/>
                  <a:gd name="T2" fmla="*/ 2147483647 w 100"/>
                  <a:gd name="T3" fmla="*/ 2147483647 h 106"/>
                  <a:gd name="T4" fmla="*/ 2147483647 w 100"/>
                  <a:gd name="T5" fmla="*/ 2147483647 h 106"/>
                  <a:gd name="T6" fmla="*/ 2147483647 w 100"/>
                  <a:gd name="T7" fmla="*/ 2147483647 h 106"/>
                  <a:gd name="T8" fmla="*/ 2147483647 w 100"/>
                  <a:gd name="T9" fmla="*/ 2147483647 h 106"/>
                  <a:gd name="T10" fmla="*/ 2147483647 w 100"/>
                  <a:gd name="T11" fmla="*/ 2147483647 h 106"/>
                  <a:gd name="T12" fmla="*/ 2147483647 w 100"/>
                  <a:gd name="T13" fmla="*/ 2147483647 h 106"/>
                  <a:gd name="T14" fmla="*/ 2147483647 w 100"/>
                  <a:gd name="T15" fmla="*/ 2147483647 h 106"/>
                  <a:gd name="T16" fmla="*/ 2147483647 w 100"/>
                  <a:gd name="T17" fmla="*/ 2147483647 h 106"/>
                  <a:gd name="T18" fmla="*/ 2147483647 w 100"/>
                  <a:gd name="T19" fmla="*/ 2147483647 h 106"/>
                  <a:gd name="T20" fmla="*/ 0 w 100"/>
                  <a:gd name="T21" fmla="*/ 2147483647 h 106"/>
                  <a:gd name="T22" fmla="*/ 2147483647 w 100"/>
                  <a:gd name="T23" fmla="*/ 2147483647 h 106"/>
                  <a:gd name="T24" fmla="*/ 2147483647 w 100"/>
                  <a:gd name="T25" fmla="*/ 2147483647 h 106"/>
                  <a:gd name="T26" fmla="*/ 2147483647 w 100"/>
                  <a:gd name="T27" fmla="*/ 2147483647 h 106"/>
                  <a:gd name="T28" fmla="*/ 2147483647 w 100"/>
                  <a:gd name="T29" fmla="*/ 0 h 106"/>
                  <a:gd name="T30" fmla="*/ 2147483647 w 100"/>
                  <a:gd name="T31" fmla="*/ 2147483647 h 106"/>
                  <a:gd name="T32" fmla="*/ 2147483647 w 100"/>
                  <a:gd name="T33" fmla="*/ 2147483647 h 106"/>
                  <a:gd name="T34" fmla="*/ 2147483647 w 100"/>
                  <a:gd name="T35" fmla="*/ 2147483647 h 106"/>
                  <a:gd name="T36" fmla="*/ 2147483647 w 100"/>
                  <a:gd name="T37" fmla="*/ 2147483647 h 106"/>
                  <a:gd name="T38" fmla="*/ 2147483647 w 100"/>
                  <a:gd name="T39" fmla="*/ 2147483647 h 106"/>
                  <a:gd name="T40" fmla="*/ 2147483647 w 100"/>
                  <a:gd name="T41" fmla="*/ 2147483647 h 106"/>
                  <a:gd name="T42" fmla="*/ 2147483647 w 100"/>
                  <a:gd name="T43" fmla="*/ 2147483647 h 106"/>
                  <a:gd name="T44" fmla="*/ 2147483647 w 100"/>
                  <a:gd name="T45" fmla="*/ 2147483647 h 106"/>
                  <a:gd name="T46" fmla="*/ 2147483647 w 100"/>
                  <a:gd name="T47" fmla="*/ 2147483647 h 106"/>
                  <a:gd name="T48" fmla="*/ 2147483647 w 100"/>
                  <a:gd name="T49" fmla="*/ 2147483647 h 106"/>
                  <a:gd name="T50" fmla="*/ 2147483647 w 100"/>
                  <a:gd name="T51" fmla="*/ 2147483647 h 106"/>
                  <a:gd name="T52" fmla="*/ 2147483647 w 100"/>
                  <a:gd name="T53" fmla="*/ 2147483647 h 106"/>
                  <a:gd name="T54" fmla="*/ 2147483647 w 100"/>
                  <a:gd name="T55" fmla="*/ 2147483647 h 106"/>
                  <a:gd name="T56" fmla="*/ 2147483647 w 100"/>
                  <a:gd name="T57" fmla="*/ 2147483647 h 10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00" h="106">
                    <a:moveTo>
                      <a:pt x="34" y="79"/>
                    </a:moveTo>
                    <a:cubicBezTo>
                      <a:pt x="39" y="83"/>
                      <a:pt x="45" y="85"/>
                      <a:pt x="52" y="85"/>
                    </a:cubicBezTo>
                    <a:cubicBezTo>
                      <a:pt x="58" y="85"/>
                      <a:pt x="63" y="84"/>
                      <a:pt x="67" y="81"/>
                    </a:cubicBezTo>
                    <a:cubicBezTo>
                      <a:pt x="71" y="78"/>
                      <a:pt x="73" y="75"/>
                      <a:pt x="74" y="72"/>
                    </a:cubicBezTo>
                    <a:cubicBezTo>
                      <a:pt x="98" y="72"/>
                      <a:pt x="98" y="72"/>
                      <a:pt x="98" y="72"/>
                    </a:cubicBezTo>
                    <a:cubicBezTo>
                      <a:pt x="94" y="84"/>
                      <a:pt x="88" y="93"/>
                      <a:pt x="80" y="98"/>
                    </a:cubicBezTo>
                    <a:cubicBezTo>
                      <a:pt x="72" y="103"/>
                      <a:pt x="63" y="106"/>
                      <a:pt x="51" y="106"/>
                    </a:cubicBezTo>
                    <a:cubicBezTo>
                      <a:pt x="43" y="106"/>
                      <a:pt x="36" y="104"/>
                      <a:pt x="30" y="102"/>
                    </a:cubicBezTo>
                    <a:cubicBezTo>
                      <a:pt x="24" y="99"/>
                      <a:pt x="18" y="96"/>
                      <a:pt x="14" y="91"/>
                    </a:cubicBezTo>
                    <a:cubicBezTo>
                      <a:pt x="10" y="87"/>
                      <a:pt x="6" y="81"/>
                      <a:pt x="4" y="75"/>
                    </a:cubicBezTo>
                    <a:cubicBezTo>
                      <a:pt x="1" y="68"/>
                      <a:pt x="0" y="61"/>
                      <a:pt x="0" y="53"/>
                    </a:cubicBezTo>
                    <a:cubicBezTo>
                      <a:pt x="0" y="46"/>
                      <a:pt x="1" y="39"/>
                      <a:pt x="4" y="32"/>
                    </a:cubicBezTo>
                    <a:cubicBezTo>
                      <a:pt x="6" y="26"/>
                      <a:pt x="10" y="20"/>
                      <a:pt x="14" y="16"/>
                    </a:cubicBezTo>
                    <a:cubicBezTo>
                      <a:pt x="19" y="11"/>
                      <a:pt x="24" y="7"/>
                      <a:pt x="31" y="4"/>
                    </a:cubicBezTo>
                    <a:cubicBezTo>
                      <a:pt x="37" y="2"/>
                      <a:pt x="44" y="0"/>
                      <a:pt x="51" y="0"/>
                    </a:cubicBezTo>
                    <a:cubicBezTo>
                      <a:pt x="60" y="0"/>
                      <a:pt x="67" y="2"/>
                      <a:pt x="74" y="5"/>
                    </a:cubicBezTo>
                    <a:cubicBezTo>
                      <a:pt x="80" y="9"/>
                      <a:pt x="85" y="13"/>
                      <a:pt x="89" y="19"/>
                    </a:cubicBezTo>
                    <a:cubicBezTo>
                      <a:pt x="93" y="24"/>
                      <a:pt x="96" y="30"/>
                      <a:pt x="98" y="38"/>
                    </a:cubicBezTo>
                    <a:cubicBezTo>
                      <a:pt x="100" y="45"/>
                      <a:pt x="100" y="52"/>
                      <a:pt x="100" y="60"/>
                    </a:cubicBezTo>
                    <a:cubicBezTo>
                      <a:pt x="28" y="60"/>
                      <a:pt x="28" y="60"/>
                      <a:pt x="28" y="60"/>
                    </a:cubicBezTo>
                    <a:cubicBezTo>
                      <a:pt x="28" y="69"/>
                      <a:pt x="30" y="75"/>
                      <a:pt x="34" y="79"/>
                    </a:cubicBezTo>
                    <a:close/>
                    <a:moveTo>
                      <a:pt x="66" y="27"/>
                    </a:moveTo>
                    <a:cubicBezTo>
                      <a:pt x="62" y="23"/>
                      <a:pt x="57" y="21"/>
                      <a:pt x="51" y="21"/>
                    </a:cubicBezTo>
                    <a:cubicBezTo>
                      <a:pt x="46" y="21"/>
                      <a:pt x="43" y="22"/>
                      <a:pt x="40" y="23"/>
                    </a:cubicBezTo>
                    <a:cubicBezTo>
                      <a:pt x="37" y="25"/>
                      <a:pt x="34" y="27"/>
                      <a:pt x="33" y="29"/>
                    </a:cubicBezTo>
                    <a:cubicBezTo>
                      <a:pt x="31" y="31"/>
                      <a:pt x="30" y="33"/>
                      <a:pt x="29" y="36"/>
                    </a:cubicBezTo>
                    <a:cubicBezTo>
                      <a:pt x="28" y="38"/>
                      <a:pt x="28" y="40"/>
                      <a:pt x="28" y="42"/>
                    </a:cubicBezTo>
                    <a:cubicBezTo>
                      <a:pt x="72" y="42"/>
                      <a:pt x="72" y="42"/>
                      <a:pt x="72" y="42"/>
                    </a:cubicBezTo>
                    <a:cubicBezTo>
                      <a:pt x="71" y="35"/>
                      <a:pt x="69" y="30"/>
                      <a:pt x="66" y="2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" name="Freeform 21"/>
              <p:cNvSpPr>
                <a:spLocks/>
              </p:cNvSpPr>
              <p:nvPr userDrawn="1"/>
            </p:nvSpPr>
            <p:spPr bwMode="auto">
              <a:xfrm>
                <a:off x="1963738" y="4427538"/>
                <a:ext cx="119063" cy="136525"/>
              </a:xfrm>
              <a:custGeom>
                <a:avLst/>
                <a:gdLst>
                  <a:gd name="T0" fmla="*/ 2147483647 w 93"/>
                  <a:gd name="T1" fmla="*/ 2147483647 h 106"/>
                  <a:gd name="T2" fmla="*/ 2147483647 w 93"/>
                  <a:gd name="T3" fmla="*/ 2147483647 h 106"/>
                  <a:gd name="T4" fmla="*/ 2147483647 w 93"/>
                  <a:gd name="T5" fmla="*/ 2147483647 h 106"/>
                  <a:gd name="T6" fmla="*/ 2147483647 w 93"/>
                  <a:gd name="T7" fmla="*/ 2147483647 h 106"/>
                  <a:gd name="T8" fmla="*/ 2147483647 w 93"/>
                  <a:gd name="T9" fmla="*/ 2147483647 h 106"/>
                  <a:gd name="T10" fmla="*/ 2147483647 w 93"/>
                  <a:gd name="T11" fmla="*/ 2147483647 h 106"/>
                  <a:gd name="T12" fmla="*/ 2147483647 w 93"/>
                  <a:gd name="T13" fmla="*/ 2147483647 h 106"/>
                  <a:gd name="T14" fmla="*/ 2147483647 w 93"/>
                  <a:gd name="T15" fmla="*/ 2147483647 h 106"/>
                  <a:gd name="T16" fmla="*/ 2147483647 w 93"/>
                  <a:gd name="T17" fmla="*/ 2147483647 h 106"/>
                  <a:gd name="T18" fmla="*/ 2147483647 w 93"/>
                  <a:gd name="T19" fmla="*/ 2147483647 h 106"/>
                  <a:gd name="T20" fmla="*/ 2147483647 w 93"/>
                  <a:gd name="T21" fmla="*/ 2147483647 h 106"/>
                  <a:gd name="T22" fmla="*/ 2147483647 w 93"/>
                  <a:gd name="T23" fmla="*/ 2147483647 h 106"/>
                  <a:gd name="T24" fmla="*/ 2147483647 w 93"/>
                  <a:gd name="T25" fmla="*/ 2147483647 h 106"/>
                  <a:gd name="T26" fmla="*/ 2147483647 w 93"/>
                  <a:gd name="T27" fmla="*/ 2147483647 h 106"/>
                  <a:gd name="T28" fmla="*/ 2147483647 w 93"/>
                  <a:gd name="T29" fmla="*/ 2147483647 h 106"/>
                  <a:gd name="T30" fmla="*/ 2147483647 w 93"/>
                  <a:gd name="T31" fmla="*/ 2147483647 h 106"/>
                  <a:gd name="T32" fmla="*/ 2147483647 w 93"/>
                  <a:gd name="T33" fmla="*/ 2147483647 h 106"/>
                  <a:gd name="T34" fmla="*/ 2147483647 w 93"/>
                  <a:gd name="T35" fmla="*/ 0 h 106"/>
                  <a:gd name="T36" fmla="*/ 2147483647 w 93"/>
                  <a:gd name="T37" fmla="*/ 2147483647 h 106"/>
                  <a:gd name="T38" fmla="*/ 2147483647 w 93"/>
                  <a:gd name="T39" fmla="*/ 2147483647 h 106"/>
                  <a:gd name="T40" fmla="*/ 2147483647 w 93"/>
                  <a:gd name="T41" fmla="*/ 2147483647 h 106"/>
                  <a:gd name="T42" fmla="*/ 2147483647 w 93"/>
                  <a:gd name="T43" fmla="*/ 2147483647 h 106"/>
                  <a:gd name="T44" fmla="*/ 2147483647 w 93"/>
                  <a:gd name="T45" fmla="*/ 2147483647 h 106"/>
                  <a:gd name="T46" fmla="*/ 2147483647 w 93"/>
                  <a:gd name="T47" fmla="*/ 2147483647 h 106"/>
                  <a:gd name="T48" fmla="*/ 2147483647 w 93"/>
                  <a:gd name="T49" fmla="*/ 2147483647 h 106"/>
                  <a:gd name="T50" fmla="*/ 2147483647 w 93"/>
                  <a:gd name="T51" fmla="*/ 2147483647 h 106"/>
                  <a:gd name="T52" fmla="*/ 2147483647 w 93"/>
                  <a:gd name="T53" fmla="*/ 2147483647 h 106"/>
                  <a:gd name="T54" fmla="*/ 2147483647 w 93"/>
                  <a:gd name="T55" fmla="*/ 2147483647 h 106"/>
                  <a:gd name="T56" fmla="*/ 2147483647 w 93"/>
                  <a:gd name="T57" fmla="*/ 2147483647 h 106"/>
                  <a:gd name="T58" fmla="*/ 2147483647 w 93"/>
                  <a:gd name="T59" fmla="*/ 2147483647 h 106"/>
                  <a:gd name="T60" fmla="*/ 2147483647 w 93"/>
                  <a:gd name="T61" fmla="*/ 2147483647 h 106"/>
                  <a:gd name="T62" fmla="*/ 2147483647 w 93"/>
                  <a:gd name="T63" fmla="*/ 2147483647 h 106"/>
                  <a:gd name="T64" fmla="*/ 2147483647 w 93"/>
                  <a:gd name="T65" fmla="*/ 2147483647 h 106"/>
                  <a:gd name="T66" fmla="*/ 2147483647 w 93"/>
                  <a:gd name="T67" fmla="*/ 2147483647 h 106"/>
                  <a:gd name="T68" fmla="*/ 2147483647 w 93"/>
                  <a:gd name="T69" fmla="*/ 2147483647 h 106"/>
                  <a:gd name="T70" fmla="*/ 2147483647 w 93"/>
                  <a:gd name="T71" fmla="*/ 2147483647 h 106"/>
                  <a:gd name="T72" fmla="*/ 2147483647 w 93"/>
                  <a:gd name="T73" fmla="*/ 2147483647 h 106"/>
                  <a:gd name="T74" fmla="*/ 2147483647 w 93"/>
                  <a:gd name="T75" fmla="*/ 2147483647 h 106"/>
                  <a:gd name="T76" fmla="*/ 2147483647 w 93"/>
                  <a:gd name="T77" fmla="*/ 2147483647 h 106"/>
                  <a:gd name="T78" fmla="*/ 2147483647 w 93"/>
                  <a:gd name="T79" fmla="*/ 2147483647 h 106"/>
                  <a:gd name="T80" fmla="*/ 2147483647 w 93"/>
                  <a:gd name="T81" fmla="*/ 2147483647 h 106"/>
                  <a:gd name="T82" fmla="*/ 2147483647 w 93"/>
                  <a:gd name="T83" fmla="*/ 2147483647 h 106"/>
                  <a:gd name="T84" fmla="*/ 2147483647 w 93"/>
                  <a:gd name="T85" fmla="*/ 2147483647 h 106"/>
                  <a:gd name="T86" fmla="*/ 2147483647 w 93"/>
                  <a:gd name="T87" fmla="*/ 2147483647 h 106"/>
                  <a:gd name="T88" fmla="*/ 0 w 93"/>
                  <a:gd name="T89" fmla="*/ 2147483647 h 106"/>
                  <a:gd name="T90" fmla="*/ 2147483647 w 93"/>
                  <a:gd name="T91" fmla="*/ 2147483647 h 106"/>
                  <a:gd name="T92" fmla="*/ 2147483647 w 93"/>
                  <a:gd name="T93" fmla="*/ 2147483647 h 10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93" h="106">
                    <a:moveTo>
                      <a:pt x="28" y="78"/>
                    </a:moveTo>
                    <a:cubicBezTo>
                      <a:pt x="29" y="80"/>
                      <a:pt x="31" y="82"/>
                      <a:pt x="33" y="84"/>
                    </a:cubicBezTo>
                    <a:cubicBezTo>
                      <a:pt x="35" y="85"/>
                      <a:pt x="37" y="86"/>
                      <a:pt x="39" y="87"/>
                    </a:cubicBezTo>
                    <a:cubicBezTo>
                      <a:pt x="42" y="87"/>
                      <a:pt x="44" y="88"/>
                      <a:pt x="47" y="88"/>
                    </a:cubicBezTo>
                    <a:cubicBezTo>
                      <a:pt x="49" y="88"/>
                      <a:pt x="51" y="87"/>
                      <a:pt x="53" y="87"/>
                    </a:cubicBezTo>
                    <a:cubicBezTo>
                      <a:pt x="55" y="86"/>
                      <a:pt x="57" y="86"/>
                      <a:pt x="59" y="85"/>
                    </a:cubicBezTo>
                    <a:cubicBezTo>
                      <a:pt x="61" y="84"/>
                      <a:pt x="62" y="82"/>
                      <a:pt x="63" y="81"/>
                    </a:cubicBezTo>
                    <a:cubicBezTo>
                      <a:pt x="65" y="79"/>
                      <a:pt x="65" y="77"/>
                      <a:pt x="65" y="75"/>
                    </a:cubicBezTo>
                    <a:cubicBezTo>
                      <a:pt x="65" y="71"/>
                      <a:pt x="62" y="68"/>
                      <a:pt x="57" y="65"/>
                    </a:cubicBezTo>
                    <a:cubicBezTo>
                      <a:pt x="51" y="63"/>
                      <a:pt x="44" y="61"/>
                      <a:pt x="34" y="59"/>
                    </a:cubicBezTo>
                    <a:cubicBezTo>
                      <a:pt x="30" y="58"/>
                      <a:pt x="26" y="57"/>
                      <a:pt x="22" y="56"/>
                    </a:cubicBezTo>
                    <a:cubicBezTo>
                      <a:pt x="18" y="55"/>
                      <a:pt x="15" y="53"/>
                      <a:pt x="12" y="51"/>
                    </a:cubicBezTo>
                    <a:cubicBezTo>
                      <a:pt x="9" y="49"/>
                      <a:pt x="7" y="47"/>
                      <a:pt x="5" y="44"/>
                    </a:cubicBezTo>
                    <a:cubicBezTo>
                      <a:pt x="3" y="41"/>
                      <a:pt x="2" y="37"/>
                      <a:pt x="2" y="33"/>
                    </a:cubicBezTo>
                    <a:cubicBezTo>
                      <a:pt x="2" y="26"/>
                      <a:pt x="3" y="21"/>
                      <a:pt x="6" y="17"/>
                    </a:cubicBezTo>
                    <a:cubicBezTo>
                      <a:pt x="9" y="13"/>
                      <a:pt x="12" y="9"/>
                      <a:pt x="16" y="7"/>
                    </a:cubicBezTo>
                    <a:cubicBezTo>
                      <a:pt x="20" y="4"/>
                      <a:pt x="25" y="3"/>
                      <a:pt x="30" y="2"/>
                    </a:cubicBezTo>
                    <a:cubicBezTo>
                      <a:pt x="35" y="1"/>
                      <a:pt x="40" y="0"/>
                      <a:pt x="46" y="0"/>
                    </a:cubicBezTo>
                    <a:cubicBezTo>
                      <a:pt x="51" y="0"/>
                      <a:pt x="56" y="1"/>
                      <a:pt x="62" y="2"/>
                    </a:cubicBezTo>
                    <a:cubicBezTo>
                      <a:pt x="67" y="3"/>
                      <a:pt x="71" y="5"/>
                      <a:pt x="75" y="7"/>
                    </a:cubicBezTo>
                    <a:cubicBezTo>
                      <a:pt x="79" y="10"/>
                      <a:pt x="83" y="13"/>
                      <a:pt x="85" y="17"/>
                    </a:cubicBezTo>
                    <a:cubicBezTo>
                      <a:pt x="88" y="21"/>
                      <a:pt x="89" y="26"/>
                      <a:pt x="90" y="32"/>
                    </a:cubicBezTo>
                    <a:cubicBezTo>
                      <a:pt x="64" y="32"/>
                      <a:pt x="64" y="32"/>
                      <a:pt x="64" y="32"/>
                    </a:cubicBezTo>
                    <a:cubicBezTo>
                      <a:pt x="63" y="27"/>
                      <a:pt x="61" y="23"/>
                      <a:pt x="58" y="22"/>
                    </a:cubicBezTo>
                    <a:cubicBezTo>
                      <a:pt x="54" y="20"/>
                      <a:pt x="50" y="19"/>
                      <a:pt x="45" y="19"/>
                    </a:cubicBezTo>
                    <a:cubicBezTo>
                      <a:pt x="43" y="19"/>
                      <a:pt x="42" y="19"/>
                      <a:pt x="40" y="19"/>
                    </a:cubicBezTo>
                    <a:cubicBezTo>
                      <a:pt x="38" y="19"/>
                      <a:pt x="37" y="20"/>
                      <a:pt x="35" y="20"/>
                    </a:cubicBezTo>
                    <a:cubicBezTo>
                      <a:pt x="34" y="21"/>
                      <a:pt x="32" y="22"/>
                      <a:pt x="31" y="23"/>
                    </a:cubicBezTo>
                    <a:cubicBezTo>
                      <a:pt x="30" y="24"/>
                      <a:pt x="30" y="26"/>
                      <a:pt x="30" y="28"/>
                    </a:cubicBezTo>
                    <a:cubicBezTo>
                      <a:pt x="30" y="31"/>
                      <a:pt x="31" y="33"/>
                      <a:pt x="32" y="34"/>
                    </a:cubicBezTo>
                    <a:cubicBezTo>
                      <a:pt x="34" y="36"/>
                      <a:pt x="37" y="37"/>
                      <a:pt x="40" y="38"/>
                    </a:cubicBezTo>
                    <a:cubicBezTo>
                      <a:pt x="42" y="39"/>
                      <a:pt x="46" y="40"/>
                      <a:pt x="49" y="40"/>
                    </a:cubicBezTo>
                    <a:cubicBezTo>
                      <a:pt x="53" y="41"/>
                      <a:pt x="57" y="42"/>
                      <a:pt x="61" y="43"/>
                    </a:cubicBezTo>
                    <a:cubicBezTo>
                      <a:pt x="65" y="44"/>
                      <a:pt x="69" y="45"/>
                      <a:pt x="73" y="46"/>
                    </a:cubicBezTo>
                    <a:cubicBezTo>
                      <a:pt x="76" y="48"/>
                      <a:pt x="80" y="49"/>
                      <a:pt x="83" y="51"/>
                    </a:cubicBezTo>
                    <a:cubicBezTo>
                      <a:pt x="86" y="54"/>
                      <a:pt x="88" y="56"/>
                      <a:pt x="90" y="59"/>
                    </a:cubicBezTo>
                    <a:cubicBezTo>
                      <a:pt x="92" y="63"/>
                      <a:pt x="93" y="66"/>
                      <a:pt x="93" y="71"/>
                    </a:cubicBezTo>
                    <a:cubicBezTo>
                      <a:pt x="93" y="78"/>
                      <a:pt x="91" y="83"/>
                      <a:pt x="89" y="88"/>
                    </a:cubicBezTo>
                    <a:cubicBezTo>
                      <a:pt x="86" y="92"/>
                      <a:pt x="83" y="96"/>
                      <a:pt x="78" y="98"/>
                    </a:cubicBezTo>
                    <a:cubicBezTo>
                      <a:pt x="74" y="101"/>
                      <a:pt x="69" y="103"/>
                      <a:pt x="64" y="104"/>
                    </a:cubicBezTo>
                    <a:cubicBezTo>
                      <a:pt x="58" y="105"/>
                      <a:pt x="53" y="106"/>
                      <a:pt x="47" y="106"/>
                    </a:cubicBezTo>
                    <a:cubicBezTo>
                      <a:pt x="41" y="106"/>
                      <a:pt x="35" y="105"/>
                      <a:pt x="30" y="104"/>
                    </a:cubicBezTo>
                    <a:cubicBezTo>
                      <a:pt x="24" y="103"/>
                      <a:pt x="19" y="101"/>
                      <a:pt x="15" y="98"/>
                    </a:cubicBezTo>
                    <a:cubicBezTo>
                      <a:pt x="11" y="95"/>
                      <a:pt x="7" y="92"/>
                      <a:pt x="4" y="87"/>
                    </a:cubicBezTo>
                    <a:cubicBezTo>
                      <a:pt x="2" y="83"/>
                      <a:pt x="0" y="77"/>
                      <a:pt x="0" y="71"/>
                    </a:cubicBezTo>
                    <a:cubicBezTo>
                      <a:pt x="26" y="71"/>
                      <a:pt x="26" y="71"/>
                      <a:pt x="26" y="71"/>
                    </a:cubicBezTo>
                    <a:cubicBezTo>
                      <a:pt x="26" y="74"/>
                      <a:pt x="27" y="76"/>
                      <a:pt x="28" y="7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" name="Freeform 22"/>
              <p:cNvSpPr>
                <a:spLocks/>
              </p:cNvSpPr>
              <p:nvPr userDrawn="1"/>
            </p:nvSpPr>
            <p:spPr bwMode="auto">
              <a:xfrm>
                <a:off x="2093913" y="4427538"/>
                <a:ext cx="119063" cy="136525"/>
              </a:xfrm>
              <a:custGeom>
                <a:avLst/>
                <a:gdLst>
                  <a:gd name="T0" fmla="*/ 2147483647 w 92"/>
                  <a:gd name="T1" fmla="*/ 2147483647 h 106"/>
                  <a:gd name="T2" fmla="*/ 2147483647 w 92"/>
                  <a:gd name="T3" fmla="*/ 2147483647 h 106"/>
                  <a:gd name="T4" fmla="*/ 2147483647 w 92"/>
                  <a:gd name="T5" fmla="*/ 2147483647 h 106"/>
                  <a:gd name="T6" fmla="*/ 2147483647 w 92"/>
                  <a:gd name="T7" fmla="*/ 2147483647 h 106"/>
                  <a:gd name="T8" fmla="*/ 2147483647 w 92"/>
                  <a:gd name="T9" fmla="*/ 2147483647 h 106"/>
                  <a:gd name="T10" fmla="*/ 2147483647 w 92"/>
                  <a:gd name="T11" fmla="*/ 2147483647 h 106"/>
                  <a:gd name="T12" fmla="*/ 2147483647 w 92"/>
                  <a:gd name="T13" fmla="*/ 2147483647 h 106"/>
                  <a:gd name="T14" fmla="*/ 2147483647 w 92"/>
                  <a:gd name="T15" fmla="*/ 2147483647 h 106"/>
                  <a:gd name="T16" fmla="*/ 2147483647 w 92"/>
                  <a:gd name="T17" fmla="*/ 2147483647 h 106"/>
                  <a:gd name="T18" fmla="*/ 2147483647 w 92"/>
                  <a:gd name="T19" fmla="*/ 2147483647 h 106"/>
                  <a:gd name="T20" fmla="*/ 2147483647 w 92"/>
                  <a:gd name="T21" fmla="*/ 2147483647 h 106"/>
                  <a:gd name="T22" fmla="*/ 2147483647 w 92"/>
                  <a:gd name="T23" fmla="*/ 2147483647 h 106"/>
                  <a:gd name="T24" fmla="*/ 2147483647 w 92"/>
                  <a:gd name="T25" fmla="*/ 2147483647 h 106"/>
                  <a:gd name="T26" fmla="*/ 2147483647 w 92"/>
                  <a:gd name="T27" fmla="*/ 2147483647 h 106"/>
                  <a:gd name="T28" fmla="*/ 2147483647 w 92"/>
                  <a:gd name="T29" fmla="*/ 2147483647 h 106"/>
                  <a:gd name="T30" fmla="*/ 2147483647 w 92"/>
                  <a:gd name="T31" fmla="*/ 2147483647 h 106"/>
                  <a:gd name="T32" fmla="*/ 2147483647 w 92"/>
                  <a:gd name="T33" fmla="*/ 2147483647 h 106"/>
                  <a:gd name="T34" fmla="*/ 2147483647 w 92"/>
                  <a:gd name="T35" fmla="*/ 0 h 106"/>
                  <a:gd name="T36" fmla="*/ 2147483647 w 92"/>
                  <a:gd name="T37" fmla="*/ 2147483647 h 106"/>
                  <a:gd name="T38" fmla="*/ 2147483647 w 92"/>
                  <a:gd name="T39" fmla="*/ 2147483647 h 106"/>
                  <a:gd name="T40" fmla="*/ 2147483647 w 92"/>
                  <a:gd name="T41" fmla="*/ 2147483647 h 106"/>
                  <a:gd name="T42" fmla="*/ 2147483647 w 92"/>
                  <a:gd name="T43" fmla="*/ 2147483647 h 106"/>
                  <a:gd name="T44" fmla="*/ 2147483647 w 92"/>
                  <a:gd name="T45" fmla="*/ 2147483647 h 106"/>
                  <a:gd name="T46" fmla="*/ 2147483647 w 92"/>
                  <a:gd name="T47" fmla="*/ 2147483647 h 106"/>
                  <a:gd name="T48" fmla="*/ 2147483647 w 92"/>
                  <a:gd name="T49" fmla="*/ 2147483647 h 106"/>
                  <a:gd name="T50" fmla="*/ 2147483647 w 92"/>
                  <a:gd name="T51" fmla="*/ 2147483647 h 106"/>
                  <a:gd name="T52" fmla="*/ 2147483647 w 92"/>
                  <a:gd name="T53" fmla="*/ 2147483647 h 106"/>
                  <a:gd name="T54" fmla="*/ 2147483647 w 92"/>
                  <a:gd name="T55" fmla="*/ 2147483647 h 106"/>
                  <a:gd name="T56" fmla="*/ 2147483647 w 92"/>
                  <a:gd name="T57" fmla="*/ 2147483647 h 106"/>
                  <a:gd name="T58" fmla="*/ 2147483647 w 92"/>
                  <a:gd name="T59" fmla="*/ 2147483647 h 106"/>
                  <a:gd name="T60" fmla="*/ 2147483647 w 92"/>
                  <a:gd name="T61" fmla="*/ 2147483647 h 106"/>
                  <a:gd name="T62" fmla="*/ 2147483647 w 92"/>
                  <a:gd name="T63" fmla="*/ 2147483647 h 106"/>
                  <a:gd name="T64" fmla="*/ 2147483647 w 92"/>
                  <a:gd name="T65" fmla="*/ 2147483647 h 106"/>
                  <a:gd name="T66" fmla="*/ 2147483647 w 92"/>
                  <a:gd name="T67" fmla="*/ 2147483647 h 106"/>
                  <a:gd name="T68" fmla="*/ 2147483647 w 92"/>
                  <a:gd name="T69" fmla="*/ 2147483647 h 106"/>
                  <a:gd name="T70" fmla="*/ 2147483647 w 92"/>
                  <a:gd name="T71" fmla="*/ 2147483647 h 106"/>
                  <a:gd name="T72" fmla="*/ 2147483647 w 92"/>
                  <a:gd name="T73" fmla="*/ 2147483647 h 106"/>
                  <a:gd name="T74" fmla="*/ 2147483647 w 92"/>
                  <a:gd name="T75" fmla="*/ 2147483647 h 106"/>
                  <a:gd name="T76" fmla="*/ 2147483647 w 92"/>
                  <a:gd name="T77" fmla="*/ 2147483647 h 106"/>
                  <a:gd name="T78" fmla="*/ 2147483647 w 92"/>
                  <a:gd name="T79" fmla="*/ 2147483647 h 106"/>
                  <a:gd name="T80" fmla="*/ 2147483647 w 92"/>
                  <a:gd name="T81" fmla="*/ 2147483647 h 106"/>
                  <a:gd name="T82" fmla="*/ 2147483647 w 92"/>
                  <a:gd name="T83" fmla="*/ 2147483647 h 106"/>
                  <a:gd name="T84" fmla="*/ 2147483647 w 92"/>
                  <a:gd name="T85" fmla="*/ 2147483647 h 106"/>
                  <a:gd name="T86" fmla="*/ 2147483647 w 92"/>
                  <a:gd name="T87" fmla="*/ 2147483647 h 106"/>
                  <a:gd name="T88" fmla="*/ 0 w 92"/>
                  <a:gd name="T89" fmla="*/ 2147483647 h 106"/>
                  <a:gd name="T90" fmla="*/ 2147483647 w 92"/>
                  <a:gd name="T91" fmla="*/ 2147483647 h 106"/>
                  <a:gd name="T92" fmla="*/ 2147483647 w 92"/>
                  <a:gd name="T93" fmla="*/ 2147483647 h 10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92" h="106">
                    <a:moveTo>
                      <a:pt x="27" y="78"/>
                    </a:moveTo>
                    <a:cubicBezTo>
                      <a:pt x="29" y="80"/>
                      <a:pt x="30" y="82"/>
                      <a:pt x="32" y="84"/>
                    </a:cubicBezTo>
                    <a:cubicBezTo>
                      <a:pt x="34" y="85"/>
                      <a:pt x="36" y="86"/>
                      <a:pt x="39" y="87"/>
                    </a:cubicBezTo>
                    <a:cubicBezTo>
                      <a:pt x="41" y="87"/>
                      <a:pt x="44" y="88"/>
                      <a:pt x="47" y="88"/>
                    </a:cubicBezTo>
                    <a:cubicBezTo>
                      <a:pt x="49" y="88"/>
                      <a:pt x="51" y="87"/>
                      <a:pt x="53" y="87"/>
                    </a:cubicBezTo>
                    <a:cubicBezTo>
                      <a:pt x="55" y="86"/>
                      <a:pt x="57" y="86"/>
                      <a:pt x="59" y="85"/>
                    </a:cubicBezTo>
                    <a:cubicBezTo>
                      <a:pt x="60" y="84"/>
                      <a:pt x="62" y="82"/>
                      <a:pt x="63" y="81"/>
                    </a:cubicBezTo>
                    <a:cubicBezTo>
                      <a:pt x="64" y="79"/>
                      <a:pt x="65" y="77"/>
                      <a:pt x="65" y="75"/>
                    </a:cubicBezTo>
                    <a:cubicBezTo>
                      <a:pt x="65" y="71"/>
                      <a:pt x="62" y="68"/>
                      <a:pt x="57" y="65"/>
                    </a:cubicBezTo>
                    <a:cubicBezTo>
                      <a:pt x="51" y="63"/>
                      <a:pt x="43" y="61"/>
                      <a:pt x="34" y="59"/>
                    </a:cubicBezTo>
                    <a:cubicBezTo>
                      <a:pt x="30" y="58"/>
                      <a:pt x="26" y="57"/>
                      <a:pt x="22" y="56"/>
                    </a:cubicBezTo>
                    <a:cubicBezTo>
                      <a:pt x="18" y="55"/>
                      <a:pt x="15" y="53"/>
                      <a:pt x="12" y="51"/>
                    </a:cubicBezTo>
                    <a:cubicBezTo>
                      <a:pt x="9" y="49"/>
                      <a:pt x="6" y="47"/>
                      <a:pt x="5" y="44"/>
                    </a:cubicBezTo>
                    <a:cubicBezTo>
                      <a:pt x="3" y="41"/>
                      <a:pt x="2" y="37"/>
                      <a:pt x="2" y="33"/>
                    </a:cubicBezTo>
                    <a:cubicBezTo>
                      <a:pt x="2" y="26"/>
                      <a:pt x="3" y="21"/>
                      <a:pt x="6" y="17"/>
                    </a:cubicBezTo>
                    <a:cubicBezTo>
                      <a:pt x="8" y="13"/>
                      <a:pt x="11" y="9"/>
                      <a:pt x="16" y="7"/>
                    </a:cubicBezTo>
                    <a:cubicBezTo>
                      <a:pt x="20" y="4"/>
                      <a:pt x="24" y="3"/>
                      <a:pt x="30" y="2"/>
                    </a:cubicBezTo>
                    <a:cubicBezTo>
                      <a:pt x="35" y="1"/>
                      <a:pt x="40" y="0"/>
                      <a:pt x="45" y="0"/>
                    </a:cubicBezTo>
                    <a:cubicBezTo>
                      <a:pt x="51" y="0"/>
                      <a:pt x="56" y="1"/>
                      <a:pt x="61" y="2"/>
                    </a:cubicBezTo>
                    <a:cubicBezTo>
                      <a:pt x="66" y="3"/>
                      <a:pt x="71" y="5"/>
                      <a:pt x="75" y="7"/>
                    </a:cubicBezTo>
                    <a:cubicBezTo>
                      <a:pt x="79" y="10"/>
                      <a:pt x="82" y="13"/>
                      <a:pt x="85" y="17"/>
                    </a:cubicBezTo>
                    <a:cubicBezTo>
                      <a:pt x="87" y="21"/>
                      <a:pt x="89" y="26"/>
                      <a:pt x="90" y="32"/>
                    </a:cubicBezTo>
                    <a:cubicBezTo>
                      <a:pt x="63" y="32"/>
                      <a:pt x="63" y="32"/>
                      <a:pt x="63" y="32"/>
                    </a:cubicBezTo>
                    <a:cubicBezTo>
                      <a:pt x="63" y="27"/>
                      <a:pt x="61" y="23"/>
                      <a:pt x="57" y="22"/>
                    </a:cubicBezTo>
                    <a:cubicBezTo>
                      <a:pt x="54" y="20"/>
                      <a:pt x="50" y="19"/>
                      <a:pt x="45" y="19"/>
                    </a:cubicBezTo>
                    <a:cubicBezTo>
                      <a:pt x="43" y="19"/>
                      <a:pt x="41" y="19"/>
                      <a:pt x="40" y="19"/>
                    </a:cubicBezTo>
                    <a:cubicBezTo>
                      <a:pt x="38" y="19"/>
                      <a:pt x="36" y="20"/>
                      <a:pt x="35" y="20"/>
                    </a:cubicBezTo>
                    <a:cubicBezTo>
                      <a:pt x="33" y="21"/>
                      <a:pt x="32" y="22"/>
                      <a:pt x="31" y="23"/>
                    </a:cubicBezTo>
                    <a:cubicBezTo>
                      <a:pt x="30" y="24"/>
                      <a:pt x="29" y="26"/>
                      <a:pt x="29" y="28"/>
                    </a:cubicBezTo>
                    <a:cubicBezTo>
                      <a:pt x="29" y="31"/>
                      <a:pt x="30" y="33"/>
                      <a:pt x="32" y="34"/>
                    </a:cubicBezTo>
                    <a:cubicBezTo>
                      <a:pt x="34" y="36"/>
                      <a:pt x="36" y="37"/>
                      <a:pt x="39" y="38"/>
                    </a:cubicBezTo>
                    <a:cubicBezTo>
                      <a:pt x="42" y="39"/>
                      <a:pt x="45" y="40"/>
                      <a:pt x="49" y="40"/>
                    </a:cubicBezTo>
                    <a:cubicBezTo>
                      <a:pt x="53" y="41"/>
                      <a:pt x="57" y="42"/>
                      <a:pt x="61" y="43"/>
                    </a:cubicBezTo>
                    <a:cubicBezTo>
                      <a:pt x="65" y="44"/>
                      <a:pt x="68" y="45"/>
                      <a:pt x="72" y="46"/>
                    </a:cubicBezTo>
                    <a:cubicBezTo>
                      <a:pt x="76" y="48"/>
                      <a:pt x="79" y="49"/>
                      <a:pt x="82" y="51"/>
                    </a:cubicBezTo>
                    <a:cubicBezTo>
                      <a:pt x="85" y="54"/>
                      <a:pt x="88" y="56"/>
                      <a:pt x="90" y="59"/>
                    </a:cubicBezTo>
                    <a:cubicBezTo>
                      <a:pt x="91" y="63"/>
                      <a:pt x="92" y="66"/>
                      <a:pt x="92" y="71"/>
                    </a:cubicBezTo>
                    <a:cubicBezTo>
                      <a:pt x="92" y="78"/>
                      <a:pt x="91" y="83"/>
                      <a:pt x="88" y="88"/>
                    </a:cubicBezTo>
                    <a:cubicBezTo>
                      <a:pt x="86" y="92"/>
                      <a:pt x="82" y="96"/>
                      <a:pt x="78" y="98"/>
                    </a:cubicBezTo>
                    <a:cubicBezTo>
                      <a:pt x="74" y="101"/>
                      <a:pt x="69" y="103"/>
                      <a:pt x="63" y="104"/>
                    </a:cubicBezTo>
                    <a:cubicBezTo>
                      <a:pt x="58" y="105"/>
                      <a:pt x="52" y="106"/>
                      <a:pt x="47" y="106"/>
                    </a:cubicBezTo>
                    <a:cubicBezTo>
                      <a:pt x="41" y="106"/>
                      <a:pt x="35" y="105"/>
                      <a:pt x="30" y="104"/>
                    </a:cubicBezTo>
                    <a:cubicBezTo>
                      <a:pt x="24" y="103"/>
                      <a:pt x="19" y="101"/>
                      <a:pt x="15" y="98"/>
                    </a:cubicBezTo>
                    <a:cubicBezTo>
                      <a:pt x="10" y="95"/>
                      <a:pt x="7" y="92"/>
                      <a:pt x="4" y="87"/>
                    </a:cubicBezTo>
                    <a:cubicBezTo>
                      <a:pt x="1" y="83"/>
                      <a:pt x="0" y="77"/>
                      <a:pt x="0" y="71"/>
                    </a:cubicBezTo>
                    <a:cubicBezTo>
                      <a:pt x="26" y="71"/>
                      <a:pt x="26" y="71"/>
                      <a:pt x="26" y="71"/>
                    </a:cubicBezTo>
                    <a:cubicBezTo>
                      <a:pt x="26" y="74"/>
                      <a:pt x="26" y="76"/>
                      <a:pt x="27" y="7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7" name="Freeform 23"/>
              <p:cNvSpPr>
                <a:spLocks/>
              </p:cNvSpPr>
              <p:nvPr userDrawn="1"/>
            </p:nvSpPr>
            <p:spPr bwMode="auto">
              <a:xfrm>
                <a:off x="1173163" y="4627563"/>
                <a:ext cx="150813" cy="187325"/>
              </a:xfrm>
              <a:custGeom>
                <a:avLst/>
                <a:gdLst>
                  <a:gd name="T0" fmla="*/ 2147483647 w 117"/>
                  <a:gd name="T1" fmla="*/ 2147483647 h 145"/>
                  <a:gd name="T2" fmla="*/ 2147483647 w 117"/>
                  <a:gd name="T3" fmla="*/ 2147483647 h 145"/>
                  <a:gd name="T4" fmla="*/ 2147483647 w 117"/>
                  <a:gd name="T5" fmla="*/ 2147483647 h 145"/>
                  <a:gd name="T6" fmla="*/ 2147483647 w 117"/>
                  <a:gd name="T7" fmla="*/ 2147483647 h 145"/>
                  <a:gd name="T8" fmla="*/ 2147483647 w 117"/>
                  <a:gd name="T9" fmla="*/ 2147483647 h 145"/>
                  <a:gd name="T10" fmla="*/ 2147483647 w 117"/>
                  <a:gd name="T11" fmla="*/ 2147483647 h 145"/>
                  <a:gd name="T12" fmla="*/ 2147483647 w 117"/>
                  <a:gd name="T13" fmla="*/ 2147483647 h 145"/>
                  <a:gd name="T14" fmla="*/ 2147483647 w 117"/>
                  <a:gd name="T15" fmla="*/ 2147483647 h 145"/>
                  <a:gd name="T16" fmla="*/ 2147483647 w 117"/>
                  <a:gd name="T17" fmla="*/ 2147483647 h 145"/>
                  <a:gd name="T18" fmla="*/ 2147483647 w 117"/>
                  <a:gd name="T19" fmla="*/ 2147483647 h 145"/>
                  <a:gd name="T20" fmla="*/ 2147483647 w 117"/>
                  <a:gd name="T21" fmla="*/ 2147483647 h 145"/>
                  <a:gd name="T22" fmla="*/ 2147483647 w 117"/>
                  <a:gd name="T23" fmla="*/ 2147483647 h 145"/>
                  <a:gd name="T24" fmla="*/ 2147483647 w 117"/>
                  <a:gd name="T25" fmla="*/ 2147483647 h 145"/>
                  <a:gd name="T26" fmla="*/ 2147483647 w 117"/>
                  <a:gd name="T27" fmla="*/ 2147483647 h 145"/>
                  <a:gd name="T28" fmla="*/ 2147483647 w 117"/>
                  <a:gd name="T29" fmla="*/ 2147483647 h 145"/>
                  <a:gd name="T30" fmla="*/ 2147483647 w 117"/>
                  <a:gd name="T31" fmla="*/ 2147483647 h 145"/>
                  <a:gd name="T32" fmla="*/ 2147483647 w 117"/>
                  <a:gd name="T33" fmla="*/ 2147483647 h 145"/>
                  <a:gd name="T34" fmla="*/ 2147483647 w 117"/>
                  <a:gd name="T35" fmla="*/ 2147483647 h 145"/>
                  <a:gd name="T36" fmla="*/ 2147483647 w 117"/>
                  <a:gd name="T37" fmla="*/ 2147483647 h 145"/>
                  <a:gd name="T38" fmla="*/ 2147483647 w 117"/>
                  <a:gd name="T39" fmla="*/ 0 h 145"/>
                  <a:gd name="T40" fmla="*/ 2147483647 w 117"/>
                  <a:gd name="T41" fmla="*/ 2147483647 h 145"/>
                  <a:gd name="T42" fmla="*/ 2147483647 w 117"/>
                  <a:gd name="T43" fmla="*/ 2147483647 h 145"/>
                  <a:gd name="T44" fmla="*/ 2147483647 w 117"/>
                  <a:gd name="T45" fmla="*/ 2147483647 h 145"/>
                  <a:gd name="T46" fmla="*/ 2147483647 w 117"/>
                  <a:gd name="T47" fmla="*/ 2147483647 h 145"/>
                  <a:gd name="T48" fmla="*/ 2147483647 w 117"/>
                  <a:gd name="T49" fmla="*/ 2147483647 h 145"/>
                  <a:gd name="T50" fmla="*/ 2147483647 w 117"/>
                  <a:gd name="T51" fmla="*/ 2147483647 h 145"/>
                  <a:gd name="T52" fmla="*/ 2147483647 w 117"/>
                  <a:gd name="T53" fmla="*/ 2147483647 h 145"/>
                  <a:gd name="T54" fmla="*/ 2147483647 w 117"/>
                  <a:gd name="T55" fmla="*/ 2147483647 h 145"/>
                  <a:gd name="T56" fmla="*/ 2147483647 w 117"/>
                  <a:gd name="T57" fmla="*/ 2147483647 h 145"/>
                  <a:gd name="T58" fmla="*/ 2147483647 w 117"/>
                  <a:gd name="T59" fmla="*/ 2147483647 h 145"/>
                  <a:gd name="T60" fmla="*/ 2147483647 w 117"/>
                  <a:gd name="T61" fmla="*/ 2147483647 h 145"/>
                  <a:gd name="T62" fmla="*/ 2147483647 w 117"/>
                  <a:gd name="T63" fmla="*/ 2147483647 h 145"/>
                  <a:gd name="T64" fmla="*/ 2147483647 w 117"/>
                  <a:gd name="T65" fmla="*/ 2147483647 h 145"/>
                  <a:gd name="T66" fmla="*/ 2147483647 w 117"/>
                  <a:gd name="T67" fmla="*/ 2147483647 h 145"/>
                  <a:gd name="T68" fmla="*/ 2147483647 w 117"/>
                  <a:gd name="T69" fmla="*/ 2147483647 h 145"/>
                  <a:gd name="T70" fmla="*/ 2147483647 w 117"/>
                  <a:gd name="T71" fmla="*/ 2147483647 h 145"/>
                  <a:gd name="T72" fmla="*/ 2147483647 w 117"/>
                  <a:gd name="T73" fmla="*/ 2147483647 h 145"/>
                  <a:gd name="T74" fmla="*/ 2147483647 w 117"/>
                  <a:gd name="T75" fmla="*/ 2147483647 h 145"/>
                  <a:gd name="T76" fmla="*/ 2147483647 w 117"/>
                  <a:gd name="T77" fmla="*/ 2147483647 h 145"/>
                  <a:gd name="T78" fmla="*/ 2147483647 w 117"/>
                  <a:gd name="T79" fmla="*/ 2147483647 h 145"/>
                  <a:gd name="T80" fmla="*/ 2147483647 w 117"/>
                  <a:gd name="T81" fmla="*/ 2147483647 h 145"/>
                  <a:gd name="T82" fmla="*/ 2147483647 w 117"/>
                  <a:gd name="T83" fmla="*/ 2147483647 h 145"/>
                  <a:gd name="T84" fmla="*/ 2147483647 w 117"/>
                  <a:gd name="T85" fmla="*/ 2147483647 h 145"/>
                  <a:gd name="T86" fmla="*/ 2147483647 w 117"/>
                  <a:gd name="T87" fmla="*/ 2147483647 h 145"/>
                  <a:gd name="T88" fmla="*/ 2147483647 w 117"/>
                  <a:gd name="T89" fmla="*/ 2147483647 h 145"/>
                  <a:gd name="T90" fmla="*/ 2147483647 w 117"/>
                  <a:gd name="T91" fmla="*/ 2147483647 h 145"/>
                  <a:gd name="T92" fmla="*/ 2147483647 w 117"/>
                  <a:gd name="T93" fmla="*/ 2147483647 h 145"/>
                  <a:gd name="T94" fmla="*/ 2147483647 w 117"/>
                  <a:gd name="T95" fmla="*/ 2147483647 h 145"/>
                  <a:gd name="T96" fmla="*/ 0 w 117"/>
                  <a:gd name="T97" fmla="*/ 2147483647 h 145"/>
                  <a:gd name="T98" fmla="*/ 2147483647 w 117"/>
                  <a:gd name="T99" fmla="*/ 2147483647 h 145"/>
                  <a:gd name="T100" fmla="*/ 2147483647 w 117"/>
                  <a:gd name="T101" fmla="*/ 2147483647 h 145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117" h="145">
                    <a:moveTo>
                      <a:pt x="32" y="108"/>
                    </a:moveTo>
                    <a:cubicBezTo>
                      <a:pt x="34" y="111"/>
                      <a:pt x="36" y="114"/>
                      <a:pt x="39" y="116"/>
                    </a:cubicBezTo>
                    <a:cubicBezTo>
                      <a:pt x="42" y="118"/>
                      <a:pt x="45" y="119"/>
                      <a:pt x="49" y="120"/>
                    </a:cubicBezTo>
                    <a:cubicBezTo>
                      <a:pt x="52" y="121"/>
                      <a:pt x="56" y="122"/>
                      <a:pt x="60" y="122"/>
                    </a:cubicBezTo>
                    <a:cubicBezTo>
                      <a:pt x="63" y="122"/>
                      <a:pt x="66" y="121"/>
                      <a:pt x="69" y="121"/>
                    </a:cubicBezTo>
                    <a:cubicBezTo>
                      <a:pt x="72" y="121"/>
                      <a:pt x="75" y="120"/>
                      <a:pt x="78" y="118"/>
                    </a:cubicBezTo>
                    <a:cubicBezTo>
                      <a:pt x="80" y="117"/>
                      <a:pt x="83" y="115"/>
                      <a:pt x="84" y="113"/>
                    </a:cubicBezTo>
                    <a:cubicBezTo>
                      <a:pt x="86" y="111"/>
                      <a:pt x="87" y="108"/>
                      <a:pt x="87" y="104"/>
                    </a:cubicBezTo>
                    <a:cubicBezTo>
                      <a:pt x="87" y="101"/>
                      <a:pt x="86" y="98"/>
                      <a:pt x="84" y="95"/>
                    </a:cubicBezTo>
                    <a:cubicBezTo>
                      <a:pt x="81" y="93"/>
                      <a:pt x="78" y="91"/>
                      <a:pt x="74" y="90"/>
                    </a:cubicBezTo>
                    <a:cubicBezTo>
                      <a:pt x="70" y="88"/>
                      <a:pt x="66" y="87"/>
                      <a:pt x="61" y="85"/>
                    </a:cubicBezTo>
                    <a:cubicBezTo>
                      <a:pt x="56" y="84"/>
                      <a:pt x="51" y="83"/>
                      <a:pt x="46" y="82"/>
                    </a:cubicBezTo>
                    <a:cubicBezTo>
                      <a:pt x="41" y="80"/>
                      <a:pt x="36" y="79"/>
                      <a:pt x="31" y="77"/>
                    </a:cubicBezTo>
                    <a:cubicBezTo>
                      <a:pt x="26" y="75"/>
                      <a:pt x="22" y="73"/>
                      <a:pt x="18" y="70"/>
                    </a:cubicBezTo>
                    <a:cubicBezTo>
                      <a:pt x="14" y="67"/>
                      <a:pt x="11" y="63"/>
                      <a:pt x="8" y="58"/>
                    </a:cubicBezTo>
                    <a:cubicBezTo>
                      <a:pt x="6" y="54"/>
                      <a:pt x="5" y="49"/>
                      <a:pt x="5" y="42"/>
                    </a:cubicBezTo>
                    <a:cubicBezTo>
                      <a:pt x="5" y="35"/>
                      <a:pt x="6" y="29"/>
                      <a:pt x="9" y="24"/>
                    </a:cubicBezTo>
                    <a:cubicBezTo>
                      <a:pt x="12" y="19"/>
                      <a:pt x="16" y="14"/>
                      <a:pt x="21" y="11"/>
                    </a:cubicBezTo>
                    <a:cubicBezTo>
                      <a:pt x="26" y="7"/>
                      <a:pt x="32" y="5"/>
                      <a:pt x="38" y="3"/>
                    </a:cubicBezTo>
                    <a:cubicBezTo>
                      <a:pt x="44" y="1"/>
                      <a:pt x="50" y="0"/>
                      <a:pt x="56" y="0"/>
                    </a:cubicBezTo>
                    <a:cubicBezTo>
                      <a:pt x="64" y="0"/>
                      <a:pt x="71" y="1"/>
                      <a:pt x="77" y="3"/>
                    </a:cubicBezTo>
                    <a:cubicBezTo>
                      <a:pt x="84" y="4"/>
                      <a:pt x="90" y="7"/>
                      <a:pt x="95" y="11"/>
                    </a:cubicBezTo>
                    <a:cubicBezTo>
                      <a:pt x="100" y="14"/>
                      <a:pt x="104" y="19"/>
                      <a:pt x="107" y="25"/>
                    </a:cubicBezTo>
                    <a:cubicBezTo>
                      <a:pt x="110" y="30"/>
                      <a:pt x="112" y="37"/>
                      <a:pt x="112" y="45"/>
                    </a:cubicBezTo>
                    <a:cubicBezTo>
                      <a:pt x="82" y="45"/>
                      <a:pt x="82" y="45"/>
                      <a:pt x="82" y="45"/>
                    </a:cubicBezTo>
                    <a:cubicBezTo>
                      <a:pt x="82" y="41"/>
                      <a:pt x="81" y="37"/>
                      <a:pt x="80" y="35"/>
                    </a:cubicBezTo>
                    <a:cubicBezTo>
                      <a:pt x="78" y="32"/>
                      <a:pt x="76" y="30"/>
                      <a:pt x="74" y="28"/>
                    </a:cubicBezTo>
                    <a:cubicBezTo>
                      <a:pt x="71" y="27"/>
                      <a:pt x="69" y="26"/>
                      <a:pt x="65" y="25"/>
                    </a:cubicBezTo>
                    <a:cubicBezTo>
                      <a:pt x="62" y="24"/>
                      <a:pt x="59" y="24"/>
                      <a:pt x="55" y="24"/>
                    </a:cubicBezTo>
                    <a:cubicBezTo>
                      <a:pt x="53" y="24"/>
                      <a:pt x="50" y="24"/>
                      <a:pt x="48" y="25"/>
                    </a:cubicBezTo>
                    <a:cubicBezTo>
                      <a:pt x="45" y="25"/>
                      <a:pt x="43" y="26"/>
                      <a:pt x="41" y="28"/>
                    </a:cubicBezTo>
                    <a:cubicBezTo>
                      <a:pt x="39" y="29"/>
                      <a:pt x="37" y="30"/>
                      <a:pt x="36" y="32"/>
                    </a:cubicBezTo>
                    <a:cubicBezTo>
                      <a:pt x="35" y="34"/>
                      <a:pt x="34" y="37"/>
                      <a:pt x="34" y="40"/>
                    </a:cubicBezTo>
                    <a:cubicBezTo>
                      <a:pt x="34" y="42"/>
                      <a:pt x="35" y="45"/>
                      <a:pt x="36" y="46"/>
                    </a:cubicBezTo>
                    <a:cubicBezTo>
                      <a:pt x="37" y="48"/>
                      <a:pt x="39" y="50"/>
                      <a:pt x="42" y="51"/>
                    </a:cubicBezTo>
                    <a:cubicBezTo>
                      <a:pt x="45" y="52"/>
                      <a:pt x="49" y="54"/>
                      <a:pt x="54" y="55"/>
                    </a:cubicBezTo>
                    <a:cubicBezTo>
                      <a:pt x="60" y="57"/>
                      <a:pt x="67" y="58"/>
                      <a:pt x="75" y="61"/>
                    </a:cubicBezTo>
                    <a:cubicBezTo>
                      <a:pt x="78" y="61"/>
                      <a:pt x="82" y="62"/>
                      <a:pt x="86" y="63"/>
                    </a:cubicBezTo>
                    <a:cubicBezTo>
                      <a:pt x="91" y="65"/>
                      <a:pt x="95" y="67"/>
                      <a:pt x="100" y="70"/>
                    </a:cubicBezTo>
                    <a:cubicBezTo>
                      <a:pt x="104" y="73"/>
                      <a:pt x="108" y="77"/>
                      <a:pt x="112" y="82"/>
                    </a:cubicBezTo>
                    <a:cubicBezTo>
                      <a:pt x="115" y="87"/>
                      <a:pt x="117" y="93"/>
                      <a:pt x="117" y="101"/>
                    </a:cubicBezTo>
                    <a:cubicBezTo>
                      <a:pt x="117" y="107"/>
                      <a:pt x="115" y="113"/>
                      <a:pt x="113" y="119"/>
                    </a:cubicBezTo>
                    <a:cubicBezTo>
                      <a:pt x="110" y="124"/>
                      <a:pt x="107" y="129"/>
                      <a:pt x="102" y="133"/>
                    </a:cubicBezTo>
                    <a:cubicBezTo>
                      <a:pt x="97" y="137"/>
                      <a:pt x="91" y="140"/>
                      <a:pt x="84" y="142"/>
                    </a:cubicBezTo>
                    <a:cubicBezTo>
                      <a:pt x="77" y="144"/>
                      <a:pt x="68" y="145"/>
                      <a:pt x="59" y="145"/>
                    </a:cubicBezTo>
                    <a:cubicBezTo>
                      <a:pt x="51" y="145"/>
                      <a:pt x="44" y="144"/>
                      <a:pt x="37" y="142"/>
                    </a:cubicBezTo>
                    <a:cubicBezTo>
                      <a:pt x="30" y="140"/>
                      <a:pt x="23" y="138"/>
                      <a:pt x="18" y="134"/>
                    </a:cubicBezTo>
                    <a:cubicBezTo>
                      <a:pt x="12" y="129"/>
                      <a:pt x="8" y="124"/>
                      <a:pt x="5" y="118"/>
                    </a:cubicBezTo>
                    <a:cubicBezTo>
                      <a:pt x="2" y="112"/>
                      <a:pt x="0" y="105"/>
                      <a:pt x="0" y="96"/>
                    </a:cubicBezTo>
                    <a:cubicBezTo>
                      <a:pt x="30" y="96"/>
                      <a:pt x="30" y="96"/>
                      <a:pt x="30" y="96"/>
                    </a:cubicBezTo>
                    <a:cubicBezTo>
                      <a:pt x="30" y="101"/>
                      <a:pt x="30" y="105"/>
                      <a:pt x="32" y="1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8" name="Freeform 24"/>
              <p:cNvSpPr>
                <a:spLocks noEditPoints="1"/>
              </p:cNvSpPr>
              <p:nvPr userDrawn="1"/>
            </p:nvSpPr>
            <p:spPr bwMode="auto">
              <a:xfrm>
                <a:off x="1333500" y="4678363"/>
                <a:ext cx="128588" cy="136525"/>
              </a:xfrm>
              <a:custGeom>
                <a:avLst/>
                <a:gdLst>
                  <a:gd name="T0" fmla="*/ 2147483647 w 100"/>
                  <a:gd name="T1" fmla="*/ 2147483647 h 106"/>
                  <a:gd name="T2" fmla="*/ 2147483647 w 100"/>
                  <a:gd name="T3" fmla="*/ 2147483647 h 106"/>
                  <a:gd name="T4" fmla="*/ 2147483647 w 100"/>
                  <a:gd name="T5" fmla="*/ 2147483647 h 106"/>
                  <a:gd name="T6" fmla="*/ 2147483647 w 100"/>
                  <a:gd name="T7" fmla="*/ 2147483647 h 106"/>
                  <a:gd name="T8" fmla="*/ 2147483647 w 100"/>
                  <a:gd name="T9" fmla="*/ 2147483647 h 106"/>
                  <a:gd name="T10" fmla="*/ 2147483647 w 100"/>
                  <a:gd name="T11" fmla="*/ 2147483647 h 106"/>
                  <a:gd name="T12" fmla="*/ 2147483647 w 100"/>
                  <a:gd name="T13" fmla="*/ 2147483647 h 106"/>
                  <a:gd name="T14" fmla="*/ 2147483647 w 100"/>
                  <a:gd name="T15" fmla="*/ 2147483647 h 106"/>
                  <a:gd name="T16" fmla="*/ 2147483647 w 100"/>
                  <a:gd name="T17" fmla="*/ 2147483647 h 106"/>
                  <a:gd name="T18" fmla="*/ 2147483647 w 100"/>
                  <a:gd name="T19" fmla="*/ 2147483647 h 106"/>
                  <a:gd name="T20" fmla="*/ 0 w 100"/>
                  <a:gd name="T21" fmla="*/ 2147483647 h 106"/>
                  <a:gd name="T22" fmla="*/ 2147483647 w 100"/>
                  <a:gd name="T23" fmla="*/ 2147483647 h 106"/>
                  <a:gd name="T24" fmla="*/ 2147483647 w 100"/>
                  <a:gd name="T25" fmla="*/ 2147483647 h 106"/>
                  <a:gd name="T26" fmla="*/ 2147483647 w 100"/>
                  <a:gd name="T27" fmla="*/ 2147483647 h 106"/>
                  <a:gd name="T28" fmla="*/ 2147483647 w 100"/>
                  <a:gd name="T29" fmla="*/ 0 h 106"/>
                  <a:gd name="T30" fmla="*/ 2147483647 w 100"/>
                  <a:gd name="T31" fmla="*/ 2147483647 h 106"/>
                  <a:gd name="T32" fmla="*/ 2147483647 w 100"/>
                  <a:gd name="T33" fmla="*/ 2147483647 h 106"/>
                  <a:gd name="T34" fmla="*/ 2147483647 w 100"/>
                  <a:gd name="T35" fmla="*/ 2147483647 h 106"/>
                  <a:gd name="T36" fmla="*/ 2147483647 w 100"/>
                  <a:gd name="T37" fmla="*/ 2147483647 h 106"/>
                  <a:gd name="T38" fmla="*/ 2147483647 w 100"/>
                  <a:gd name="T39" fmla="*/ 2147483647 h 106"/>
                  <a:gd name="T40" fmla="*/ 2147483647 w 100"/>
                  <a:gd name="T41" fmla="*/ 2147483647 h 106"/>
                  <a:gd name="T42" fmla="*/ 2147483647 w 100"/>
                  <a:gd name="T43" fmla="*/ 2147483647 h 106"/>
                  <a:gd name="T44" fmla="*/ 2147483647 w 100"/>
                  <a:gd name="T45" fmla="*/ 2147483647 h 106"/>
                  <a:gd name="T46" fmla="*/ 2147483647 w 100"/>
                  <a:gd name="T47" fmla="*/ 2147483647 h 106"/>
                  <a:gd name="T48" fmla="*/ 2147483647 w 100"/>
                  <a:gd name="T49" fmla="*/ 2147483647 h 106"/>
                  <a:gd name="T50" fmla="*/ 2147483647 w 100"/>
                  <a:gd name="T51" fmla="*/ 2147483647 h 106"/>
                  <a:gd name="T52" fmla="*/ 2147483647 w 100"/>
                  <a:gd name="T53" fmla="*/ 2147483647 h 106"/>
                  <a:gd name="T54" fmla="*/ 2147483647 w 100"/>
                  <a:gd name="T55" fmla="*/ 2147483647 h 106"/>
                  <a:gd name="T56" fmla="*/ 2147483647 w 100"/>
                  <a:gd name="T57" fmla="*/ 2147483647 h 10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00" h="106">
                    <a:moveTo>
                      <a:pt x="34" y="79"/>
                    </a:moveTo>
                    <a:cubicBezTo>
                      <a:pt x="38" y="83"/>
                      <a:pt x="44" y="85"/>
                      <a:pt x="52" y="85"/>
                    </a:cubicBezTo>
                    <a:cubicBezTo>
                      <a:pt x="57" y="85"/>
                      <a:pt x="62" y="84"/>
                      <a:pt x="66" y="81"/>
                    </a:cubicBezTo>
                    <a:cubicBezTo>
                      <a:pt x="70" y="78"/>
                      <a:pt x="73" y="75"/>
                      <a:pt x="74" y="72"/>
                    </a:cubicBezTo>
                    <a:cubicBezTo>
                      <a:pt x="98" y="72"/>
                      <a:pt x="98" y="72"/>
                      <a:pt x="98" y="72"/>
                    </a:cubicBezTo>
                    <a:cubicBezTo>
                      <a:pt x="94" y="84"/>
                      <a:pt x="88" y="93"/>
                      <a:pt x="80" y="98"/>
                    </a:cubicBezTo>
                    <a:cubicBezTo>
                      <a:pt x="72" y="103"/>
                      <a:pt x="62" y="106"/>
                      <a:pt x="51" y="106"/>
                    </a:cubicBezTo>
                    <a:cubicBezTo>
                      <a:pt x="43" y="106"/>
                      <a:pt x="36" y="104"/>
                      <a:pt x="30" y="102"/>
                    </a:cubicBezTo>
                    <a:cubicBezTo>
                      <a:pt x="23" y="99"/>
                      <a:pt x="18" y="96"/>
                      <a:pt x="14" y="91"/>
                    </a:cubicBezTo>
                    <a:cubicBezTo>
                      <a:pt x="9" y="86"/>
                      <a:pt x="6" y="81"/>
                      <a:pt x="3" y="74"/>
                    </a:cubicBezTo>
                    <a:cubicBezTo>
                      <a:pt x="1" y="68"/>
                      <a:pt x="0" y="61"/>
                      <a:pt x="0" y="53"/>
                    </a:cubicBezTo>
                    <a:cubicBezTo>
                      <a:pt x="0" y="46"/>
                      <a:pt x="1" y="39"/>
                      <a:pt x="3" y="32"/>
                    </a:cubicBezTo>
                    <a:cubicBezTo>
                      <a:pt x="6" y="26"/>
                      <a:pt x="9" y="20"/>
                      <a:pt x="14" y="15"/>
                    </a:cubicBezTo>
                    <a:cubicBezTo>
                      <a:pt x="18" y="11"/>
                      <a:pt x="24" y="7"/>
                      <a:pt x="30" y="4"/>
                    </a:cubicBezTo>
                    <a:cubicBezTo>
                      <a:pt x="36" y="2"/>
                      <a:pt x="43" y="0"/>
                      <a:pt x="51" y="0"/>
                    </a:cubicBezTo>
                    <a:cubicBezTo>
                      <a:pt x="59" y="0"/>
                      <a:pt x="67" y="2"/>
                      <a:pt x="73" y="5"/>
                    </a:cubicBezTo>
                    <a:cubicBezTo>
                      <a:pt x="80" y="8"/>
                      <a:pt x="85" y="13"/>
                      <a:pt x="89" y="18"/>
                    </a:cubicBezTo>
                    <a:cubicBezTo>
                      <a:pt x="93" y="24"/>
                      <a:pt x="96" y="30"/>
                      <a:pt x="98" y="37"/>
                    </a:cubicBezTo>
                    <a:cubicBezTo>
                      <a:pt x="99" y="44"/>
                      <a:pt x="100" y="52"/>
                      <a:pt x="100" y="60"/>
                    </a:cubicBezTo>
                    <a:cubicBezTo>
                      <a:pt x="27" y="60"/>
                      <a:pt x="27" y="60"/>
                      <a:pt x="27" y="60"/>
                    </a:cubicBezTo>
                    <a:cubicBezTo>
                      <a:pt x="28" y="69"/>
                      <a:pt x="30" y="75"/>
                      <a:pt x="34" y="79"/>
                    </a:cubicBezTo>
                    <a:close/>
                    <a:moveTo>
                      <a:pt x="65" y="26"/>
                    </a:moveTo>
                    <a:cubicBezTo>
                      <a:pt x="62" y="23"/>
                      <a:pt x="57" y="21"/>
                      <a:pt x="50" y="21"/>
                    </a:cubicBezTo>
                    <a:cubicBezTo>
                      <a:pt x="46" y="21"/>
                      <a:pt x="42" y="22"/>
                      <a:pt x="39" y="23"/>
                    </a:cubicBezTo>
                    <a:cubicBezTo>
                      <a:pt x="36" y="25"/>
                      <a:pt x="34" y="26"/>
                      <a:pt x="32" y="29"/>
                    </a:cubicBezTo>
                    <a:cubicBezTo>
                      <a:pt x="31" y="31"/>
                      <a:pt x="29" y="33"/>
                      <a:pt x="29" y="36"/>
                    </a:cubicBezTo>
                    <a:cubicBezTo>
                      <a:pt x="28" y="38"/>
                      <a:pt x="27" y="40"/>
                      <a:pt x="27" y="42"/>
                    </a:cubicBezTo>
                    <a:cubicBezTo>
                      <a:pt x="72" y="42"/>
                      <a:pt x="72" y="42"/>
                      <a:pt x="72" y="42"/>
                    </a:cubicBezTo>
                    <a:cubicBezTo>
                      <a:pt x="71" y="35"/>
                      <a:pt x="68" y="30"/>
                      <a:pt x="65" y="26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9" name="Freeform 25"/>
              <p:cNvSpPr>
                <a:spLocks/>
              </p:cNvSpPr>
              <p:nvPr userDrawn="1"/>
            </p:nvSpPr>
            <p:spPr bwMode="auto">
              <a:xfrm>
                <a:off x="1479550" y="4678363"/>
                <a:ext cx="82550" cy="133350"/>
              </a:xfrm>
              <a:custGeom>
                <a:avLst/>
                <a:gdLst>
                  <a:gd name="T0" fmla="*/ 2147483647 w 64"/>
                  <a:gd name="T1" fmla="*/ 2147483647 h 103"/>
                  <a:gd name="T2" fmla="*/ 2147483647 w 64"/>
                  <a:gd name="T3" fmla="*/ 2147483647 h 103"/>
                  <a:gd name="T4" fmla="*/ 2147483647 w 64"/>
                  <a:gd name="T5" fmla="*/ 2147483647 h 103"/>
                  <a:gd name="T6" fmla="*/ 2147483647 w 64"/>
                  <a:gd name="T7" fmla="*/ 2147483647 h 103"/>
                  <a:gd name="T8" fmla="*/ 2147483647 w 64"/>
                  <a:gd name="T9" fmla="*/ 2147483647 h 103"/>
                  <a:gd name="T10" fmla="*/ 2147483647 w 64"/>
                  <a:gd name="T11" fmla="*/ 2147483647 h 103"/>
                  <a:gd name="T12" fmla="*/ 2147483647 w 64"/>
                  <a:gd name="T13" fmla="*/ 0 h 103"/>
                  <a:gd name="T14" fmla="*/ 2147483647 w 64"/>
                  <a:gd name="T15" fmla="*/ 2147483647 h 103"/>
                  <a:gd name="T16" fmla="*/ 2147483647 w 64"/>
                  <a:gd name="T17" fmla="*/ 2147483647 h 103"/>
                  <a:gd name="T18" fmla="*/ 2147483647 w 64"/>
                  <a:gd name="T19" fmla="*/ 2147483647 h 103"/>
                  <a:gd name="T20" fmla="*/ 2147483647 w 64"/>
                  <a:gd name="T21" fmla="*/ 2147483647 h 103"/>
                  <a:gd name="T22" fmla="*/ 2147483647 w 64"/>
                  <a:gd name="T23" fmla="*/ 2147483647 h 103"/>
                  <a:gd name="T24" fmla="*/ 2147483647 w 64"/>
                  <a:gd name="T25" fmla="*/ 2147483647 h 103"/>
                  <a:gd name="T26" fmla="*/ 2147483647 w 64"/>
                  <a:gd name="T27" fmla="*/ 2147483647 h 103"/>
                  <a:gd name="T28" fmla="*/ 2147483647 w 64"/>
                  <a:gd name="T29" fmla="*/ 2147483647 h 103"/>
                  <a:gd name="T30" fmla="*/ 2147483647 w 64"/>
                  <a:gd name="T31" fmla="*/ 2147483647 h 103"/>
                  <a:gd name="T32" fmla="*/ 0 w 64"/>
                  <a:gd name="T33" fmla="*/ 2147483647 h 103"/>
                  <a:gd name="T34" fmla="*/ 0 w 64"/>
                  <a:gd name="T35" fmla="*/ 2147483647 h 103"/>
                  <a:gd name="T36" fmla="*/ 2147483647 w 64"/>
                  <a:gd name="T37" fmla="*/ 2147483647 h 10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4" h="103">
                    <a:moveTo>
                      <a:pt x="26" y="3"/>
                    </a:moveTo>
                    <a:cubicBezTo>
                      <a:pt x="26" y="21"/>
                      <a:pt x="26" y="21"/>
                      <a:pt x="26" y="21"/>
                    </a:cubicBezTo>
                    <a:cubicBezTo>
                      <a:pt x="27" y="21"/>
                      <a:pt x="27" y="21"/>
                      <a:pt x="27" y="21"/>
                    </a:cubicBezTo>
                    <a:cubicBezTo>
                      <a:pt x="28" y="18"/>
                      <a:pt x="30" y="16"/>
                      <a:pt x="32" y="13"/>
                    </a:cubicBezTo>
                    <a:cubicBezTo>
                      <a:pt x="34" y="10"/>
                      <a:pt x="36" y="8"/>
                      <a:pt x="39" y="6"/>
                    </a:cubicBezTo>
                    <a:cubicBezTo>
                      <a:pt x="42" y="4"/>
                      <a:pt x="45" y="3"/>
                      <a:pt x="48" y="2"/>
                    </a:cubicBezTo>
                    <a:cubicBezTo>
                      <a:pt x="52" y="1"/>
                      <a:pt x="55" y="0"/>
                      <a:pt x="58" y="0"/>
                    </a:cubicBezTo>
                    <a:cubicBezTo>
                      <a:pt x="60" y="0"/>
                      <a:pt x="62" y="1"/>
                      <a:pt x="64" y="1"/>
                    </a:cubicBezTo>
                    <a:cubicBezTo>
                      <a:pt x="64" y="27"/>
                      <a:pt x="64" y="27"/>
                      <a:pt x="64" y="27"/>
                    </a:cubicBezTo>
                    <a:cubicBezTo>
                      <a:pt x="63" y="26"/>
                      <a:pt x="62" y="26"/>
                      <a:pt x="60" y="26"/>
                    </a:cubicBezTo>
                    <a:cubicBezTo>
                      <a:pt x="58" y="26"/>
                      <a:pt x="56" y="26"/>
                      <a:pt x="55" y="26"/>
                    </a:cubicBezTo>
                    <a:cubicBezTo>
                      <a:pt x="50" y="26"/>
                      <a:pt x="45" y="27"/>
                      <a:pt x="42" y="28"/>
                    </a:cubicBezTo>
                    <a:cubicBezTo>
                      <a:pt x="38" y="30"/>
                      <a:pt x="36" y="32"/>
                      <a:pt x="33" y="35"/>
                    </a:cubicBezTo>
                    <a:cubicBezTo>
                      <a:pt x="31" y="38"/>
                      <a:pt x="30" y="41"/>
                      <a:pt x="29" y="45"/>
                    </a:cubicBezTo>
                    <a:cubicBezTo>
                      <a:pt x="28" y="49"/>
                      <a:pt x="27" y="53"/>
                      <a:pt x="27" y="58"/>
                    </a:cubicBezTo>
                    <a:cubicBezTo>
                      <a:pt x="27" y="103"/>
                      <a:pt x="27" y="103"/>
                      <a:pt x="27" y="103"/>
                    </a:cubicBezTo>
                    <a:cubicBezTo>
                      <a:pt x="0" y="103"/>
                      <a:pt x="0" y="103"/>
                      <a:pt x="0" y="103"/>
                    </a:cubicBezTo>
                    <a:cubicBezTo>
                      <a:pt x="0" y="3"/>
                      <a:pt x="0" y="3"/>
                      <a:pt x="0" y="3"/>
                    </a:cubicBezTo>
                    <a:lnTo>
                      <a:pt x="2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0" name="Freeform 26"/>
              <p:cNvSpPr>
                <a:spLocks/>
              </p:cNvSpPr>
              <p:nvPr userDrawn="1"/>
            </p:nvSpPr>
            <p:spPr bwMode="auto">
              <a:xfrm>
                <a:off x="1573213" y="4681538"/>
                <a:ext cx="127000" cy="130175"/>
              </a:xfrm>
              <a:custGeom>
                <a:avLst/>
                <a:gdLst>
                  <a:gd name="T0" fmla="*/ 2147483647 w 80"/>
                  <a:gd name="T1" fmla="*/ 2147483647 h 82"/>
                  <a:gd name="T2" fmla="*/ 0 w 80"/>
                  <a:gd name="T3" fmla="*/ 0 h 82"/>
                  <a:gd name="T4" fmla="*/ 2147483647 w 80"/>
                  <a:gd name="T5" fmla="*/ 0 h 82"/>
                  <a:gd name="T6" fmla="*/ 2147483647 w 80"/>
                  <a:gd name="T7" fmla="*/ 2147483647 h 82"/>
                  <a:gd name="T8" fmla="*/ 2147483647 w 80"/>
                  <a:gd name="T9" fmla="*/ 2147483647 h 82"/>
                  <a:gd name="T10" fmla="*/ 2147483647 w 80"/>
                  <a:gd name="T11" fmla="*/ 0 h 82"/>
                  <a:gd name="T12" fmla="*/ 2147483647 w 80"/>
                  <a:gd name="T13" fmla="*/ 0 h 82"/>
                  <a:gd name="T14" fmla="*/ 2147483647 w 80"/>
                  <a:gd name="T15" fmla="*/ 2147483647 h 82"/>
                  <a:gd name="T16" fmla="*/ 2147483647 w 80"/>
                  <a:gd name="T17" fmla="*/ 2147483647 h 8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80" h="82">
                    <a:moveTo>
                      <a:pt x="28" y="82"/>
                    </a:moveTo>
                    <a:lnTo>
                      <a:pt x="0" y="0"/>
                    </a:lnTo>
                    <a:lnTo>
                      <a:pt x="24" y="0"/>
                    </a:lnTo>
                    <a:lnTo>
                      <a:pt x="41" y="56"/>
                    </a:lnTo>
                    <a:lnTo>
                      <a:pt x="58" y="0"/>
                    </a:lnTo>
                    <a:lnTo>
                      <a:pt x="80" y="0"/>
                    </a:lnTo>
                    <a:lnTo>
                      <a:pt x="53" y="82"/>
                    </a:lnTo>
                    <a:lnTo>
                      <a:pt x="28" y="8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1" name="Freeform 27"/>
              <p:cNvSpPr>
                <a:spLocks noEditPoints="1"/>
              </p:cNvSpPr>
              <p:nvPr userDrawn="1"/>
            </p:nvSpPr>
            <p:spPr bwMode="auto">
              <a:xfrm>
                <a:off x="1712913" y="4632326"/>
                <a:ext cx="34925" cy="179388"/>
              </a:xfrm>
              <a:custGeom>
                <a:avLst/>
                <a:gdLst>
                  <a:gd name="T0" fmla="*/ 0 w 22"/>
                  <a:gd name="T1" fmla="*/ 2147483647 h 113"/>
                  <a:gd name="T2" fmla="*/ 0 w 22"/>
                  <a:gd name="T3" fmla="*/ 0 h 113"/>
                  <a:gd name="T4" fmla="*/ 2147483647 w 22"/>
                  <a:gd name="T5" fmla="*/ 0 h 113"/>
                  <a:gd name="T6" fmla="*/ 2147483647 w 22"/>
                  <a:gd name="T7" fmla="*/ 2147483647 h 113"/>
                  <a:gd name="T8" fmla="*/ 0 w 22"/>
                  <a:gd name="T9" fmla="*/ 2147483647 h 113"/>
                  <a:gd name="T10" fmla="*/ 2147483647 w 22"/>
                  <a:gd name="T11" fmla="*/ 2147483647 h 113"/>
                  <a:gd name="T12" fmla="*/ 2147483647 w 22"/>
                  <a:gd name="T13" fmla="*/ 2147483647 h 113"/>
                  <a:gd name="T14" fmla="*/ 0 w 22"/>
                  <a:gd name="T15" fmla="*/ 2147483647 h 113"/>
                  <a:gd name="T16" fmla="*/ 0 w 22"/>
                  <a:gd name="T17" fmla="*/ 2147483647 h 113"/>
                  <a:gd name="T18" fmla="*/ 2147483647 w 22"/>
                  <a:gd name="T19" fmla="*/ 2147483647 h 11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" h="113">
                    <a:moveTo>
                      <a:pt x="0" y="18"/>
                    </a:moveTo>
                    <a:lnTo>
                      <a:pt x="0" y="0"/>
                    </a:lnTo>
                    <a:lnTo>
                      <a:pt x="22" y="0"/>
                    </a:lnTo>
                    <a:lnTo>
                      <a:pt x="22" y="18"/>
                    </a:lnTo>
                    <a:lnTo>
                      <a:pt x="0" y="18"/>
                    </a:lnTo>
                    <a:close/>
                    <a:moveTo>
                      <a:pt x="22" y="31"/>
                    </a:moveTo>
                    <a:lnTo>
                      <a:pt x="22" y="113"/>
                    </a:lnTo>
                    <a:lnTo>
                      <a:pt x="0" y="113"/>
                    </a:lnTo>
                    <a:lnTo>
                      <a:pt x="0" y="31"/>
                    </a:lnTo>
                    <a:lnTo>
                      <a:pt x="22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2" name="Freeform 28"/>
              <p:cNvSpPr>
                <a:spLocks/>
              </p:cNvSpPr>
              <p:nvPr userDrawn="1"/>
            </p:nvSpPr>
            <p:spPr bwMode="auto">
              <a:xfrm>
                <a:off x="1766888" y="4678363"/>
                <a:ext cx="127000" cy="136525"/>
              </a:xfrm>
              <a:custGeom>
                <a:avLst/>
                <a:gdLst>
                  <a:gd name="T0" fmla="*/ 2147483647 w 99"/>
                  <a:gd name="T1" fmla="*/ 2147483647 h 106"/>
                  <a:gd name="T2" fmla="*/ 2147483647 w 99"/>
                  <a:gd name="T3" fmla="*/ 2147483647 h 106"/>
                  <a:gd name="T4" fmla="*/ 2147483647 w 99"/>
                  <a:gd name="T5" fmla="*/ 2147483647 h 106"/>
                  <a:gd name="T6" fmla="*/ 2147483647 w 99"/>
                  <a:gd name="T7" fmla="*/ 2147483647 h 106"/>
                  <a:gd name="T8" fmla="*/ 2147483647 w 99"/>
                  <a:gd name="T9" fmla="*/ 2147483647 h 106"/>
                  <a:gd name="T10" fmla="*/ 2147483647 w 99"/>
                  <a:gd name="T11" fmla="*/ 2147483647 h 106"/>
                  <a:gd name="T12" fmla="*/ 2147483647 w 99"/>
                  <a:gd name="T13" fmla="*/ 2147483647 h 106"/>
                  <a:gd name="T14" fmla="*/ 2147483647 w 99"/>
                  <a:gd name="T15" fmla="*/ 2147483647 h 106"/>
                  <a:gd name="T16" fmla="*/ 2147483647 w 99"/>
                  <a:gd name="T17" fmla="*/ 2147483647 h 106"/>
                  <a:gd name="T18" fmla="*/ 2147483647 w 99"/>
                  <a:gd name="T19" fmla="*/ 2147483647 h 106"/>
                  <a:gd name="T20" fmla="*/ 2147483647 w 99"/>
                  <a:gd name="T21" fmla="*/ 2147483647 h 106"/>
                  <a:gd name="T22" fmla="*/ 2147483647 w 99"/>
                  <a:gd name="T23" fmla="*/ 2147483647 h 106"/>
                  <a:gd name="T24" fmla="*/ 2147483647 w 99"/>
                  <a:gd name="T25" fmla="*/ 2147483647 h 106"/>
                  <a:gd name="T26" fmla="*/ 2147483647 w 99"/>
                  <a:gd name="T27" fmla="*/ 2147483647 h 106"/>
                  <a:gd name="T28" fmla="*/ 2147483647 w 99"/>
                  <a:gd name="T29" fmla="*/ 2147483647 h 106"/>
                  <a:gd name="T30" fmla="*/ 2147483647 w 99"/>
                  <a:gd name="T31" fmla="*/ 2147483647 h 106"/>
                  <a:gd name="T32" fmla="*/ 2147483647 w 99"/>
                  <a:gd name="T33" fmla="*/ 2147483647 h 106"/>
                  <a:gd name="T34" fmla="*/ 0 w 99"/>
                  <a:gd name="T35" fmla="*/ 2147483647 h 106"/>
                  <a:gd name="T36" fmla="*/ 2147483647 w 99"/>
                  <a:gd name="T37" fmla="*/ 2147483647 h 106"/>
                  <a:gd name="T38" fmla="*/ 2147483647 w 99"/>
                  <a:gd name="T39" fmla="*/ 2147483647 h 106"/>
                  <a:gd name="T40" fmla="*/ 2147483647 w 99"/>
                  <a:gd name="T41" fmla="*/ 2147483647 h 106"/>
                  <a:gd name="T42" fmla="*/ 2147483647 w 99"/>
                  <a:gd name="T43" fmla="*/ 0 h 106"/>
                  <a:gd name="T44" fmla="*/ 2147483647 w 99"/>
                  <a:gd name="T45" fmla="*/ 2147483647 h 106"/>
                  <a:gd name="T46" fmla="*/ 2147483647 w 99"/>
                  <a:gd name="T47" fmla="*/ 2147483647 h 106"/>
                  <a:gd name="T48" fmla="*/ 2147483647 w 99"/>
                  <a:gd name="T49" fmla="*/ 2147483647 h 106"/>
                  <a:gd name="T50" fmla="*/ 2147483647 w 99"/>
                  <a:gd name="T51" fmla="*/ 2147483647 h 106"/>
                  <a:gd name="T52" fmla="*/ 2147483647 w 99"/>
                  <a:gd name="T53" fmla="*/ 2147483647 h 106"/>
                  <a:gd name="T54" fmla="*/ 2147483647 w 99"/>
                  <a:gd name="T55" fmla="*/ 2147483647 h 10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99" h="106">
                    <a:moveTo>
                      <a:pt x="51" y="21"/>
                    </a:moveTo>
                    <a:cubicBezTo>
                      <a:pt x="47" y="21"/>
                      <a:pt x="43" y="22"/>
                      <a:pt x="40" y="24"/>
                    </a:cubicBezTo>
                    <a:cubicBezTo>
                      <a:pt x="37" y="26"/>
                      <a:pt x="35" y="28"/>
                      <a:pt x="33" y="32"/>
                    </a:cubicBezTo>
                    <a:cubicBezTo>
                      <a:pt x="31" y="35"/>
                      <a:pt x="30" y="38"/>
                      <a:pt x="29" y="42"/>
                    </a:cubicBezTo>
                    <a:cubicBezTo>
                      <a:pt x="28" y="46"/>
                      <a:pt x="28" y="50"/>
                      <a:pt x="28" y="53"/>
                    </a:cubicBezTo>
                    <a:cubicBezTo>
                      <a:pt x="28" y="57"/>
                      <a:pt x="28" y="61"/>
                      <a:pt x="29" y="64"/>
                    </a:cubicBezTo>
                    <a:cubicBezTo>
                      <a:pt x="30" y="68"/>
                      <a:pt x="31" y="72"/>
                      <a:pt x="33" y="75"/>
                    </a:cubicBezTo>
                    <a:cubicBezTo>
                      <a:pt x="34" y="78"/>
                      <a:pt x="37" y="80"/>
                      <a:pt x="40" y="82"/>
                    </a:cubicBezTo>
                    <a:cubicBezTo>
                      <a:pt x="43" y="84"/>
                      <a:pt x="46" y="85"/>
                      <a:pt x="51" y="85"/>
                    </a:cubicBezTo>
                    <a:cubicBezTo>
                      <a:pt x="57" y="85"/>
                      <a:pt x="62" y="83"/>
                      <a:pt x="66" y="79"/>
                    </a:cubicBezTo>
                    <a:cubicBezTo>
                      <a:pt x="69" y="76"/>
                      <a:pt x="72" y="71"/>
                      <a:pt x="73" y="65"/>
                    </a:cubicBezTo>
                    <a:cubicBezTo>
                      <a:pt x="99" y="65"/>
                      <a:pt x="99" y="65"/>
                      <a:pt x="99" y="65"/>
                    </a:cubicBezTo>
                    <a:cubicBezTo>
                      <a:pt x="97" y="78"/>
                      <a:pt x="92" y="88"/>
                      <a:pt x="84" y="95"/>
                    </a:cubicBezTo>
                    <a:cubicBezTo>
                      <a:pt x="75" y="102"/>
                      <a:pt x="64" y="106"/>
                      <a:pt x="51" y="106"/>
                    </a:cubicBezTo>
                    <a:cubicBezTo>
                      <a:pt x="43" y="106"/>
                      <a:pt x="36" y="104"/>
                      <a:pt x="30" y="102"/>
                    </a:cubicBezTo>
                    <a:cubicBezTo>
                      <a:pt x="24" y="99"/>
                      <a:pt x="19" y="96"/>
                      <a:pt x="14" y="91"/>
                    </a:cubicBezTo>
                    <a:cubicBezTo>
                      <a:pt x="10" y="87"/>
                      <a:pt x="6" y="81"/>
                      <a:pt x="4" y="75"/>
                    </a:cubicBezTo>
                    <a:cubicBezTo>
                      <a:pt x="2" y="69"/>
                      <a:pt x="0" y="62"/>
                      <a:pt x="0" y="54"/>
                    </a:cubicBezTo>
                    <a:cubicBezTo>
                      <a:pt x="0" y="47"/>
                      <a:pt x="1" y="39"/>
                      <a:pt x="4" y="33"/>
                    </a:cubicBezTo>
                    <a:cubicBezTo>
                      <a:pt x="6" y="26"/>
                      <a:pt x="9" y="20"/>
                      <a:pt x="14" y="16"/>
                    </a:cubicBezTo>
                    <a:cubicBezTo>
                      <a:pt x="18" y="11"/>
                      <a:pt x="23" y="7"/>
                      <a:pt x="30" y="4"/>
                    </a:cubicBezTo>
                    <a:cubicBezTo>
                      <a:pt x="36" y="2"/>
                      <a:pt x="43" y="0"/>
                      <a:pt x="51" y="0"/>
                    </a:cubicBezTo>
                    <a:cubicBezTo>
                      <a:pt x="57" y="0"/>
                      <a:pt x="63" y="1"/>
                      <a:pt x="69" y="2"/>
                    </a:cubicBezTo>
                    <a:cubicBezTo>
                      <a:pt x="74" y="4"/>
                      <a:pt x="79" y="6"/>
                      <a:pt x="83" y="10"/>
                    </a:cubicBezTo>
                    <a:cubicBezTo>
                      <a:pt x="88" y="13"/>
                      <a:pt x="91" y="17"/>
                      <a:pt x="94" y="21"/>
                    </a:cubicBezTo>
                    <a:cubicBezTo>
                      <a:pt x="97" y="26"/>
                      <a:pt x="98" y="32"/>
                      <a:pt x="99" y="38"/>
                    </a:cubicBezTo>
                    <a:cubicBezTo>
                      <a:pt x="72" y="38"/>
                      <a:pt x="72" y="38"/>
                      <a:pt x="72" y="38"/>
                    </a:cubicBezTo>
                    <a:cubicBezTo>
                      <a:pt x="70" y="27"/>
                      <a:pt x="63" y="21"/>
                      <a:pt x="51" y="2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3" name="Freeform 29"/>
              <p:cNvSpPr>
                <a:spLocks noEditPoints="1"/>
              </p:cNvSpPr>
              <p:nvPr userDrawn="1"/>
            </p:nvSpPr>
            <p:spPr bwMode="auto">
              <a:xfrm>
                <a:off x="1903413" y="4678363"/>
                <a:ext cx="130175" cy="136525"/>
              </a:xfrm>
              <a:custGeom>
                <a:avLst/>
                <a:gdLst>
                  <a:gd name="T0" fmla="*/ 2147483647 w 101"/>
                  <a:gd name="T1" fmla="*/ 2147483647 h 106"/>
                  <a:gd name="T2" fmla="*/ 2147483647 w 101"/>
                  <a:gd name="T3" fmla="*/ 2147483647 h 106"/>
                  <a:gd name="T4" fmla="*/ 2147483647 w 101"/>
                  <a:gd name="T5" fmla="*/ 2147483647 h 106"/>
                  <a:gd name="T6" fmla="*/ 2147483647 w 101"/>
                  <a:gd name="T7" fmla="*/ 2147483647 h 106"/>
                  <a:gd name="T8" fmla="*/ 2147483647 w 101"/>
                  <a:gd name="T9" fmla="*/ 2147483647 h 106"/>
                  <a:gd name="T10" fmla="*/ 2147483647 w 101"/>
                  <a:gd name="T11" fmla="*/ 2147483647 h 106"/>
                  <a:gd name="T12" fmla="*/ 2147483647 w 101"/>
                  <a:gd name="T13" fmla="*/ 2147483647 h 106"/>
                  <a:gd name="T14" fmla="*/ 2147483647 w 101"/>
                  <a:gd name="T15" fmla="*/ 2147483647 h 106"/>
                  <a:gd name="T16" fmla="*/ 2147483647 w 101"/>
                  <a:gd name="T17" fmla="*/ 2147483647 h 106"/>
                  <a:gd name="T18" fmla="*/ 2147483647 w 101"/>
                  <a:gd name="T19" fmla="*/ 2147483647 h 106"/>
                  <a:gd name="T20" fmla="*/ 0 w 101"/>
                  <a:gd name="T21" fmla="*/ 2147483647 h 106"/>
                  <a:gd name="T22" fmla="*/ 2147483647 w 101"/>
                  <a:gd name="T23" fmla="*/ 2147483647 h 106"/>
                  <a:gd name="T24" fmla="*/ 2147483647 w 101"/>
                  <a:gd name="T25" fmla="*/ 2147483647 h 106"/>
                  <a:gd name="T26" fmla="*/ 2147483647 w 101"/>
                  <a:gd name="T27" fmla="*/ 2147483647 h 106"/>
                  <a:gd name="T28" fmla="*/ 2147483647 w 101"/>
                  <a:gd name="T29" fmla="*/ 0 h 106"/>
                  <a:gd name="T30" fmla="*/ 2147483647 w 101"/>
                  <a:gd name="T31" fmla="*/ 2147483647 h 106"/>
                  <a:gd name="T32" fmla="*/ 2147483647 w 101"/>
                  <a:gd name="T33" fmla="*/ 2147483647 h 106"/>
                  <a:gd name="T34" fmla="*/ 2147483647 w 101"/>
                  <a:gd name="T35" fmla="*/ 2147483647 h 106"/>
                  <a:gd name="T36" fmla="*/ 2147483647 w 101"/>
                  <a:gd name="T37" fmla="*/ 2147483647 h 106"/>
                  <a:gd name="T38" fmla="*/ 2147483647 w 101"/>
                  <a:gd name="T39" fmla="*/ 2147483647 h 106"/>
                  <a:gd name="T40" fmla="*/ 2147483647 w 101"/>
                  <a:gd name="T41" fmla="*/ 2147483647 h 106"/>
                  <a:gd name="T42" fmla="*/ 2147483647 w 101"/>
                  <a:gd name="T43" fmla="*/ 2147483647 h 106"/>
                  <a:gd name="T44" fmla="*/ 2147483647 w 101"/>
                  <a:gd name="T45" fmla="*/ 2147483647 h 106"/>
                  <a:gd name="T46" fmla="*/ 2147483647 w 101"/>
                  <a:gd name="T47" fmla="*/ 2147483647 h 106"/>
                  <a:gd name="T48" fmla="*/ 2147483647 w 101"/>
                  <a:gd name="T49" fmla="*/ 2147483647 h 106"/>
                  <a:gd name="T50" fmla="*/ 2147483647 w 101"/>
                  <a:gd name="T51" fmla="*/ 2147483647 h 106"/>
                  <a:gd name="T52" fmla="*/ 2147483647 w 101"/>
                  <a:gd name="T53" fmla="*/ 2147483647 h 106"/>
                  <a:gd name="T54" fmla="*/ 2147483647 w 101"/>
                  <a:gd name="T55" fmla="*/ 2147483647 h 106"/>
                  <a:gd name="T56" fmla="*/ 2147483647 w 101"/>
                  <a:gd name="T57" fmla="*/ 2147483647 h 10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01" h="106">
                    <a:moveTo>
                      <a:pt x="35" y="79"/>
                    </a:moveTo>
                    <a:cubicBezTo>
                      <a:pt x="39" y="83"/>
                      <a:pt x="45" y="85"/>
                      <a:pt x="52" y="85"/>
                    </a:cubicBezTo>
                    <a:cubicBezTo>
                      <a:pt x="58" y="85"/>
                      <a:pt x="63" y="84"/>
                      <a:pt x="67" y="81"/>
                    </a:cubicBezTo>
                    <a:cubicBezTo>
                      <a:pt x="71" y="78"/>
                      <a:pt x="73" y="75"/>
                      <a:pt x="74" y="72"/>
                    </a:cubicBezTo>
                    <a:cubicBezTo>
                      <a:pt x="98" y="72"/>
                      <a:pt x="98" y="72"/>
                      <a:pt x="98" y="72"/>
                    </a:cubicBezTo>
                    <a:cubicBezTo>
                      <a:pt x="94" y="84"/>
                      <a:pt x="89" y="93"/>
                      <a:pt x="81" y="98"/>
                    </a:cubicBezTo>
                    <a:cubicBezTo>
                      <a:pt x="73" y="103"/>
                      <a:pt x="63" y="106"/>
                      <a:pt x="51" y="106"/>
                    </a:cubicBezTo>
                    <a:cubicBezTo>
                      <a:pt x="44" y="106"/>
                      <a:pt x="36" y="104"/>
                      <a:pt x="30" y="102"/>
                    </a:cubicBezTo>
                    <a:cubicBezTo>
                      <a:pt x="24" y="99"/>
                      <a:pt x="18" y="96"/>
                      <a:pt x="14" y="91"/>
                    </a:cubicBezTo>
                    <a:cubicBezTo>
                      <a:pt x="10" y="86"/>
                      <a:pt x="6" y="81"/>
                      <a:pt x="4" y="74"/>
                    </a:cubicBezTo>
                    <a:cubicBezTo>
                      <a:pt x="2" y="68"/>
                      <a:pt x="0" y="61"/>
                      <a:pt x="0" y="53"/>
                    </a:cubicBezTo>
                    <a:cubicBezTo>
                      <a:pt x="0" y="46"/>
                      <a:pt x="2" y="39"/>
                      <a:pt x="4" y="32"/>
                    </a:cubicBezTo>
                    <a:cubicBezTo>
                      <a:pt x="6" y="26"/>
                      <a:pt x="10" y="20"/>
                      <a:pt x="14" y="15"/>
                    </a:cubicBezTo>
                    <a:cubicBezTo>
                      <a:pt x="19" y="11"/>
                      <a:pt x="24" y="7"/>
                      <a:pt x="31" y="4"/>
                    </a:cubicBezTo>
                    <a:cubicBezTo>
                      <a:pt x="37" y="2"/>
                      <a:pt x="44" y="0"/>
                      <a:pt x="51" y="0"/>
                    </a:cubicBezTo>
                    <a:cubicBezTo>
                      <a:pt x="60" y="0"/>
                      <a:pt x="67" y="2"/>
                      <a:pt x="74" y="5"/>
                    </a:cubicBezTo>
                    <a:cubicBezTo>
                      <a:pt x="80" y="8"/>
                      <a:pt x="85" y="13"/>
                      <a:pt x="89" y="18"/>
                    </a:cubicBezTo>
                    <a:cubicBezTo>
                      <a:pt x="93" y="24"/>
                      <a:pt x="96" y="30"/>
                      <a:pt x="98" y="37"/>
                    </a:cubicBezTo>
                    <a:cubicBezTo>
                      <a:pt x="100" y="44"/>
                      <a:pt x="101" y="52"/>
                      <a:pt x="100" y="60"/>
                    </a:cubicBezTo>
                    <a:cubicBezTo>
                      <a:pt x="28" y="60"/>
                      <a:pt x="28" y="60"/>
                      <a:pt x="28" y="60"/>
                    </a:cubicBezTo>
                    <a:cubicBezTo>
                      <a:pt x="28" y="69"/>
                      <a:pt x="30" y="75"/>
                      <a:pt x="35" y="79"/>
                    </a:cubicBezTo>
                    <a:close/>
                    <a:moveTo>
                      <a:pt x="66" y="26"/>
                    </a:moveTo>
                    <a:cubicBezTo>
                      <a:pt x="62" y="23"/>
                      <a:pt x="57" y="21"/>
                      <a:pt x="51" y="21"/>
                    </a:cubicBezTo>
                    <a:cubicBezTo>
                      <a:pt x="46" y="21"/>
                      <a:pt x="43" y="22"/>
                      <a:pt x="40" y="23"/>
                    </a:cubicBezTo>
                    <a:cubicBezTo>
                      <a:pt x="37" y="25"/>
                      <a:pt x="35" y="26"/>
                      <a:pt x="33" y="29"/>
                    </a:cubicBezTo>
                    <a:cubicBezTo>
                      <a:pt x="31" y="31"/>
                      <a:pt x="30" y="33"/>
                      <a:pt x="29" y="36"/>
                    </a:cubicBezTo>
                    <a:cubicBezTo>
                      <a:pt x="28" y="38"/>
                      <a:pt x="28" y="40"/>
                      <a:pt x="28" y="42"/>
                    </a:cubicBezTo>
                    <a:cubicBezTo>
                      <a:pt x="73" y="42"/>
                      <a:pt x="73" y="42"/>
                      <a:pt x="73" y="42"/>
                    </a:cubicBezTo>
                    <a:cubicBezTo>
                      <a:pt x="71" y="35"/>
                      <a:pt x="69" y="30"/>
                      <a:pt x="66" y="26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4" name="Freeform 30"/>
              <p:cNvSpPr>
                <a:spLocks/>
              </p:cNvSpPr>
              <p:nvPr userDrawn="1"/>
            </p:nvSpPr>
            <p:spPr bwMode="auto">
              <a:xfrm>
                <a:off x="2043113" y="4678363"/>
                <a:ext cx="119063" cy="136525"/>
              </a:xfrm>
              <a:custGeom>
                <a:avLst/>
                <a:gdLst>
                  <a:gd name="T0" fmla="*/ 2147483647 w 93"/>
                  <a:gd name="T1" fmla="*/ 2147483647 h 106"/>
                  <a:gd name="T2" fmla="*/ 2147483647 w 93"/>
                  <a:gd name="T3" fmla="*/ 2147483647 h 106"/>
                  <a:gd name="T4" fmla="*/ 2147483647 w 93"/>
                  <a:gd name="T5" fmla="*/ 2147483647 h 106"/>
                  <a:gd name="T6" fmla="*/ 2147483647 w 93"/>
                  <a:gd name="T7" fmla="*/ 2147483647 h 106"/>
                  <a:gd name="T8" fmla="*/ 2147483647 w 93"/>
                  <a:gd name="T9" fmla="*/ 2147483647 h 106"/>
                  <a:gd name="T10" fmla="*/ 2147483647 w 93"/>
                  <a:gd name="T11" fmla="*/ 2147483647 h 106"/>
                  <a:gd name="T12" fmla="*/ 2147483647 w 93"/>
                  <a:gd name="T13" fmla="*/ 2147483647 h 106"/>
                  <a:gd name="T14" fmla="*/ 2147483647 w 93"/>
                  <a:gd name="T15" fmla="*/ 2147483647 h 106"/>
                  <a:gd name="T16" fmla="*/ 2147483647 w 93"/>
                  <a:gd name="T17" fmla="*/ 2147483647 h 106"/>
                  <a:gd name="T18" fmla="*/ 2147483647 w 93"/>
                  <a:gd name="T19" fmla="*/ 2147483647 h 106"/>
                  <a:gd name="T20" fmla="*/ 2147483647 w 93"/>
                  <a:gd name="T21" fmla="*/ 2147483647 h 106"/>
                  <a:gd name="T22" fmla="*/ 2147483647 w 93"/>
                  <a:gd name="T23" fmla="*/ 2147483647 h 106"/>
                  <a:gd name="T24" fmla="*/ 2147483647 w 93"/>
                  <a:gd name="T25" fmla="*/ 2147483647 h 106"/>
                  <a:gd name="T26" fmla="*/ 2147483647 w 93"/>
                  <a:gd name="T27" fmla="*/ 2147483647 h 106"/>
                  <a:gd name="T28" fmla="*/ 2147483647 w 93"/>
                  <a:gd name="T29" fmla="*/ 2147483647 h 106"/>
                  <a:gd name="T30" fmla="*/ 2147483647 w 93"/>
                  <a:gd name="T31" fmla="*/ 2147483647 h 106"/>
                  <a:gd name="T32" fmla="*/ 2147483647 w 93"/>
                  <a:gd name="T33" fmla="*/ 2147483647 h 106"/>
                  <a:gd name="T34" fmla="*/ 2147483647 w 93"/>
                  <a:gd name="T35" fmla="*/ 0 h 106"/>
                  <a:gd name="T36" fmla="*/ 2147483647 w 93"/>
                  <a:gd name="T37" fmla="*/ 2147483647 h 106"/>
                  <a:gd name="T38" fmla="*/ 2147483647 w 93"/>
                  <a:gd name="T39" fmla="*/ 2147483647 h 106"/>
                  <a:gd name="T40" fmla="*/ 2147483647 w 93"/>
                  <a:gd name="T41" fmla="*/ 2147483647 h 106"/>
                  <a:gd name="T42" fmla="*/ 2147483647 w 93"/>
                  <a:gd name="T43" fmla="*/ 2147483647 h 106"/>
                  <a:gd name="T44" fmla="*/ 2147483647 w 93"/>
                  <a:gd name="T45" fmla="*/ 2147483647 h 106"/>
                  <a:gd name="T46" fmla="*/ 2147483647 w 93"/>
                  <a:gd name="T47" fmla="*/ 2147483647 h 106"/>
                  <a:gd name="T48" fmla="*/ 2147483647 w 93"/>
                  <a:gd name="T49" fmla="*/ 2147483647 h 106"/>
                  <a:gd name="T50" fmla="*/ 2147483647 w 93"/>
                  <a:gd name="T51" fmla="*/ 2147483647 h 106"/>
                  <a:gd name="T52" fmla="*/ 2147483647 w 93"/>
                  <a:gd name="T53" fmla="*/ 2147483647 h 106"/>
                  <a:gd name="T54" fmla="*/ 2147483647 w 93"/>
                  <a:gd name="T55" fmla="*/ 2147483647 h 106"/>
                  <a:gd name="T56" fmla="*/ 2147483647 w 93"/>
                  <a:gd name="T57" fmla="*/ 2147483647 h 106"/>
                  <a:gd name="T58" fmla="*/ 2147483647 w 93"/>
                  <a:gd name="T59" fmla="*/ 2147483647 h 106"/>
                  <a:gd name="T60" fmla="*/ 2147483647 w 93"/>
                  <a:gd name="T61" fmla="*/ 2147483647 h 106"/>
                  <a:gd name="T62" fmla="*/ 2147483647 w 93"/>
                  <a:gd name="T63" fmla="*/ 2147483647 h 106"/>
                  <a:gd name="T64" fmla="*/ 2147483647 w 93"/>
                  <a:gd name="T65" fmla="*/ 2147483647 h 106"/>
                  <a:gd name="T66" fmla="*/ 2147483647 w 93"/>
                  <a:gd name="T67" fmla="*/ 2147483647 h 106"/>
                  <a:gd name="T68" fmla="*/ 2147483647 w 93"/>
                  <a:gd name="T69" fmla="*/ 2147483647 h 106"/>
                  <a:gd name="T70" fmla="*/ 2147483647 w 93"/>
                  <a:gd name="T71" fmla="*/ 2147483647 h 106"/>
                  <a:gd name="T72" fmla="*/ 2147483647 w 93"/>
                  <a:gd name="T73" fmla="*/ 2147483647 h 106"/>
                  <a:gd name="T74" fmla="*/ 2147483647 w 93"/>
                  <a:gd name="T75" fmla="*/ 2147483647 h 106"/>
                  <a:gd name="T76" fmla="*/ 2147483647 w 93"/>
                  <a:gd name="T77" fmla="*/ 2147483647 h 106"/>
                  <a:gd name="T78" fmla="*/ 2147483647 w 93"/>
                  <a:gd name="T79" fmla="*/ 2147483647 h 106"/>
                  <a:gd name="T80" fmla="*/ 2147483647 w 93"/>
                  <a:gd name="T81" fmla="*/ 2147483647 h 106"/>
                  <a:gd name="T82" fmla="*/ 2147483647 w 93"/>
                  <a:gd name="T83" fmla="*/ 2147483647 h 106"/>
                  <a:gd name="T84" fmla="*/ 2147483647 w 93"/>
                  <a:gd name="T85" fmla="*/ 2147483647 h 106"/>
                  <a:gd name="T86" fmla="*/ 2147483647 w 93"/>
                  <a:gd name="T87" fmla="*/ 2147483647 h 106"/>
                  <a:gd name="T88" fmla="*/ 0 w 93"/>
                  <a:gd name="T89" fmla="*/ 2147483647 h 106"/>
                  <a:gd name="T90" fmla="*/ 2147483647 w 93"/>
                  <a:gd name="T91" fmla="*/ 2147483647 h 106"/>
                  <a:gd name="T92" fmla="*/ 2147483647 w 93"/>
                  <a:gd name="T93" fmla="*/ 2147483647 h 10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93" h="106">
                    <a:moveTo>
                      <a:pt x="28" y="78"/>
                    </a:moveTo>
                    <a:cubicBezTo>
                      <a:pt x="29" y="80"/>
                      <a:pt x="31" y="82"/>
                      <a:pt x="33" y="83"/>
                    </a:cubicBezTo>
                    <a:cubicBezTo>
                      <a:pt x="35" y="85"/>
                      <a:pt x="37" y="86"/>
                      <a:pt x="39" y="86"/>
                    </a:cubicBezTo>
                    <a:cubicBezTo>
                      <a:pt x="42" y="87"/>
                      <a:pt x="45" y="87"/>
                      <a:pt x="47" y="87"/>
                    </a:cubicBezTo>
                    <a:cubicBezTo>
                      <a:pt x="49" y="87"/>
                      <a:pt x="51" y="87"/>
                      <a:pt x="53" y="87"/>
                    </a:cubicBezTo>
                    <a:cubicBezTo>
                      <a:pt x="56" y="86"/>
                      <a:pt x="57" y="85"/>
                      <a:pt x="59" y="85"/>
                    </a:cubicBezTo>
                    <a:cubicBezTo>
                      <a:pt x="61" y="84"/>
                      <a:pt x="62" y="82"/>
                      <a:pt x="64" y="81"/>
                    </a:cubicBezTo>
                    <a:cubicBezTo>
                      <a:pt x="65" y="79"/>
                      <a:pt x="65" y="77"/>
                      <a:pt x="65" y="75"/>
                    </a:cubicBezTo>
                    <a:cubicBezTo>
                      <a:pt x="65" y="70"/>
                      <a:pt x="63" y="67"/>
                      <a:pt x="57" y="65"/>
                    </a:cubicBezTo>
                    <a:cubicBezTo>
                      <a:pt x="52" y="63"/>
                      <a:pt x="44" y="61"/>
                      <a:pt x="34" y="59"/>
                    </a:cubicBezTo>
                    <a:cubicBezTo>
                      <a:pt x="30" y="58"/>
                      <a:pt x="26" y="57"/>
                      <a:pt x="22" y="56"/>
                    </a:cubicBezTo>
                    <a:cubicBezTo>
                      <a:pt x="19" y="55"/>
                      <a:pt x="15" y="53"/>
                      <a:pt x="12" y="51"/>
                    </a:cubicBezTo>
                    <a:cubicBezTo>
                      <a:pt x="9" y="49"/>
                      <a:pt x="7" y="46"/>
                      <a:pt x="5" y="43"/>
                    </a:cubicBezTo>
                    <a:cubicBezTo>
                      <a:pt x="3" y="40"/>
                      <a:pt x="2" y="37"/>
                      <a:pt x="2" y="32"/>
                    </a:cubicBezTo>
                    <a:cubicBezTo>
                      <a:pt x="2" y="26"/>
                      <a:pt x="4" y="21"/>
                      <a:pt x="6" y="16"/>
                    </a:cubicBezTo>
                    <a:cubicBezTo>
                      <a:pt x="9" y="12"/>
                      <a:pt x="12" y="9"/>
                      <a:pt x="16" y="7"/>
                    </a:cubicBezTo>
                    <a:cubicBezTo>
                      <a:pt x="20" y="4"/>
                      <a:pt x="25" y="3"/>
                      <a:pt x="30" y="2"/>
                    </a:cubicBezTo>
                    <a:cubicBezTo>
                      <a:pt x="35" y="1"/>
                      <a:pt x="41" y="0"/>
                      <a:pt x="46" y="0"/>
                    </a:cubicBezTo>
                    <a:cubicBezTo>
                      <a:pt x="51" y="0"/>
                      <a:pt x="57" y="1"/>
                      <a:pt x="62" y="2"/>
                    </a:cubicBezTo>
                    <a:cubicBezTo>
                      <a:pt x="67" y="3"/>
                      <a:pt x="71" y="4"/>
                      <a:pt x="75" y="7"/>
                    </a:cubicBezTo>
                    <a:cubicBezTo>
                      <a:pt x="79" y="9"/>
                      <a:pt x="83" y="13"/>
                      <a:pt x="85" y="17"/>
                    </a:cubicBezTo>
                    <a:cubicBezTo>
                      <a:pt x="88" y="21"/>
                      <a:pt x="90" y="26"/>
                      <a:pt x="90" y="32"/>
                    </a:cubicBezTo>
                    <a:cubicBezTo>
                      <a:pt x="64" y="32"/>
                      <a:pt x="64" y="32"/>
                      <a:pt x="64" y="32"/>
                    </a:cubicBezTo>
                    <a:cubicBezTo>
                      <a:pt x="64" y="27"/>
                      <a:pt x="62" y="23"/>
                      <a:pt x="58" y="21"/>
                    </a:cubicBezTo>
                    <a:cubicBezTo>
                      <a:pt x="54" y="20"/>
                      <a:pt x="50" y="19"/>
                      <a:pt x="45" y="19"/>
                    </a:cubicBezTo>
                    <a:cubicBezTo>
                      <a:pt x="44" y="19"/>
                      <a:pt x="42" y="19"/>
                      <a:pt x="40" y="19"/>
                    </a:cubicBezTo>
                    <a:cubicBezTo>
                      <a:pt x="38" y="19"/>
                      <a:pt x="37" y="19"/>
                      <a:pt x="35" y="20"/>
                    </a:cubicBezTo>
                    <a:cubicBezTo>
                      <a:pt x="34" y="21"/>
                      <a:pt x="32" y="22"/>
                      <a:pt x="31" y="23"/>
                    </a:cubicBezTo>
                    <a:cubicBezTo>
                      <a:pt x="30" y="24"/>
                      <a:pt x="30" y="26"/>
                      <a:pt x="30" y="28"/>
                    </a:cubicBezTo>
                    <a:cubicBezTo>
                      <a:pt x="30" y="30"/>
                      <a:pt x="31" y="32"/>
                      <a:pt x="33" y="34"/>
                    </a:cubicBezTo>
                    <a:cubicBezTo>
                      <a:pt x="34" y="35"/>
                      <a:pt x="37" y="37"/>
                      <a:pt x="40" y="38"/>
                    </a:cubicBezTo>
                    <a:cubicBezTo>
                      <a:pt x="43" y="39"/>
                      <a:pt x="46" y="39"/>
                      <a:pt x="50" y="40"/>
                    </a:cubicBezTo>
                    <a:cubicBezTo>
                      <a:pt x="53" y="41"/>
                      <a:pt x="57" y="42"/>
                      <a:pt x="61" y="43"/>
                    </a:cubicBezTo>
                    <a:cubicBezTo>
                      <a:pt x="65" y="44"/>
                      <a:pt x="69" y="45"/>
                      <a:pt x="73" y="46"/>
                    </a:cubicBezTo>
                    <a:cubicBezTo>
                      <a:pt x="77" y="47"/>
                      <a:pt x="80" y="49"/>
                      <a:pt x="83" y="51"/>
                    </a:cubicBezTo>
                    <a:cubicBezTo>
                      <a:pt x="86" y="53"/>
                      <a:pt x="88" y="56"/>
                      <a:pt x="90" y="59"/>
                    </a:cubicBezTo>
                    <a:cubicBezTo>
                      <a:pt x="92" y="62"/>
                      <a:pt x="93" y="66"/>
                      <a:pt x="93" y="71"/>
                    </a:cubicBezTo>
                    <a:cubicBezTo>
                      <a:pt x="93" y="77"/>
                      <a:pt x="91" y="83"/>
                      <a:pt x="89" y="87"/>
                    </a:cubicBezTo>
                    <a:cubicBezTo>
                      <a:pt x="86" y="92"/>
                      <a:pt x="83" y="95"/>
                      <a:pt x="78" y="98"/>
                    </a:cubicBezTo>
                    <a:cubicBezTo>
                      <a:pt x="74" y="101"/>
                      <a:pt x="69" y="103"/>
                      <a:pt x="64" y="104"/>
                    </a:cubicBezTo>
                    <a:cubicBezTo>
                      <a:pt x="58" y="105"/>
                      <a:pt x="53" y="106"/>
                      <a:pt x="47" y="106"/>
                    </a:cubicBezTo>
                    <a:cubicBezTo>
                      <a:pt x="41" y="106"/>
                      <a:pt x="36" y="105"/>
                      <a:pt x="30" y="104"/>
                    </a:cubicBezTo>
                    <a:cubicBezTo>
                      <a:pt x="25" y="103"/>
                      <a:pt x="20" y="101"/>
                      <a:pt x="15" y="98"/>
                    </a:cubicBezTo>
                    <a:cubicBezTo>
                      <a:pt x="11" y="95"/>
                      <a:pt x="7" y="92"/>
                      <a:pt x="5" y="87"/>
                    </a:cubicBezTo>
                    <a:cubicBezTo>
                      <a:pt x="2" y="83"/>
                      <a:pt x="0" y="77"/>
                      <a:pt x="0" y="70"/>
                    </a:cubicBezTo>
                    <a:cubicBezTo>
                      <a:pt x="26" y="70"/>
                      <a:pt x="26" y="70"/>
                      <a:pt x="26" y="70"/>
                    </a:cubicBezTo>
                    <a:cubicBezTo>
                      <a:pt x="26" y="73"/>
                      <a:pt x="27" y="76"/>
                      <a:pt x="28" y="7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</p:grp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8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4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581686885"/>
      </p:ext>
    </p:extLst>
  </p:cSld>
  <p:clrMapOvr>
    <a:masterClrMapping/>
  </p:clrMapOvr>
  <p:transition spd="med">
    <p:fade/>
  </p:transition>
  <p:hf sldNum="0" hdr="0" ftr="0"/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8295853"/>
      </p:ext>
    </p:extLst>
  </p:cSld>
  <p:clrMapOvr>
    <a:masterClrMapping/>
  </p:clrMapOvr>
  <p:transition spd="med">
    <p:fade/>
  </p:transition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1011239" y="1329943"/>
            <a:ext cx="3827462" cy="29158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991100" y="1329943"/>
            <a:ext cx="3829050" cy="29158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Rectangle 759"/>
          <p:cNvSpPr>
            <a:spLocks noGrp="1" noChangeArrowheads="1"/>
          </p:cNvSpPr>
          <p:nvPr>
            <p:ph type="ftr" sz="quarter" idx="10"/>
          </p:nvPr>
        </p:nvSpPr>
        <p:spPr>
          <a:xfrm>
            <a:off x="1011238" y="4805363"/>
            <a:ext cx="2487612" cy="163512"/>
          </a:xfrm>
          <a:prstGeom prst="rect">
            <a:avLst/>
          </a:prstGeom>
        </p:spPr>
        <p:txBody>
          <a:bodyPr lIns="77843" tIns="38923" rIns="77843" bIns="38923"/>
          <a:lstStyle>
            <a:lvl1pPr defTabSz="914400">
              <a:defRPr sz="1700">
                <a:solidFill>
                  <a:srgbClr val="000000"/>
                </a:solidFill>
                <a:latin typeface="Helvetica 45 Light" pitchFamily="34" charset="0"/>
                <a:ea typeface="ＭＳ Ｐゴシック" pitchFamily="34" charset="-128"/>
                <a:cs typeface="Arial" charset="0"/>
              </a:defRPr>
            </a:lvl1pPr>
          </a:lstStyle>
          <a:p>
            <a:pPr>
              <a:defRPr/>
            </a:pPr>
            <a:r>
              <a:rPr lang="en-GB"/>
              <a:t>Orange presentation</a:t>
            </a:r>
          </a:p>
        </p:txBody>
      </p:sp>
    </p:spTree>
    <p:extLst>
      <p:ext uri="{BB962C8B-B14F-4D97-AF65-F5344CB8AC3E}">
        <p14:creationId xmlns:p14="http://schemas.microsoft.com/office/powerpoint/2010/main" val="135220059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7" rIns="91432" bIns="45717" anchor="ctr"/>
          <a:lstStyle/>
          <a:p>
            <a:pPr algn="ctr" defTabSz="712731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6" name="Picture 2" descr="C:\Users\GBLG1056\Desktop\images\Orange Business Services logo 080714\digital\PNG\obs_left_rgb_black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888" y="4084638"/>
            <a:ext cx="1901825" cy="82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31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67" y="339726"/>
            <a:ext cx="2301875" cy="3460750"/>
          </a:xfrm>
        </p:spPr>
        <p:txBody>
          <a:bodyPr tIns="109720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307896412"/>
      </p:ext>
    </p:extLst>
  </p:cSld>
  <p:clrMapOvr>
    <a:masterClrMapping/>
  </p:clrMapOvr>
  <p:transition spd="med">
    <p:fade/>
  </p:transition>
  <p:hf sldNum="0" hdr="0" ftr="0"/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5994486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611188" y="4657725"/>
            <a:ext cx="1081087" cy="2905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2788">
              <a:defRPr/>
            </a:pPr>
            <a:endParaRPr lang="fr-FR">
              <a:solidFill>
                <a:srgbClr val="00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0" y="33972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08539"/>
      </p:ext>
    </p:extLst>
  </p:cSld>
  <p:clrMapOvr>
    <a:masterClrMapping/>
  </p:clrMapOvr>
  <p:transition spd="med">
    <p:fade/>
  </p:transition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 marL="0" indent="0">
              <a:lnSpc>
                <a:spcPct val="85000"/>
              </a:lnSpc>
              <a:spcAft>
                <a:spcPts val="0"/>
              </a:spcAft>
              <a:buNone/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indent="-401638">
              <a:lnSpc>
                <a:spcPct val="85000"/>
              </a:lnSpc>
              <a:spcAft>
                <a:spcPts val="0"/>
              </a:spcAft>
              <a:buFont typeface="+mj-lt"/>
              <a:buAutoNum type="arabicPeriod"/>
              <a:defRPr sz="30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8638124"/>
      </p:ext>
    </p:extLst>
  </p:cSld>
  <p:clrMapOvr>
    <a:masterClrMapping/>
  </p:clrMapOvr>
  <p:transition spd="med">
    <p:fade/>
  </p:transition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2788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6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5pPr>
              <a:lvl6pPr marL="18811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6pPr>
              <a:lvl7pPr marL="23383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7pPr>
              <a:lvl8pPr marL="27955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8pPr>
              <a:lvl9pPr marL="32527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smtClean="0">
                <a:solidFill>
                  <a:srgbClr val="FF6600"/>
                </a:solidFill>
                <a:latin typeface="Helvetica 75 Bold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7 w 104"/>
                <a:gd name="T1" fmla="*/ 2147483647 h 122"/>
                <a:gd name="T2" fmla="*/ 2147483647 w 104"/>
                <a:gd name="T3" fmla="*/ 2147483647 h 122"/>
                <a:gd name="T4" fmla="*/ 2147483647 w 104"/>
                <a:gd name="T5" fmla="*/ 2147483647 h 122"/>
                <a:gd name="T6" fmla="*/ 2147483647 w 104"/>
                <a:gd name="T7" fmla="*/ 2147483647 h 122"/>
                <a:gd name="T8" fmla="*/ 2147483647 w 104"/>
                <a:gd name="T9" fmla="*/ 2147483647 h 122"/>
                <a:gd name="T10" fmla="*/ 2147483647 w 104"/>
                <a:gd name="T11" fmla="*/ 2147483647 h 122"/>
                <a:gd name="T12" fmla="*/ 2147483647 w 104"/>
                <a:gd name="T13" fmla="*/ 2147483647 h 122"/>
                <a:gd name="T14" fmla="*/ 0 w 104"/>
                <a:gd name="T15" fmla="*/ 2147483647 h 122"/>
                <a:gd name="T16" fmla="*/ 2147483647 w 104"/>
                <a:gd name="T17" fmla="*/ 2147483647 h 122"/>
                <a:gd name="T18" fmla="*/ 2147483647 w 104"/>
                <a:gd name="T19" fmla="*/ 2147483647 h 122"/>
                <a:gd name="T20" fmla="*/ 2147483647 w 104"/>
                <a:gd name="T21" fmla="*/ 2147483647 h 122"/>
                <a:gd name="T22" fmla="*/ 2147483647 w 104"/>
                <a:gd name="T23" fmla="*/ 2147483647 h 122"/>
                <a:gd name="T24" fmla="*/ 2147483647 w 104"/>
                <a:gd name="T25" fmla="*/ 2147483647 h 122"/>
                <a:gd name="T26" fmla="*/ 2147483647 w 104"/>
                <a:gd name="T27" fmla="*/ 0 h 122"/>
                <a:gd name="T28" fmla="*/ 2147483647 w 104"/>
                <a:gd name="T29" fmla="*/ 2147483647 h 122"/>
                <a:gd name="T30" fmla="*/ 2147483647 w 104"/>
                <a:gd name="T31" fmla="*/ 2147483647 h 122"/>
                <a:gd name="T32" fmla="*/ 2147483647 w 104"/>
                <a:gd name="T33" fmla="*/ 2147483647 h 122"/>
                <a:gd name="T34" fmla="*/ 2147483647 w 104"/>
                <a:gd name="T35" fmla="*/ 2147483647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7 h 120"/>
                <a:gd name="T2" fmla="*/ 2147483647 w 105"/>
                <a:gd name="T3" fmla="*/ 2147483647 h 120"/>
                <a:gd name="T4" fmla="*/ 2147483647 w 105"/>
                <a:gd name="T5" fmla="*/ 2147483647 h 120"/>
                <a:gd name="T6" fmla="*/ 2147483647 w 105"/>
                <a:gd name="T7" fmla="*/ 0 h 120"/>
                <a:gd name="T8" fmla="*/ 2147483647 w 105"/>
                <a:gd name="T9" fmla="*/ 2147483647 h 120"/>
                <a:gd name="T10" fmla="*/ 2147483647 w 105"/>
                <a:gd name="T11" fmla="*/ 2147483647 h 120"/>
                <a:gd name="T12" fmla="*/ 2147483647 w 105"/>
                <a:gd name="T13" fmla="*/ 2147483647 h 120"/>
                <a:gd name="T14" fmla="*/ 2147483647 w 105"/>
                <a:gd name="T15" fmla="*/ 2147483647 h 120"/>
                <a:gd name="T16" fmla="*/ 2147483647 w 105"/>
                <a:gd name="T17" fmla="*/ 2147483647 h 120"/>
                <a:gd name="T18" fmla="*/ 2147483647 w 105"/>
                <a:gd name="T19" fmla="*/ 2147483647 h 120"/>
                <a:gd name="T20" fmla="*/ 2147483647 w 105"/>
                <a:gd name="T21" fmla="*/ 2147483647 h 120"/>
                <a:gd name="T22" fmla="*/ 0 w 105"/>
                <a:gd name="T23" fmla="*/ 2147483647 h 120"/>
                <a:gd name="T24" fmla="*/ 0 w 105"/>
                <a:gd name="T25" fmla="*/ 2147483647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7 w 109"/>
                <a:gd name="T1" fmla="*/ 2147483647 h 122"/>
                <a:gd name="T2" fmla="*/ 2147483647 w 109"/>
                <a:gd name="T3" fmla="*/ 2147483647 h 122"/>
                <a:gd name="T4" fmla="*/ 2147483647 w 109"/>
                <a:gd name="T5" fmla="*/ 2147483647 h 122"/>
                <a:gd name="T6" fmla="*/ 2147483647 w 109"/>
                <a:gd name="T7" fmla="*/ 2147483647 h 122"/>
                <a:gd name="T8" fmla="*/ 2147483647 w 109"/>
                <a:gd name="T9" fmla="*/ 2147483647 h 122"/>
                <a:gd name="T10" fmla="*/ 0 w 109"/>
                <a:gd name="T11" fmla="*/ 2147483647 h 122"/>
                <a:gd name="T12" fmla="*/ 2147483647 w 109"/>
                <a:gd name="T13" fmla="*/ 0 h 122"/>
                <a:gd name="T14" fmla="*/ 2147483647 w 109"/>
                <a:gd name="T15" fmla="*/ 2147483647 h 122"/>
                <a:gd name="T16" fmla="*/ 2147483647 w 109"/>
                <a:gd name="T17" fmla="*/ 2147483647 h 122"/>
                <a:gd name="T18" fmla="*/ 2147483647 w 109"/>
                <a:gd name="T19" fmla="*/ 2147483647 h 122"/>
                <a:gd name="T20" fmla="*/ 2147483647 w 109"/>
                <a:gd name="T21" fmla="*/ 2147483647 h 122"/>
                <a:gd name="T22" fmla="*/ 2147483647 w 109"/>
                <a:gd name="T23" fmla="*/ 2147483647 h 122"/>
                <a:gd name="T24" fmla="*/ 2147483647 w 109"/>
                <a:gd name="T25" fmla="*/ 2147483647 h 122"/>
                <a:gd name="T26" fmla="*/ 2147483647 w 109"/>
                <a:gd name="T27" fmla="*/ 2147483647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7 w 116"/>
                <a:gd name="T1" fmla="*/ 2147483647 h 124"/>
                <a:gd name="T2" fmla="*/ 2147483647 w 116"/>
                <a:gd name="T3" fmla="*/ 2147483647 h 124"/>
                <a:gd name="T4" fmla="*/ 2147483647 w 116"/>
                <a:gd name="T5" fmla="*/ 2147483647 h 124"/>
                <a:gd name="T6" fmla="*/ 2147483647 w 116"/>
                <a:gd name="T7" fmla="*/ 2147483647 h 124"/>
                <a:gd name="T8" fmla="*/ 2147483647 w 116"/>
                <a:gd name="T9" fmla="*/ 2147483647 h 124"/>
                <a:gd name="T10" fmla="*/ 2147483647 w 116"/>
                <a:gd name="T11" fmla="*/ 2147483647 h 124"/>
                <a:gd name="T12" fmla="*/ 0 w 116"/>
                <a:gd name="T13" fmla="*/ 2147483647 h 124"/>
                <a:gd name="T14" fmla="*/ 2147483647 w 116"/>
                <a:gd name="T15" fmla="*/ 0 h 124"/>
                <a:gd name="T16" fmla="*/ 2147483647 w 116"/>
                <a:gd name="T17" fmla="*/ 2147483647 h 124"/>
                <a:gd name="T18" fmla="*/ 2147483647 w 116"/>
                <a:gd name="T19" fmla="*/ 2147483647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7 h 120"/>
                <a:gd name="T2" fmla="*/ 2147483647 w 66"/>
                <a:gd name="T3" fmla="*/ 2147483647 h 120"/>
                <a:gd name="T4" fmla="*/ 2147483647 w 66"/>
                <a:gd name="T5" fmla="*/ 2147483647 h 120"/>
                <a:gd name="T6" fmla="*/ 2147483647 w 66"/>
                <a:gd name="T7" fmla="*/ 0 h 120"/>
                <a:gd name="T8" fmla="*/ 2147483647 w 66"/>
                <a:gd name="T9" fmla="*/ 2147483647 h 120"/>
                <a:gd name="T10" fmla="*/ 2147483647 w 66"/>
                <a:gd name="T11" fmla="*/ 2147483647 h 120"/>
                <a:gd name="T12" fmla="*/ 2147483647 w 66"/>
                <a:gd name="T13" fmla="*/ 2147483647 h 120"/>
                <a:gd name="T14" fmla="*/ 2147483647 w 66"/>
                <a:gd name="T15" fmla="*/ 2147483647 h 120"/>
                <a:gd name="T16" fmla="*/ 2147483647 w 66"/>
                <a:gd name="T17" fmla="*/ 2147483647 h 120"/>
                <a:gd name="T18" fmla="*/ 0 w 66"/>
                <a:gd name="T19" fmla="*/ 2147483647 h 120"/>
                <a:gd name="T20" fmla="*/ 0 w 66"/>
                <a:gd name="T21" fmla="*/ 2147483647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7 w 110"/>
                <a:gd name="T1" fmla="*/ 2147483647 h 166"/>
                <a:gd name="T2" fmla="*/ 2147483647 w 110"/>
                <a:gd name="T3" fmla="*/ 2147483647 h 166"/>
                <a:gd name="T4" fmla="*/ 2147483647 w 110"/>
                <a:gd name="T5" fmla="*/ 2147483647 h 166"/>
                <a:gd name="T6" fmla="*/ 2147483647 w 110"/>
                <a:gd name="T7" fmla="*/ 2147483647 h 166"/>
                <a:gd name="T8" fmla="*/ 2147483647 w 110"/>
                <a:gd name="T9" fmla="*/ 2147483647 h 166"/>
                <a:gd name="T10" fmla="*/ 2147483647 w 110"/>
                <a:gd name="T11" fmla="*/ 2147483647 h 166"/>
                <a:gd name="T12" fmla="*/ 2147483647 w 110"/>
                <a:gd name="T13" fmla="*/ 2147483647 h 166"/>
                <a:gd name="T14" fmla="*/ 2147483647 w 110"/>
                <a:gd name="T15" fmla="*/ 2147483647 h 166"/>
                <a:gd name="T16" fmla="*/ 2147483647 w 110"/>
                <a:gd name="T17" fmla="*/ 2147483647 h 166"/>
                <a:gd name="T18" fmla="*/ 2147483647 w 110"/>
                <a:gd name="T19" fmla="*/ 2147483647 h 166"/>
                <a:gd name="T20" fmla="*/ 0 w 110"/>
                <a:gd name="T21" fmla="*/ 2147483647 h 166"/>
                <a:gd name="T22" fmla="*/ 2147483647 w 110"/>
                <a:gd name="T23" fmla="*/ 0 h 166"/>
                <a:gd name="T24" fmla="*/ 2147483647 w 110"/>
                <a:gd name="T25" fmla="*/ 2147483647 h 166"/>
                <a:gd name="T26" fmla="*/ 2147483647 w 110"/>
                <a:gd name="T27" fmla="*/ 2147483647 h 166"/>
                <a:gd name="T28" fmla="*/ 2147483647 w 110"/>
                <a:gd name="T29" fmla="*/ 2147483647 h 166"/>
                <a:gd name="T30" fmla="*/ 2147483647 w 110"/>
                <a:gd name="T31" fmla="*/ 2147483647 h 166"/>
                <a:gd name="T32" fmla="*/ 2147483647 w 110"/>
                <a:gd name="T33" fmla="*/ 2147483647 h 166"/>
                <a:gd name="T34" fmla="*/ 2147483647 w 110"/>
                <a:gd name="T35" fmla="*/ 2147483647 h 166"/>
                <a:gd name="T36" fmla="*/ 2147483647 w 110"/>
                <a:gd name="T37" fmla="*/ 2147483647 h 166"/>
                <a:gd name="T38" fmla="*/ 2147483647 w 110"/>
                <a:gd name="T39" fmla="*/ 2147483647 h 166"/>
                <a:gd name="T40" fmla="*/ 2147483647 w 110"/>
                <a:gd name="T41" fmla="*/ 2147483647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7 w 195"/>
                <a:gd name="T1" fmla="*/ 2147483647 h 92"/>
                <a:gd name="T2" fmla="*/ 2147483647 w 195"/>
                <a:gd name="T3" fmla="*/ 2147483647 h 92"/>
                <a:gd name="T4" fmla="*/ 2147483647 w 195"/>
                <a:gd name="T5" fmla="*/ 2147483647 h 92"/>
                <a:gd name="T6" fmla="*/ 2147483647 w 195"/>
                <a:gd name="T7" fmla="*/ 2147483647 h 92"/>
                <a:gd name="T8" fmla="*/ 2147483647 w 195"/>
                <a:gd name="T9" fmla="*/ 2147483647 h 92"/>
                <a:gd name="T10" fmla="*/ 2147483647 w 195"/>
                <a:gd name="T11" fmla="*/ 2147483647 h 92"/>
                <a:gd name="T12" fmla="*/ 2147483647 w 195"/>
                <a:gd name="T13" fmla="*/ 2147483647 h 92"/>
                <a:gd name="T14" fmla="*/ 2147483647 w 195"/>
                <a:gd name="T15" fmla="*/ 2147483647 h 92"/>
                <a:gd name="T16" fmla="*/ 2147483647 w 195"/>
                <a:gd name="T17" fmla="*/ 2147483647 h 92"/>
                <a:gd name="T18" fmla="*/ 2147483647 w 195"/>
                <a:gd name="T19" fmla="*/ 2147483647 h 92"/>
                <a:gd name="T20" fmla="*/ 2147483647 w 195"/>
                <a:gd name="T21" fmla="*/ 0 h 92"/>
                <a:gd name="T22" fmla="*/ 2147483647 w 195"/>
                <a:gd name="T23" fmla="*/ 0 h 92"/>
                <a:gd name="T24" fmla="*/ 2147483647 w 195"/>
                <a:gd name="T25" fmla="*/ 2147483647 h 92"/>
                <a:gd name="T26" fmla="*/ 2147483647 w 195"/>
                <a:gd name="T27" fmla="*/ 0 h 92"/>
                <a:gd name="T28" fmla="*/ 2147483647 w 195"/>
                <a:gd name="T29" fmla="*/ 0 h 92"/>
                <a:gd name="T30" fmla="*/ 2147483647 w 195"/>
                <a:gd name="T31" fmla="*/ 2147483647 h 92"/>
                <a:gd name="T32" fmla="*/ 2147483647 w 195"/>
                <a:gd name="T33" fmla="*/ 2147483647 h 92"/>
                <a:gd name="T34" fmla="*/ 2147483647 w 195"/>
                <a:gd name="T35" fmla="*/ 2147483647 h 92"/>
                <a:gd name="T36" fmla="*/ 2147483647 w 195"/>
                <a:gd name="T37" fmla="*/ 2147483647 h 92"/>
                <a:gd name="T38" fmla="*/ 2147483647 w 195"/>
                <a:gd name="T39" fmla="*/ 2147483647 h 92"/>
                <a:gd name="T40" fmla="*/ 2147483647 w 195"/>
                <a:gd name="T41" fmla="*/ 2147483647 h 92"/>
                <a:gd name="T42" fmla="*/ 0 w 195"/>
                <a:gd name="T43" fmla="*/ 2147483647 h 92"/>
                <a:gd name="T44" fmla="*/ 0 w 195"/>
                <a:gd name="T45" fmla="*/ 0 h 92"/>
                <a:gd name="T46" fmla="*/ 2147483647 w 195"/>
                <a:gd name="T47" fmla="*/ 0 h 92"/>
                <a:gd name="T48" fmla="*/ 2147483647 w 195"/>
                <a:gd name="T49" fmla="*/ 2147483647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867967880"/>
      </p:ext>
    </p:extLst>
  </p:cSld>
  <p:clrMapOvr>
    <a:masterClrMapping/>
  </p:clrMapOvr>
  <p:transition spd="med">
    <p:fade/>
  </p:transition>
  <p:hf sldNum="0" hdr="0" ftr="0"/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bg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4262403646"/>
      </p:ext>
    </p:extLst>
  </p:cSld>
  <p:clrMapOvr>
    <a:masterClrMapping/>
  </p:clrMapOvr>
  <p:transition spd="med">
    <p:fade/>
  </p:transition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4152858359"/>
      </p:ext>
    </p:extLst>
  </p:cSld>
  <p:clrMapOvr>
    <a:masterClrMapping/>
  </p:clrMapOvr>
  <p:transition spd="med">
    <p:fade/>
  </p:transition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963368"/>
      </p:ext>
    </p:extLst>
  </p:cSld>
  <p:clrMapOvr>
    <a:masterClrMapping/>
  </p:clrMapOvr>
  <p:transition spd="med">
    <p:fade/>
  </p:transition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4130706"/>
      </p:ext>
    </p:extLst>
  </p:cSld>
  <p:clrMapOvr>
    <a:masterClrMapping/>
  </p:clrMapOvr>
  <p:transition spd="med">
    <p:fade/>
  </p:transition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0167071"/>
      </p:ext>
    </p:extLst>
  </p:cSld>
  <p:clrMapOvr>
    <a:masterClrMapping/>
  </p:clrMapOvr>
  <p:transition spd="med">
    <p:fade/>
  </p:transition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3005327"/>
      </p:ext>
    </p:extLst>
  </p:cSld>
  <p:clrMapOvr>
    <a:masterClrMapping/>
  </p:clrMapOvr>
  <p:transition spd="med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9" descr="icone-essentiel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9300" y="203200"/>
            <a:ext cx="558800" cy="43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Straight Connector 5"/>
          <p:cNvCxnSpPr/>
          <p:nvPr userDrawn="1"/>
        </p:nvCxnSpPr>
        <p:spPr>
          <a:xfrm>
            <a:off x="350838" y="663575"/>
            <a:ext cx="8639175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39757" y="339741"/>
            <a:ext cx="7904683" cy="621329"/>
          </a:xfrm>
        </p:spPr>
        <p:txBody>
          <a:bodyPr/>
          <a:lstStyle/>
          <a:p>
            <a:r>
              <a:rPr lang="fr-FR" dirty="0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0925423"/>
      </p:ext>
    </p:extLst>
  </p:cSld>
  <p:clrMapOvr>
    <a:masterClrMapping/>
  </p:clrMapOvr>
  <p:transition spd="med">
    <p:fade/>
  </p:transition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0560272"/>
      </p:ext>
    </p:extLst>
  </p:cSld>
  <p:clrMapOvr>
    <a:masterClrMapping/>
  </p:clrMapOvr>
  <p:transition spd="med">
    <p:fade/>
  </p:transition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05025902"/>
      </p:ext>
    </p:extLst>
  </p:cSld>
  <p:clrMapOvr>
    <a:masterClrMapping/>
  </p:clrMapOvr>
  <p:transition spd="med">
    <p:fade/>
  </p:transition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>
          <a:xfrm>
            <a:off x="250827" y="1059582"/>
            <a:ext cx="8664575" cy="3486150"/>
          </a:xfrm>
        </p:spPr>
        <p:txBody>
          <a:bodyPr/>
          <a:lstStyle>
            <a:lvl1pPr>
              <a:buClr>
                <a:schemeClr val="bg2"/>
              </a:buCl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50431321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250828" y="228601"/>
            <a:ext cx="8683625" cy="738188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 bwMode="gray">
          <a:xfrm>
            <a:off x="250825" y="1599643"/>
            <a:ext cx="4177160" cy="3071750"/>
          </a:xfrm>
        </p:spPr>
        <p:txBody>
          <a:bodyPr/>
          <a:lstStyle>
            <a:lvl1pPr>
              <a:spcBef>
                <a:spcPts val="600"/>
              </a:spcBef>
              <a:buClr>
                <a:schemeClr val="bg2"/>
              </a:buClr>
              <a:buSzPct val="100000"/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buSzPct val="100000"/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1"/>
          </p:nvPr>
        </p:nvSpPr>
        <p:spPr>
          <a:xfrm>
            <a:off x="4758450" y="1600628"/>
            <a:ext cx="4176000" cy="307735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ts val="600"/>
              </a:spcBef>
              <a:buClr>
                <a:schemeClr val="bg2"/>
              </a:buClr>
              <a:defRPr lang="fr-FR" dirty="0" smtClean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defRPr lang="fr-FR" dirty="0" smtClean="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 lang="fr-FR" dirty="0" smtClean="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defRPr lang="fr-FR" dirty="0" smtClean="0"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defRPr lang="fr-FR" dirty="0">
                <a:solidFill>
                  <a:schemeClr val="tx2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250825" y="1114090"/>
            <a:ext cx="4177159" cy="37754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marL="0" indent="0">
              <a:spcBef>
                <a:spcPts val="0"/>
              </a:spcBef>
              <a:buNone/>
              <a:defRPr lang="fr-FR" sz="1600" b="1" dirty="0" smtClean="0">
                <a:solidFill>
                  <a:schemeClr val="bg2"/>
                </a:solidFill>
                <a:latin typeface="Helvetica 75 Bold" panose="020B0804020202020204" pitchFamily="34" charset="0"/>
              </a:defRPr>
            </a:lvl1pPr>
            <a:lvl2pPr>
              <a:defRPr lang="fr-FR" dirty="0" smtClean="0"/>
            </a:lvl2pPr>
            <a:lvl3pPr>
              <a:defRPr lang="fr-FR" dirty="0" smtClean="0"/>
            </a:lvl3pPr>
            <a:lvl4pPr>
              <a:defRPr lang="fr-FR" dirty="0" smtClean="0"/>
            </a:lvl4pPr>
            <a:lvl5pPr>
              <a:defRPr lang="fr-FR" dirty="0"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4758453" y="1114090"/>
            <a:ext cx="4177159" cy="37754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marL="0" indent="0">
              <a:spcBef>
                <a:spcPts val="0"/>
              </a:spcBef>
              <a:buNone/>
              <a:defRPr lang="fr-FR" sz="1600" b="1" dirty="0" smtClean="0">
                <a:solidFill>
                  <a:schemeClr val="bg2"/>
                </a:solidFill>
                <a:latin typeface="Helvetica 75 Bold" panose="020B0804020202020204" pitchFamily="34" charset="0"/>
              </a:defRPr>
            </a:lvl1pPr>
            <a:lvl2pPr>
              <a:defRPr lang="fr-FR" dirty="0" smtClean="0"/>
            </a:lvl2pPr>
            <a:lvl3pPr>
              <a:defRPr lang="fr-FR" dirty="0" smtClean="0"/>
            </a:lvl3pPr>
            <a:lvl4pPr>
              <a:defRPr lang="fr-FR" dirty="0" smtClean="0"/>
            </a:lvl4pPr>
            <a:lvl5pPr>
              <a:defRPr lang="fr-FR" dirty="0"/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873639898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8279816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994840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23292934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3641066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emta8361\Documents\Visuels\Logos\logo_rgb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2463" y="4300538"/>
            <a:ext cx="574675" cy="57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63558" y="483518"/>
            <a:ext cx="5506891" cy="1661993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5400" b="0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363557" y="1305879"/>
            <a:ext cx="5506891" cy="2492990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bg1">
                  <a:lumMod val="50000"/>
                  <a:lumOff val="50000"/>
                </a:schemeClr>
              </a:buClr>
              <a:buSzPct val="100000"/>
              <a:buFont typeface="Helvetica 35 Thin" pitchFamily="34" charset="0"/>
              <a:buNone/>
              <a:defRPr sz="5400">
                <a:solidFill>
                  <a:schemeClr val="bg2"/>
                </a:solidFill>
                <a:latin typeface="Helvetica 75 Bold" panose="020B0804020202020204" pitchFamily="34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1"/>
          </p:nvPr>
        </p:nvSpPr>
        <p:spPr>
          <a:xfrm>
            <a:off x="6732240" y="526367"/>
            <a:ext cx="2105716" cy="492443"/>
          </a:xfrm>
        </p:spPr>
        <p:txBody>
          <a:bodyPr>
            <a:spAutoFit/>
          </a:bodyPr>
          <a:lstStyle>
            <a:lvl1pPr marL="0" indent="0" algn="r">
              <a:spcBef>
                <a:spcPts val="0"/>
              </a:spcBef>
              <a:buNone/>
              <a:defRPr sz="1600">
                <a:solidFill>
                  <a:schemeClr val="tx2"/>
                </a:solidFill>
                <a:latin typeface="Helvetica 75 Bold" panose="020B0804020202020204" pitchFamily="34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062196367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emta8361\Documents\Visuels\Logos\logo_rgb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2463" y="4300538"/>
            <a:ext cx="574675" cy="57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63558" y="483518"/>
            <a:ext cx="6800731" cy="1661993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5400" b="0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363557" y="1305879"/>
            <a:ext cx="6800731" cy="1661993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bg1">
                  <a:lumMod val="50000"/>
                  <a:lumOff val="50000"/>
                </a:schemeClr>
              </a:buClr>
              <a:buSzPct val="100000"/>
              <a:buFont typeface="Helvetica 35 Thin" pitchFamily="34" charset="0"/>
              <a:buNone/>
              <a:defRPr sz="5400">
                <a:solidFill>
                  <a:schemeClr val="bg2"/>
                </a:solidFill>
                <a:latin typeface="Helvetica 75 Bold" panose="020B0804020202020204" pitchFamily="34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1"/>
          </p:nvPr>
        </p:nvSpPr>
        <p:spPr>
          <a:xfrm>
            <a:off x="383436" y="4341372"/>
            <a:ext cx="2105716" cy="492443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2"/>
                </a:solidFill>
                <a:latin typeface="Helvetica 75 Bold" panose="020B0804020202020204" pitchFamily="34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89792536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5"/>
          <p:cNvCxnSpPr/>
          <p:nvPr userDrawn="1"/>
        </p:nvCxnSpPr>
        <p:spPr>
          <a:xfrm>
            <a:off x="350838" y="663575"/>
            <a:ext cx="8639175" cy="0"/>
          </a:xfrm>
          <a:prstGeom prst="line">
            <a:avLst/>
          </a:prstGeom>
          <a:ln w="19050"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age 7" descr="icone-enjeux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4863" y="158750"/>
            <a:ext cx="460375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063124"/>
      </p:ext>
    </p:extLst>
  </p:cSld>
  <p:clrMapOvr>
    <a:masterClrMapping/>
  </p:clrMapOvr>
  <p:transition spd="med">
    <p:fade/>
  </p:transition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827584" y="1598755"/>
            <a:ext cx="7308374" cy="203132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fr-FR" sz="6600" b="0"/>
            </a:lvl1pPr>
          </a:lstStyle>
          <a:p>
            <a:pPr lvl="0"/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38954162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4421254"/>
      </p:ext>
    </p:extLst>
  </p:cSld>
  <p:clrMapOvr>
    <a:masterClrMapping/>
  </p:clrMapOvr>
  <p:transition spd="med">
    <p:fade/>
  </p:transition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4"/>
          <p:cNvSpPr txBox="1">
            <a:spLocks noChangeArrowheads="1"/>
          </p:cNvSpPr>
          <p:nvPr userDrawn="1"/>
        </p:nvSpPr>
        <p:spPr bwMode="auto">
          <a:xfrm>
            <a:off x="619125" y="4749800"/>
            <a:ext cx="739775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1pPr>
            <a:lvl2pPr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2pPr>
            <a:lvl3pPr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3pPr>
            <a:lvl4pPr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4pPr>
            <a:lvl5pPr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5pPr>
            <a:lvl6pPr marL="1881188" indent="40163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6pPr>
            <a:lvl7pPr marL="2338388" indent="40163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7pPr>
            <a:lvl8pPr marL="2795588" indent="40163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8pPr>
            <a:lvl9pPr marL="3252788" indent="40163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9pPr>
          </a:lstStyle>
          <a:p>
            <a:pPr defTabSz="914400" eaLnBrk="1" hangingPunct="1">
              <a:defRPr/>
            </a:pPr>
            <a:r>
              <a:rPr lang="fr-FR" altLang="fr-FR" sz="800" smtClean="0">
                <a:solidFill>
                  <a:srgbClr val="FF6600"/>
                </a:solidFill>
                <a:latin typeface="Helvetica 75 Bold" pitchFamily="34" charset="0"/>
              </a:rPr>
              <a:t>Interne Orang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314325" y="268287"/>
            <a:ext cx="8515349" cy="4281487"/>
          </a:xfrm>
        </p:spPr>
        <p:txBody>
          <a:bodyPr/>
          <a:lstStyle>
            <a:lvl1pPr>
              <a:spcBef>
                <a:spcPts val="0"/>
              </a:spcBef>
              <a:defRPr sz="3000"/>
            </a:lvl1pPr>
            <a:lvl2pPr marL="358775" indent="-358775">
              <a:spcBef>
                <a:spcPts val="0"/>
              </a:spcBef>
              <a:buClrTx/>
              <a:buSzPct val="100000"/>
              <a:buFont typeface="+mj-lt"/>
              <a:buAutoNum type="arabicPeriod"/>
              <a:defRPr sz="3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277888374"/>
      </p:ext>
    </p:extLst>
  </p:cSld>
  <p:clrMapOvr>
    <a:masterClrMapping/>
  </p:clrMapOvr>
  <p:transition spd="med">
    <p:fade/>
  </p:transition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>
            <a:spLocks noChangeArrowheads="1"/>
          </p:cNvSpPr>
          <p:nvPr userDrawn="1"/>
        </p:nvSpPr>
        <p:spPr bwMode="auto">
          <a:xfrm>
            <a:off x="107950" y="4779963"/>
            <a:ext cx="23018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7" rIns="0" bIns="45717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327">
              <a:defRPr/>
            </a:pPr>
            <a:fld id="{0C887790-6685-44BB-9E75-0425A7CD4B2E}" type="slidenum">
              <a:rPr lang="fr-FR" altLang="fr-FR" sz="800" smtClean="0">
                <a:solidFill>
                  <a:srgbClr val="000000"/>
                </a:solidFill>
                <a:latin typeface="Helvetica 55 Roman" panose="020B0604020202020204" pitchFamily="2" charset="0"/>
                <a:cs typeface="Arial" charset="0"/>
              </a:rPr>
              <a:pPr defTabSz="914327">
                <a:defRPr/>
              </a:pPr>
              <a:t>‹N°›</a:t>
            </a:fld>
            <a:endParaRPr lang="fr-FR" altLang="fr-FR" sz="800" dirty="0" smtClean="0">
              <a:solidFill>
                <a:srgbClr val="000000"/>
              </a:solidFill>
              <a:latin typeface="Helvetica 55 Roman" panose="020B0604020202020204" pitchFamily="2" charset="0"/>
              <a:cs typeface="Arial" charset="0"/>
            </a:endParaRPr>
          </a:p>
        </p:txBody>
      </p:sp>
      <p:sp>
        <p:nvSpPr>
          <p:cNvPr id="5" name="Rectangle 762"/>
          <p:cNvSpPr>
            <a:spLocks noChangeArrowheads="1"/>
          </p:cNvSpPr>
          <p:nvPr userDrawn="1"/>
        </p:nvSpPr>
        <p:spPr bwMode="auto">
          <a:xfrm rot="16200000">
            <a:off x="7676357" y="3601244"/>
            <a:ext cx="2795587" cy="18732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45717" rIns="0" bIns="45717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327" eaLnBrk="1" hangingPunct="1">
              <a:defRPr/>
            </a:pPr>
            <a:r>
              <a:rPr lang="en-GB" altLang="fr-FR" sz="700" dirty="0" smtClean="0">
                <a:solidFill>
                  <a:srgbClr val="7F7F7F"/>
                </a:solidFill>
                <a:latin typeface="Helvetica 55 Roman" pitchFamily="2" charset="0"/>
              </a:rPr>
              <a:t>Interne</a:t>
            </a:r>
            <a:r>
              <a:rPr lang="en-US" altLang="fr-FR" sz="700" dirty="0" smtClean="0">
                <a:solidFill>
                  <a:srgbClr val="7F7F7F"/>
                </a:solidFill>
                <a:latin typeface="Helvetica 55 Roman" pitchFamily="2" charset="0"/>
              </a:rPr>
              <a:t> Orange – DR Orange Open pro partagé 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 bwMode="gray">
          <a:xfrm>
            <a:off x="250829" y="1059583"/>
            <a:ext cx="8664575" cy="3611810"/>
          </a:xfrm>
        </p:spPr>
        <p:txBody>
          <a:bodyPr/>
          <a:lstStyle>
            <a:lvl1pPr>
              <a:buSzPct val="100000"/>
              <a:defRPr/>
            </a:lvl1pPr>
            <a:lvl3pPr>
              <a:buSzPct val="100000"/>
              <a:defRPr/>
            </a:lvl3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29254407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/>
          <p:cNvSpPr txBox="1">
            <a:spLocks noChangeArrowheads="1"/>
          </p:cNvSpPr>
          <p:nvPr/>
        </p:nvSpPr>
        <p:spPr bwMode="auto">
          <a:xfrm>
            <a:off x="250825" y="4779963"/>
            <a:ext cx="344488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7" rIns="0" bIns="45717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327">
              <a:defRPr/>
            </a:pPr>
            <a:fld id="{21008761-243E-4F51-8BD5-FBD20779E030}" type="slidenum">
              <a:rPr lang="fr-FR" altLang="fr-FR" sz="1200" smtClean="0">
                <a:solidFill>
                  <a:srgbClr val="000000"/>
                </a:solidFill>
                <a:latin typeface="Helvetica 55 Roman" panose="020B0604020202020204" pitchFamily="2" charset="0"/>
                <a:cs typeface="Arial" charset="0"/>
              </a:rPr>
              <a:pPr defTabSz="914327">
                <a:defRPr/>
              </a:pPr>
              <a:t>‹N°›</a:t>
            </a:fld>
            <a:endParaRPr lang="fr-FR" altLang="fr-FR" sz="1600" dirty="0" smtClean="0">
              <a:solidFill>
                <a:srgbClr val="000000"/>
              </a:solidFill>
              <a:latin typeface="Helvetica 55 Roman" panose="020B0604020202020204" pitchFamily="2" charset="0"/>
              <a:cs typeface="Arial" charset="0"/>
            </a:endParaRPr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250828" y="228601"/>
            <a:ext cx="8683625" cy="738188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 bwMode="gray">
          <a:xfrm>
            <a:off x="250825" y="1599643"/>
            <a:ext cx="4177160" cy="3071750"/>
          </a:xfrm>
        </p:spPr>
        <p:txBody>
          <a:bodyPr/>
          <a:lstStyle>
            <a:lvl1pPr>
              <a:buSzPct val="100000"/>
              <a:defRPr/>
            </a:lvl1pPr>
            <a:lvl3pPr>
              <a:buSzPct val="100000"/>
              <a:defRPr/>
            </a:lvl3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1"/>
          </p:nvPr>
        </p:nvSpPr>
        <p:spPr>
          <a:xfrm>
            <a:off x="4758450" y="1600629"/>
            <a:ext cx="4176000" cy="307735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lang="fr-FR" dirty="0" smtClean="0"/>
            </a:lvl1pPr>
            <a:lvl2pPr>
              <a:defRPr lang="fr-FR" dirty="0" smtClean="0"/>
            </a:lvl2pPr>
            <a:lvl3pPr>
              <a:defRPr lang="fr-FR" dirty="0" smtClean="0"/>
            </a:lvl3pPr>
            <a:lvl4pPr>
              <a:defRPr lang="fr-FR" dirty="0" smtClean="0"/>
            </a:lvl4pPr>
            <a:lvl5pPr>
              <a:defRPr lang="fr-FR" dirty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250827" y="1114090"/>
            <a:ext cx="4177159" cy="37754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marL="0" indent="0">
              <a:buNone/>
              <a:defRPr lang="fr-FR" sz="2000" b="1" dirty="0" smtClean="0">
                <a:solidFill>
                  <a:schemeClr val="tx2"/>
                </a:solidFill>
                <a:latin typeface="Helvetica 75 Bold" panose="020B0804020202020204" pitchFamily="34" charset="0"/>
              </a:defRPr>
            </a:lvl1pPr>
            <a:lvl2pPr>
              <a:defRPr lang="fr-FR" dirty="0" smtClean="0"/>
            </a:lvl2pPr>
            <a:lvl3pPr>
              <a:defRPr lang="fr-FR" dirty="0" smtClean="0"/>
            </a:lvl3pPr>
            <a:lvl4pPr>
              <a:defRPr lang="fr-FR" dirty="0" smtClean="0"/>
            </a:lvl4pPr>
            <a:lvl5pPr>
              <a:defRPr lang="fr-FR" dirty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4758453" y="1114090"/>
            <a:ext cx="4177159" cy="37754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marL="0" indent="0">
              <a:buNone/>
              <a:defRPr lang="fr-FR" sz="2000" b="1" dirty="0" smtClean="0">
                <a:solidFill>
                  <a:schemeClr val="tx2"/>
                </a:solidFill>
                <a:latin typeface="Helvetica 75 Bold" panose="020B0804020202020204" pitchFamily="34" charset="0"/>
              </a:defRPr>
            </a:lvl1pPr>
            <a:lvl2pPr>
              <a:defRPr lang="fr-FR" dirty="0" smtClean="0"/>
            </a:lvl2pPr>
            <a:lvl3pPr>
              <a:defRPr lang="fr-FR" dirty="0" smtClean="0"/>
            </a:lvl3pPr>
            <a:lvl4pPr>
              <a:defRPr lang="fr-FR" dirty="0" smtClean="0"/>
            </a:lvl4pPr>
            <a:lvl5pPr>
              <a:defRPr lang="fr-FR" dirty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949130482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62"/>
          <p:cNvSpPr>
            <a:spLocks noChangeArrowheads="1"/>
          </p:cNvSpPr>
          <p:nvPr userDrawn="1"/>
        </p:nvSpPr>
        <p:spPr bwMode="auto">
          <a:xfrm rot="16200000">
            <a:off x="7676357" y="3601244"/>
            <a:ext cx="2795587" cy="18732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45717" rIns="0" bIns="45717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327" eaLnBrk="1" hangingPunct="1">
              <a:defRPr/>
            </a:pPr>
            <a:r>
              <a:rPr lang="en-GB" altLang="fr-FR" sz="700" dirty="0" smtClean="0">
                <a:solidFill>
                  <a:srgbClr val="7F7F7F"/>
                </a:solidFill>
                <a:latin typeface="Helvetica 55 Roman" pitchFamily="2" charset="0"/>
              </a:rPr>
              <a:t>Interne</a:t>
            </a:r>
            <a:r>
              <a:rPr lang="en-US" altLang="fr-FR" sz="700" dirty="0" smtClean="0">
                <a:solidFill>
                  <a:srgbClr val="7F7F7F"/>
                </a:solidFill>
                <a:latin typeface="Helvetica 55 Roman" pitchFamily="2" charset="0"/>
              </a:rPr>
              <a:t> Orange – DR Orange Open pro partagé </a:t>
            </a:r>
          </a:p>
        </p:txBody>
      </p:sp>
      <p:sp>
        <p:nvSpPr>
          <p:cNvPr id="4" name="ZoneTexte 3"/>
          <p:cNvSpPr txBox="1">
            <a:spLocks noChangeArrowheads="1"/>
          </p:cNvSpPr>
          <p:nvPr userDrawn="1"/>
        </p:nvSpPr>
        <p:spPr bwMode="auto">
          <a:xfrm>
            <a:off x="107950" y="4779963"/>
            <a:ext cx="23018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7" rIns="0" bIns="45717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327">
              <a:defRPr/>
            </a:pPr>
            <a:fld id="{0A1D406C-B08F-4115-B480-43756559A795}" type="slidenum">
              <a:rPr lang="fr-FR" altLang="fr-FR" sz="800" smtClean="0">
                <a:solidFill>
                  <a:srgbClr val="000000"/>
                </a:solidFill>
                <a:latin typeface="Helvetica 55 Roman" panose="020B0604020202020204" pitchFamily="2" charset="0"/>
                <a:cs typeface="Arial" charset="0"/>
              </a:rPr>
              <a:pPr defTabSz="914327">
                <a:defRPr/>
              </a:pPr>
              <a:t>‹N°›</a:t>
            </a:fld>
            <a:endParaRPr lang="fr-FR" altLang="fr-FR" sz="800" dirty="0" smtClean="0">
              <a:solidFill>
                <a:srgbClr val="000000"/>
              </a:solidFill>
              <a:latin typeface="Helvetica 55 Roman" panose="020B0604020202020204" pitchFamily="2" charset="0"/>
              <a:cs typeface="Arial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9548187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>
            <a:spLocks noChangeArrowheads="1"/>
          </p:cNvSpPr>
          <p:nvPr userDrawn="1"/>
        </p:nvSpPr>
        <p:spPr bwMode="auto">
          <a:xfrm>
            <a:off x="107950" y="4779963"/>
            <a:ext cx="23018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7" rIns="0" bIns="45717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327">
              <a:defRPr/>
            </a:pPr>
            <a:fld id="{86F719A2-883E-4831-8142-4A87F1B11C69}" type="slidenum">
              <a:rPr lang="fr-FR" altLang="fr-FR" sz="800" smtClean="0">
                <a:solidFill>
                  <a:srgbClr val="000000"/>
                </a:solidFill>
                <a:latin typeface="Helvetica 55 Roman" panose="020B0604020202020204" pitchFamily="2" charset="0"/>
                <a:cs typeface="Arial" charset="0"/>
              </a:rPr>
              <a:pPr defTabSz="914327">
                <a:defRPr/>
              </a:pPr>
              <a:t>‹N°›</a:t>
            </a:fld>
            <a:endParaRPr lang="fr-FR" altLang="fr-FR" sz="800" dirty="0" smtClean="0">
              <a:solidFill>
                <a:srgbClr val="000000"/>
              </a:solidFill>
              <a:latin typeface="Helvetica 55 Roman" panose="020B0604020202020204" pitchFamily="2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9150921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EMTA8361\Documents\Divers\Logos\O BS logo bottom right_RGB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6338" y="4300538"/>
            <a:ext cx="1319212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63558" y="1597821"/>
            <a:ext cx="8474400" cy="1679178"/>
          </a:xfrm>
        </p:spPr>
        <p:txBody>
          <a:bodyPr>
            <a:spAutoFit/>
          </a:bodyPr>
          <a:lstStyle>
            <a:lvl1pPr>
              <a:defRPr sz="4400" b="0"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363557" y="2400302"/>
            <a:ext cx="8474400" cy="947952"/>
          </a:xfrm>
        </p:spPr>
        <p:txBody>
          <a:bodyPr>
            <a:spAutoFit/>
          </a:bodyPr>
          <a:lstStyle>
            <a:lvl1pPr marL="344461" indent="-344461">
              <a:buClr>
                <a:schemeClr val="bg1">
                  <a:lumMod val="50000"/>
                  <a:lumOff val="50000"/>
                </a:schemeClr>
              </a:buClr>
              <a:buSzPct val="100000"/>
              <a:buFont typeface="Helvetica 35 Thin" pitchFamily="34" charset="0"/>
              <a:buChar char="&gt;"/>
              <a:defRPr sz="2800">
                <a:solidFill>
                  <a:schemeClr val="bg1">
                    <a:lumMod val="50000"/>
                    <a:lumOff val="50000"/>
                  </a:schemeClr>
                </a:solidFill>
                <a:latin typeface="Helvetica 75 Bold" panose="020B0804020202020204" pitchFamily="34" charset="0"/>
              </a:defRPr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1"/>
          </p:nvPr>
        </p:nvSpPr>
        <p:spPr>
          <a:xfrm>
            <a:off x="363556" y="3314703"/>
            <a:ext cx="8474400" cy="236988"/>
          </a:xfrm>
        </p:spPr>
        <p:txBody>
          <a:bodyPr>
            <a:spAutoFit/>
          </a:bodyPr>
          <a:lstStyle>
            <a:lvl1pPr marL="0" indent="0">
              <a:buNone/>
              <a:defRPr sz="1400"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984951477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>
            <a:spLocks noChangeArrowheads="1"/>
          </p:cNvSpPr>
          <p:nvPr userDrawn="1"/>
        </p:nvSpPr>
        <p:spPr bwMode="auto">
          <a:xfrm>
            <a:off x="107950" y="4779963"/>
            <a:ext cx="23018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7" rIns="0" bIns="45717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327">
              <a:defRPr/>
            </a:pPr>
            <a:fld id="{19CC4F00-ECFB-4CE2-8AA8-3F94A852B0B9}" type="slidenum">
              <a:rPr lang="fr-FR" altLang="fr-FR" sz="800" smtClean="0">
                <a:solidFill>
                  <a:srgbClr val="000000"/>
                </a:solidFill>
                <a:latin typeface="Helvetica 55 Roman" panose="020B0604020202020204" pitchFamily="2" charset="0"/>
                <a:cs typeface="Arial" charset="0"/>
              </a:rPr>
              <a:pPr defTabSz="914327">
                <a:defRPr/>
              </a:pPr>
              <a:t>‹N°›</a:t>
            </a:fld>
            <a:endParaRPr lang="fr-FR" altLang="fr-FR" sz="800" dirty="0" smtClean="0">
              <a:solidFill>
                <a:srgbClr val="000000"/>
              </a:solidFill>
              <a:latin typeface="Helvetica 55 Roman" panose="020B0604020202020204" pitchFamily="2" charset="0"/>
              <a:cs typeface="Arial" charset="0"/>
            </a:endParaRPr>
          </a:p>
        </p:txBody>
      </p:sp>
      <p:sp>
        <p:nvSpPr>
          <p:cNvPr id="5" name="Rectangle 762"/>
          <p:cNvSpPr>
            <a:spLocks noChangeArrowheads="1"/>
          </p:cNvSpPr>
          <p:nvPr userDrawn="1"/>
        </p:nvSpPr>
        <p:spPr bwMode="auto">
          <a:xfrm rot="16200000">
            <a:off x="7676357" y="3601244"/>
            <a:ext cx="2795587" cy="18732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45717" rIns="0" bIns="45717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327" eaLnBrk="1" hangingPunct="1">
              <a:defRPr/>
            </a:pPr>
            <a:r>
              <a:rPr lang="en-GB" altLang="fr-FR" sz="700" dirty="0" smtClean="0">
                <a:solidFill>
                  <a:srgbClr val="7F7F7F"/>
                </a:solidFill>
                <a:latin typeface="Helvetica 55 Roman" pitchFamily="2" charset="0"/>
              </a:rPr>
              <a:t>Interne</a:t>
            </a:r>
            <a:r>
              <a:rPr lang="en-US" altLang="fr-FR" sz="700" dirty="0" smtClean="0">
                <a:solidFill>
                  <a:srgbClr val="7F7F7F"/>
                </a:solidFill>
                <a:latin typeface="Helvetica 55 Roman" pitchFamily="2" charset="0"/>
              </a:rPr>
              <a:t> Orange – DR Orange Open pro partagé 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 bwMode="gray">
          <a:xfrm>
            <a:off x="250829" y="1059583"/>
            <a:ext cx="8664575" cy="3611810"/>
          </a:xfrm>
        </p:spPr>
        <p:txBody>
          <a:bodyPr/>
          <a:lstStyle>
            <a:lvl1pPr>
              <a:buSzPct val="100000"/>
              <a:defRPr/>
            </a:lvl1pPr>
            <a:lvl3pPr>
              <a:buSzPct val="100000"/>
              <a:defRPr/>
            </a:lvl3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77613233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/>
          <p:cNvSpPr txBox="1">
            <a:spLocks noChangeArrowheads="1"/>
          </p:cNvSpPr>
          <p:nvPr/>
        </p:nvSpPr>
        <p:spPr bwMode="auto">
          <a:xfrm>
            <a:off x="250825" y="4779963"/>
            <a:ext cx="344488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7" rIns="0" bIns="45717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327">
              <a:defRPr/>
            </a:pPr>
            <a:fld id="{C8A31AFC-F368-4D44-9954-F78E7EAE44F6}" type="slidenum">
              <a:rPr lang="fr-FR" altLang="fr-FR" sz="1200" smtClean="0">
                <a:solidFill>
                  <a:srgbClr val="000000"/>
                </a:solidFill>
                <a:latin typeface="Helvetica 55 Roman" panose="020B0604020202020204" pitchFamily="2" charset="0"/>
                <a:cs typeface="Arial" charset="0"/>
              </a:rPr>
              <a:pPr defTabSz="914327">
                <a:defRPr/>
              </a:pPr>
              <a:t>‹N°›</a:t>
            </a:fld>
            <a:endParaRPr lang="fr-FR" altLang="fr-FR" sz="1600" dirty="0" smtClean="0">
              <a:solidFill>
                <a:srgbClr val="000000"/>
              </a:solidFill>
              <a:latin typeface="Helvetica 55 Roman" panose="020B0604020202020204" pitchFamily="2" charset="0"/>
              <a:cs typeface="Arial" charset="0"/>
            </a:endParaRPr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250828" y="228601"/>
            <a:ext cx="8683625" cy="738188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 bwMode="gray">
          <a:xfrm>
            <a:off x="250825" y="1599643"/>
            <a:ext cx="4177160" cy="3071750"/>
          </a:xfrm>
        </p:spPr>
        <p:txBody>
          <a:bodyPr/>
          <a:lstStyle>
            <a:lvl1pPr>
              <a:buSzPct val="100000"/>
              <a:defRPr/>
            </a:lvl1pPr>
            <a:lvl3pPr>
              <a:buSzPct val="100000"/>
              <a:defRPr/>
            </a:lvl3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1"/>
          </p:nvPr>
        </p:nvSpPr>
        <p:spPr>
          <a:xfrm>
            <a:off x="4758450" y="1600629"/>
            <a:ext cx="4176000" cy="307735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lang="fr-FR" dirty="0" smtClean="0"/>
            </a:lvl1pPr>
            <a:lvl2pPr>
              <a:defRPr lang="fr-FR" dirty="0" smtClean="0"/>
            </a:lvl2pPr>
            <a:lvl3pPr>
              <a:defRPr lang="fr-FR" dirty="0" smtClean="0"/>
            </a:lvl3pPr>
            <a:lvl4pPr>
              <a:defRPr lang="fr-FR" dirty="0" smtClean="0"/>
            </a:lvl4pPr>
            <a:lvl5pPr>
              <a:defRPr lang="fr-FR" dirty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250827" y="1114090"/>
            <a:ext cx="4177159" cy="37754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marL="0" indent="0">
              <a:buNone/>
              <a:defRPr lang="fr-FR" sz="2000" b="1" dirty="0" smtClean="0">
                <a:solidFill>
                  <a:schemeClr val="tx2"/>
                </a:solidFill>
                <a:latin typeface="Helvetica 75 Bold" panose="020B0804020202020204" pitchFamily="34" charset="0"/>
              </a:defRPr>
            </a:lvl1pPr>
            <a:lvl2pPr>
              <a:defRPr lang="fr-FR" dirty="0" smtClean="0"/>
            </a:lvl2pPr>
            <a:lvl3pPr>
              <a:defRPr lang="fr-FR" dirty="0" smtClean="0"/>
            </a:lvl3pPr>
            <a:lvl4pPr>
              <a:defRPr lang="fr-FR" dirty="0" smtClean="0"/>
            </a:lvl4pPr>
            <a:lvl5pPr>
              <a:defRPr lang="fr-FR" dirty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4758453" y="1114090"/>
            <a:ext cx="4177159" cy="37754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marL="0" indent="0">
              <a:buNone/>
              <a:defRPr lang="fr-FR" sz="2000" b="1" dirty="0" smtClean="0">
                <a:solidFill>
                  <a:schemeClr val="tx2"/>
                </a:solidFill>
                <a:latin typeface="Helvetica 75 Bold" panose="020B0804020202020204" pitchFamily="34" charset="0"/>
              </a:defRPr>
            </a:lvl1pPr>
            <a:lvl2pPr>
              <a:defRPr lang="fr-FR" dirty="0" smtClean="0"/>
            </a:lvl2pPr>
            <a:lvl3pPr>
              <a:defRPr lang="fr-FR" dirty="0" smtClean="0"/>
            </a:lvl3pPr>
            <a:lvl4pPr>
              <a:defRPr lang="fr-FR" dirty="0" smtClean="0"/>
            </a:lvl4pPr>
            <a:lvl5pPr>
              <a:defRPr lang="fr-FR" dirty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1370312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4889364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5"/>
          <p:cNvCxnSpPr/>
          <p:nvPr userDrawn="1"/>
        </p:nvCxnSpPr>
        <p:spPr>
          <a:xfrm>
            <a:off x="350838" y="663575"/>
            <a:ext cx="8639175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age 6" descr="icone-enjeux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4863" y="158750"/>
            <a:ext cx="460375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9009069"/>
      </p:ext>
    </p:extLst>
  </p:cSld>
  <p:clrMapOvr>
    <a:masterClrMapping/>
  </p:clrMapOvr>
  <p:transition spd="med">
    <p:fade/>
  </p:transition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62"/>
          <p:cNvSpPr>
            <a:spLocks noChangeArrowheads="1"/>
          </p:cNvSpPr>
          <p:nvPr userDrawn="1"/>
        </p:nvSpPr>
        <p:spPr bwMode="auto">
          <a:xfrm rot="16200000">
            <a:off x="7676357" y="3601244"/>
            <a:ext cx="2795587" cy="18732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45717" rIns="0" bIns="45717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327" eaLnBrk="1" hangingPunct="1">
              <a:defRPr/>
            </a:pPr>
            <a:r>
              <a:rPr lang="en-GB" altLang="fr-FR" sz="700" dirty="0" smtClean="0">
                <a:solidFill>
                  <a:srgbClr val="7F7F7F"/>
                </a:solidFill>
                <a:latin typeface="Helvetica 55 Roman" pitchFamily="2" charset="0"/>
              </a:rPr>
              <a:t>Interne</a:t>
            </a:r>
            <a:r>
              <a:rPr lang="en-US" altLang="fr-FR" sz="700" dirty="0" smtClean="0">
                <a:solidFill>
                  <a:srgbClr val="7F7F7F"/>
                </a:solidFill>
                <a:latin typeface="Helvetica 55 Roman" pitchFamily="2" charset="0"/>
              </a:rPr>
              <a:t> Orange – DR Orange Open pro partagé </a:t>
            </a:r>
          </a:p>
        </p:txBody>
      </p:sp>
      <p:sp>
        <p:nvSpPr>
          <p:cNvPr id="4" name="ZoneTexte 3"/>
          <p:cNvSpPr txBox="1">
            <a:spLocks noChangeArrowheads="1"/>
          </p:cNvSpPr>
          <p:nvPr userDrawn="1"/>
        </p:nvSpPr>
        <p:spPr bwMode="auto">
          <a:xfrm>
            <a:off x="107950" y="4779963"/>
            <a:ext cx="23018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7" rIns="0" bIns="45717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327">
              <a:defRPr/>
            </a:pPr>
            <a:fld id="{2C19DB88-FF0D-4AF1-9EAB-075C36EB9BBE}" type="slidenum">
              <a:rPr lang="fr-FR" altLang="fr-FR" sz="800" smtClean="0">
                <a:solidFill>
                  <a:srgbClr val="000000"/>
                </a:solidFill>
                <a:latin typeface="Helvetica 55 Roman" panose="020B0604020202020204" pitchFamily="2" charset="0"/>
                <a:cs typeface="Arial" charset="0"/>
              </a:rPr>
              <a:pPr defTabSz="914327">
                <a:defRPr/>
              </a:pPr>
              <a:t>‹N°›</a:t>
            </a:fld>
            <a:endParaRPr lang="fr-FR" altLang="fr-FR" sz="800" dirty="0" smtClean="0">
              <a:solidFill>
                <a:srgbClr val="000000"/>
              </a:solidFill>
              <a:latin typeface="Helvetica 55 Roman" panose="020B0604020202020204" pitchFamily="2" charset="0"/>
              <a:cs typeface="Arial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8790662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>
            <a:spLocks noChangeArrowheads="1"/>
          </p:cNvSpPr>
          <p:nvPr userDrawn="1"/>
        </p:nvSpPr>
        <p:spPr bwMode="auto">
          <a:xfrm>
            <a:off x="107950" y="4779963"/>
            <a:ext cx="23018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7" rIns="0" bIns="45717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327">
              <a:defRPr/>
            </a:pPr>
            <a:fld id="{10206E09-D177-4146-9AC9-2350B168F400}" type="slidenum">
              <a:rPr lang="fr-FR" altLang="fr-FR" sz="800" smtClean="0">
                <a:solidFill>
                  <a:srgbClr val="000000"/>
                </a:solidFill>
                <a:latin typeface="Helvetica 55 Roman" panose="020B0604020202020204" pitchFamily="2" charset="0"/>
                <a:cs typeface="Arial" charset="0"/>
              </a:rPr>
              <a:pPr defTabSz="914327">
                <a:defRPr/>
              </a:pPr>
              <a:t>‹N°›</a:t>
            </a:fld>
            <a:endParaRPr lang="fr-FR" altLang="fr-FR" sz="800" dirty="0" smtClean="0">
              <a:solidFill>
                <a:srgbClr val="000000"/>
              </a:solidFill>
              <a:latin typeface="Helvetica 55 Roman" panose="020B0604020202020204" pitchFamily="2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6998517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EMTA8361\Documents\Divers\Logos\O BS logo bottom right_RGB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6338" y="4300538"/>
            <a:ext cx="1319212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63558" y="1597821"/>
            <a:ext cx="8474400" cy="1679178"/>
          </a:xfrm>
        </p:spPr>
        <p:txBody>
          <a:bodyPr>
            <a:spAutoFit/>
          </a:bodyPr>
          <a:lstStyle>
            <a:lvl1pPr>
              <a:defRPr sz="4400" b="0"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363557" y="2400302"/>
            <a:ext cx="8474400" cy="947952"/>
          </a:xfrm>
        </p:spPr>
        <p:txBody>
          <a:bodyPr>
            <a:spAutoFit/>
          </a:bodyPr>
          <a:lstStyle>
            <a:lvl1pPr marL="344461" indent="-344461">
              <a:buClr>
                <a:schemeClr val="bg1">
                  <a:lumMod val="50000"/>
                  <a:lumOff val="50000"/>
                </a:schemeClr>
              </a:buClr>
              <a:buSzPct val="100000"/>
              <a:buFont typeface="Helvetica 35 Thin" pitchFamily="34" charset="0"/>
              <a:buChar char="&gt;"/>
              <a:defRPr sz="2800">
                <a:solidFill>
                  <a:schemeClr val="bg1">
                    <a:lumMod val="50000"/>
                    <a:lumOff val="50000"/>
                  </a:schemeClr>
                </a:solidFill>
                <a:latin typeface="Helvetica 75 Bold" panose="020B0804020202020204" pitchFamily="34" charset="0"/>
              </a:defRPr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1"/>
          </p:nvPr>
        </p:nvSpPr>
        <p:spPr>
          <a:xfrm>
            <a:off x="363556" y="3314703"/>
            <a:ext cx="8474400" cy="236988"/>
          </a:xfrm>
        </p:spPr>
        <p:txBody>
          <a:bodyPr>
            <a:spAutoFit/>
          </a:bodyPr>
          <a:lstStyle>
            <a:lvl1pPr marL="0" indent="0">
              <a:buNone/>
              <a:defRPr sz="1400"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78093753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/>
          <p:cNvSpPr txBox="1">
            <a:spLocks noChangeArrowheads="1"/>
          </p:cNvSpPr>
          <p:nvPr userDrawn="1"/>
        </p:nvSpPr>
        <p:spPr bwMode="auto">
          <a:xfrm>
            <a:off x="107950" y="4779963"/>
            <a:ext cx="23018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7" rIns="0" bIns="45717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327">
              <a:defRPr/>
            </a:pPr>
            <a:fld id="{D2085805-8205-4610-B17A-12A64EF327FA}" type="slidenum">
              <a:rPr lang="fr-FR" altLang="fr-FR" sz="800" smtClean="0">
                <a:solidFill>
                  <a:srgbClr val="000000"/>
                </a:solidFill>
                <a:latin typeface="Helvetica 55 Roman" panose="020B0604020202020204" pitchFamily="2" charset="0"/>
                <a:cs typeface="Arial" charset="0"/>
              </a:rPr>
              <a:pPr defTabSz="914327">
                <a:defRPr/>
              </a:pPr>
              <a:t>‹N°›</a:t>
            </a:fld>
            <a:endParaRPr lang="fr-FR" altLang="fr-FR" sz="800" dirty="0" smtClean="0">
              <a:solidFill>
                <a:srgbClr val="000000"/>
              </a:solidFill>
              <a:latin typeface="Helvetica 55 Roman" panose="020B0604020202020204" pitchFamily="2" charset="0"/>
              <a:cs typeface="Arial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63558" y="1598756"/>
            <a:ext cx="7772400" cy="377834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lang="fr-FR" sz="6600" b="0"/>
            </a:lvl1pPr>
          </a:lstStyle>
          <a:p>
            <a:pPr lvl="0"/>
            <a:r>
              <a:rPr lang="fr-FR" smtClean="0"/>
              <a:t>Cliquez pour modifier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04234762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4326" y="1181101"/>
            <a:ext cx="8515350" cy="3370262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FR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smtClean="0"/>
              <a:t>Modifiez le style du titre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2527512328"/>
      </p:ext>
    </p:extLst>
  </p:cSld>
  <p:clrMapOvr>
    <a:masterClrMapping/>
  </p:clrMapOvr>
  <p:transition spd="med">
    <p:fade/>
  </p:transition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2"/>
          <p:cNvGrpSpPr>
            <a:grpSpLocks/>
          </p:cNvGrpSpPr>
          <p:nvPr userDrawn="1"/>
        </p:nvGrpSpPr>
        <p:grpSpPr bwMode="auto">
          <a:xfrm>
            <a:off x="314325" y="4233863"/>
            <a:ext cx="612775" cy="612775"/>
            <a:chOff x="313535" y="4233863"/>
            <a:chExt cx="612775" cy="612775"/>
          </a:xfrm>
        </p:grpSpPr>
        <p:sp>
          <p:nvSpPr>
            <p:cNvPr id="6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5pPr>
              <a:lvl6pPr marL="18811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6pPr>
              <a:lvl7pPr marL="23383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7pPr>
              <a:lvl8pPr marL="27955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8pPr>
              <a:lvl9pPr marL="32527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9pPr>
            </a:lstStyle>
            <a:p>
              <a:pPr defTabSz="914400" eaLnBrk="1" hangingPunct="1">
                <a:defRPr/>
              </a:pPr>
              <a:endParaRPr lang="fr-FR" altLang="fr-FR" sz="1800" smtClean="0">
                <a:solidFill>
                  <a:srgbClr val="000000"/>
                </a:solidFill>
                <a:latin typeface="Helvetica 75 Bold" pitchFamily="34" charset="0"/>
              </a:endParaRPr>
            </a:p>
          </p:txBody>
        </p:sp>
        <p:sp>
          <p:nvSpPr>
            <p:cNvPr id="7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2147483647 w 93"/>
                <a:gd name="T1" fmla="*/ 2147483647 h 109"/>
                <a:gd name="T2" fmla="*/ 2147483647 w 93"/>
                <a:gd name="T3" fmla="*/ 2147483647 h 109"/>
                <a:gd name="T4" fmla="*/ 0 w 93"/>
                <a:gd name="T5" fmla="*/ 2147483647 h 109"/>
                <a:gd name="T6" fmla="*/ 2147483647 w 93"/>
                <a:gd name="T7" fmla="*/ 2147483647 h 109"/>
                <a:gd name="T8" fmla="*/ 2147483647 w 93"/>
                <a:gd name="T9" fmla="*/ 2147483647 h 109"/>
                <a:gd name="T10" fmla="*/ 2147483647 w 93"/>
                <a:gd name="T11" fmla="*/ 2147483647 h 109"/>
                <a:gd name="T12" fmla="*/ 2147483647 w 93"/>
                <a:gd name="T13" fmla="*/ 2147483647 h 109"/>
                <a:gd name="T14" fmla="*/ 2147483647 w 93"/>
                <a:gd name="T15" fmla="*/ 2147483647 h 109"/>
                <a:gd name="T16" fmla="*/ 2147483647 w 93"/>
                <a:gd name="T17" fmla="*/ 0 h 109"/>
                <a:gd name="T18" fmla="*/ 2147483647 w 93"/>
                <a:gd name="T19" fmla="*/ 2147483647 h 109"/>
                <a:gd name="T20" fmla="*/ 2147483647 w 93"/>
                <a:gd name="T21" fmla="*/ 2147483647 h 109"/>
                <a:gd name="T22" fmla="*/ 2147483647 w 93"/>
                <a:gd name="T23" fmla="*/ 2147483647 h 109"/>
                <a:gd name="T24" fmla="*/ 2147483647 w 93"/>
                <a:gd name="T25" fmla="*/ 2147483647 h 109"/>
                <a:gd name="T26" fmla="*/ 2147483647 w 93"/>
                <a:gd name="T27" fmla="*/ 2147483647 h 109"/>
                <a:gd name="T28" fmla="*/ 2147483647 w 93"/>
                <a:gd name="T29" fmla="*/ 2147483647 h 109"/>
                <a:gd name="T30" fmla="*/ 2147483647 w 93"/>
                <a:gd name="T31" fmla="*/ 2147483647 h 109"/>
                <a:gd name="T32" fmla="*/ 2147483647 w 93"/>
                <a:gd name="T33" fmla="*/ 2147483647 h 109"/>
                <a:gd name="T34" fmla="*/ 2147483647 w 93"/>
                <a:gd name="T35" fmla="*/ 2147483647 h 10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2147483647 h 108"/>
                <a:gd name="T2" fmla="*/ 2147483647 w 94"/>
                <a:gd name="T3" fmla="*/ 2147483647 h 108"/>
                <a:gd name="T4" fmla="*/ 2147483647 w 94"/>
                <a:gd name="T5" fmla="*/ 2147483647 h 108"/>
                <a:gd name="T6" fmla="*/ 2147483647 w 94"/>
                <a:gd name="T7" fmla="*/ 0 h 108"/>
                <a:gd name="T8" fmla="*/ 2147483647 w 94"/>
                <a:gd name="T9" fmla="*/ 2147483647 h 108"/>
                <a:gd name="T10" fmla="*/ 2147483647 w 94"/>
                <a:gd name="T11" fmla="*/ 2147483647 h 108"/>
                <a:gd name="T12" fmla="*/ 2147483647 w 94"/>
                <a:gd name="T13" fmla="*/ 2147483647 h 108"/>
                <a:gd name="T14" fmla="*/ 2147483647 w 94"/>
                <a:gd name="T15" fmla="*/ 2147483647 h 108"/>
                <a:gd name="T16" fmla="*/ 2147483647 w 94"/>
                <a:gd name="T17" fmla="*/ 2147483647 h 108"/>
                <a:gd name="T18" fmla="*/ 2147483647 w 94"/>
                <a:gd name="T19" fmla="*/ 2147483647 h 108"/>
                <a:gd name="T20" fmla="*/ 2147483647 w 94"/>
                <a:gd name="T21" fmla="*/ 2147483647 h 108"/>
                <a:gd name="T22" fmla="*/ 0 w 94"/>
                <a:gd name="T23" fmla="*/ 2147483647 h 108"/>
                <a:gd name="T24" fmla="*/ 0 w 94"/>
                <a:gd name="T25" fmla="*/ 2147483647 h 10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2147483647 w 98"/>
                <a:gd name="T1" fmla="*/ 2147483647 h 110"/>
                <a:gd name="T2" fmla="*/ 0 w 98"/>
                <a:gd name="T3" fmla="*/ 2147483647 h 110"/>
                <a:gd name="T4" fmla="*/ 2147483647 w 98"/>
                <a:gd name="T5" fmla="*/ 0 h 110"/>
                <a:gd name="T6" fmla="*/ 2147483647 w 98"/>
                <a:gd name="T7" fmla="*/ 2147483647 h 110"/>
                <a:gd name="T8" fmla="*/ 2147483647 w 98"/>
                <a:gd name="T9" fmla="*/ 2147483647 h 110"/>
                <a:gd name="T10" fmla="*/ 2147483647 w 98"/>
                <a:gd name="T11" fmla="*/ 2147483647 h 110"/>
                <a:gd name="T12" fmla="*/ 2147483647 w 98"/>
                <a:gd name="T13" fmla="*/ 2147483647 h 110"/>
                <a:gd name="T14" fmla="*/ 2147483647 w 98"/>
                <a:gd name="T15" fmla="*/ 2147483647 h 110"/>
                <a:gd name="T16" fmla="*/ 2147483647 w 98"/>
                <a:gd name="T17" fmla="*/ 2147483647 h 110"/>
                <a:gd name="T18" fmla="*/ 2147483647 w 98"/>
                <a:gd name="T19" fmla="*/ 2147483647 h 110"/>
                <a:gd name="T20" fmla="*/ 2147483647 w 98"/>
                <a:gd name="T21" fmla="*/ 2147483647 h 110"/>
                <a:gd name="T22" fmla="*/ 2147483647 w 98"/>
                <a:gd name="T23" fmla="*/ 2147483647 h 110"/>
                <a:gd name="T24" fmla="*/ 2147483647 w 98"/>
                <a:gd name="T25" fmla="*/ 2147483647 h 110"/>
                <a:gd name="T26" fmla="*/ 2147483647 w 98"/>
                <a:gd name="T27" fmla="*/ 2147483647 h 11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2147483647 w 104"/>
                <a:gd name="T1" fmla="*/ 2147483647 h 111"/>
                <a:gd name="T2" fmla="*/ 0 w 104"/>
                <a:gd name="T3" fmla="*/ 2147483647 h 111"/>
                <a:gd name="T4" fmla="*/ 2147483647 w 104"/>
                <a:gd name="T5" fmla="*/ 0 h 111"/>
                <a:gd name="T6" fmla="*/ 2147483647 w 104"/>
                <a:gd name="T7" fmla="*/ 2147483647 h 111"/>
                <a:gd name="T8" fmla="*/ 2147483647 w 104"/>
                <a:gd name="T9" fmla="*/ 2147483647 h 111"/>
                <a:gd name="T10" fmla="*/ 2147483647 w 104"/>
                <a:gd name="T11" fmla="*/ 2147483647 h 111"/>
                <a:gd name="T12" fmla="*/ 2147483647 w 104"/>
                <a:gd name="T13" fmla="*/ 2147483647 h 111"/>
                <a:gd name="T14" fmla="*/ 2147483647 w 104"/>
                <a:gd name="T15" fmla="*/ 2147483647 h 111"/>
                <a:gd name="T16" fmla="*/ 2147483647 w 104"/>
                <a:gd name="T17" fmla="*/ 2147483647 h 111"/>
                <a:gd name="T18" fmla="*/ 2147483647 w 104"/>
                <a:gd name="T19" fmla="*/ 2147483647 h 1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2147483647 h 108"/>
                <a:gd name="T2" fmla="*/ 2147483647 w 59"/>
                <a:gd name="T3" fmla="*/ 2147483647 h 108"/>
                <a:gd name="T4" fmla="*/ 2147483647 w 59"/>
                <a:gd name="T5" fmla="*/ 2147483647 h 108"/>
                <a:gd name="T6" fmla="*/ 2147483647 w 59"/>
                <a:gd name="T7" fmla="*/ 0 h 108"/>
                <a:gd name="T8" fmla="*/ 2147483647 w 59"/>
                <a:gd name="T9" fmla="*/ 2147483647 h 108"/>
                <a:gd name="T10" fmla="*/ 2147483647 w 59"/>
                <a:gd name="T11" fmla="*/ 2147483647 h 108"/>
                <a:gd name="T12" fmla="*/ 2147483647 w 59"/>
                <a:gd name="T13" fmla="*/ 2147483647 h 108"/>
                <a:gd name="T14" fmla="*/ 2147483647 w 59"/>
                <a:gd name="T15" fmla="*/ 2147483647 h 108"/>
                <a:gd name="T16" fmla="*/ 2147483647 w 59"/>
                <a:gd name="T17" fmla="*/ 2147483647 h 108"/>
                <a:gd name="T18" fmla="*/ 0 w 59"/>
                <a:gd name="T19" fmla="*/ 2147483647 h 108"/>
                <a:gd name="T20" fmla="*/ 0 w 59"/>
                <a:gd name="T21" fmla="*/ 2147483647 h 10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2147483647 w 98"/>
                <a:gd name="T1" fmla="*/ 2147483647 h 149"/>
                <a:gd name="T2" fmla="*/ 2147483647 w 98"/>
                <a:gd name="T3" fmla="*/ 2147483647 h 149"/>
                <a:gd name="T4" fmla="*/ 2147483647 w 98"/>
                <a:gd name="T5" fmla="*/ 2147483647 h 149"/>
                <a:gd name="T6" fmla="*/ 2147483647 w 98"/>
                <a:gd name="T7" fmla="*/ 2147483647 h 149"/>
                <a:gd name="T8" fmla="*/ 2147483647 w 98"/>
                <a:gd name="T9" fmla="*/ 2147483647 h 149"/>
                <a:gd name="T10" fmla="*/ 2147483647 w 98"/>
                <a:gd name="T11" fmla="*/ 2147483647 h 149"/>
                <a:gd name="T12" fmla="*/ 2147483647 w 98"/>
                <a:gd name="T13" fmla="*/ 2147483647 h 149"/>
                <a:gd name="T14" fmla="*/ 2147483647 w 98"/>
                <a:gd name="T15" fmla="*/ 2147483647 h 149"/>
                <a:gd name="T16" fmla="*/ 2147483647 w 98"/>
                <a:gd name="T17" fmla="*/ 2147483647 h 149"/>
                <a:gd name="T18" fmla="*/ 2147483647 w 98"/>
                <a:gd name="T19" fmla="*/ 2147483647 h 149"/>
                <a:gd name="T20" fmla="*/ 2147483647 w 98"/>
                <a:gd name="T21" fmla="*/ 2147483647 h 149"/>
                <a:gd name="T22" fmla="*/ 2147483647 w 98"/>
                <a:gd name="T23" fmla="*/ 2147483647 h 149"/>
                <a:gd name="T24" fmla="*/ 2147483647 w 98"/>
                <a:gd name="T25" fmla="*/ 2147483647 h 149"/>
                <a:gd name="T26" fmla="*/ 2147483647 w 98"/>
                <a:gd name="T27" fmla="*/ 2147483647 h 149"/>
                <a:gd name="T28" fmla="*/ 2147483647 w 98"/>
                <a:gd name="T29" fmla="*/ 2147483647 h 149"/>
                <a:gd name="T30" fmla="*/ 0 w 98"/>
                <a:gd name="T31" fmla="*/ 2147483647 h 149"/>
                <a:gd name="T32" fmla="*/ 2147483647 w 98"/>
                <a:gd name="T33" fmla="*/ 0 h 149"/>
                <a:gd name="T34" fmla="*/ 2147483647 w 98"/>
                <a:gd name="T35" fmla="*/ 2147483647 h 149"/>
                <a:gd name="T36" fmla="*/ 2147483647 w 98"/>
                <a:gd name="T37" fmla="*/ 2147483647 h 149"/>
                <a:gd name="T38" fmla="*/ 2147483647 w 98"/>
                <a:gd name="T39" fmla="*/ 2147483647 h 149"/>
                <a:gd name="T40" fmla="*/ 2147483647 w 98"/>
                <a:gd name="T41" fmla="*/ 2147483647 h 14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2147483647 w 37"/>
                <a:gd name="T1" fmla="*/ 2147483647 h 17"/>
                <a:gd name="T2" fmla="*/ 2147483647 w 37"/>
                <a:gd name="T3" fmla="*/ 2147483647 h 17"/>
                <a:gd name="T4" fmla="*/ 2147483647 w 37"/>
                <a:gd name="T5" fmla="*/ 2147483647 h 17"/>
                <a:gd name="T6" fmla="*/ 2147483647 w 37"/>
                <a:gd name="T7" fmla="*/ 2147483647 h 17"/>
                <a:gd name="T8" fmla="*/ 2147483647 w 37"/>
                <a:gd name="T9" fmla="*/ 2147483647 h 17"/>
                <a:gd name="T10" fmla="*/ 0 w 37"/>
                <a:gd name="T11" fmla="*/ 2147483647 h 17"/>
                <a:gd name="T12" fmla="*/ 0 w 37"/>
                <a:gd name="T13" fmla="*/ 0 h 17"/>
                <a:gd name="T14" fmla="*/ 2147483647 w 37"/>
                <a:gd name="T15" fmla="*/ 0 h 17"/>
                <a:gd name="T16" fmla="*/ 2147483647 w 37"/>
                <a:gd name="T17" fmla="*/ 2147483647 h 17"/>
                <a:gd name="T18" fmla="*/ 2147483647 w 37"/>
                <a:gd name="T19" fmla="*/ 2147483647 h 17"/>
                <a:gd name="T20" fmla="*/ 2147483647 w 37"/>
                <a:gd name="T21" fmla="*/ 2147483647 h 17"/>
                <a:gd name="T22" fmla="*/ 2147483647 w 37"/>
                <a:gd name="T23" fmla="*/ 2147483647 h 17"/>
                <a:gd name="T24" fmla="*/ 2147483647 w 37"/>
                <a:gd name="T25" fmla="*/ 2147483647 h 17"/>
                <a:gd name="T26" fmla="*/ 2147483647 w 37"/>
                <a:gd name="T27" fmla="*/ 2147483647 h 17"/>
                <a:gd name="T28" fmla="*/ 2147483647 w 37"/>
                <a:gd name="T29" fmla="*/ 2147483647 h 17"/>
                <a:gd name="T30" fmla="*/ 2147483647 w 37"/>
                <a:gd name="T31" fmla="*/ 2147483647 h 17"/>
                <a:gd name="T32" fmla="*/ 2147483647 w 37"/>
                <a:gd name="T33" fmla="*/ 2147483647 h 17"/>
                <a:gd name="T34" fmla="*/ 2147483647 w 37"/>
                <a:gd name="T35" fmla="*/ 2147483647 h 17"/>
                <a:gd name="T36" fmla="*/ 2147483647 w 37"/>
                <a:gd name="T37" fmla="*/ 2147483647 h 17"/>
                <a:gd name="T38" fmla="*/ 2147483647 w 37"/>
                <a:gd name="T39" fmla="*/ 0 h 17"/>
                <a:gd name="T40" fmla="*/ 2147483647 w 37"/>
                <a:gd name="T41" fmla="*/ 0 h 17"/>
                <a:gd name="T42" fmla="*/ 2147483647 w 37"/>
                <a:gd name="T43" fmla="*/ 2147483647 h 17"/>
                <a:gd name="T44" fmla="*/ 2147483647 w 37"/>
                <a:gd name="T45" fmla="*/ 0 h 17"/>
                <a:gd name="T46" fmla="*/ 2147483647 w 37"/>
                <a:gd name="T47" fmla="*/ 0 h 17"/>
                <a:gd name="T48" fmla="*/ 2147483647 w 37"/>
                <a:gd name="T49" fmla="*/ 2147483647 h 1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35" y="267618"/>
            <a:ext cx="4829289" cy="2304131"/>
          </a:xfrm>
        </p:spPr>
        <p:txBody>
          <a:bodyPr/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noProof="0" smtClean="0"/>
              <a:t>Modifiez le style du titre</a:t>
            </a:r>
            <a:endParaRPr lang="fr-FR" noProof="0" dirty="0"/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5800726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314325" y="2704144"/>
            <a:ext cx="4827547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noProof="0" smtClean="0"/>
              <a:t>Modifiez le style des sous-titres du masque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503287213"/>
      </p:ext>
    </p:extLst>
  </p:cSld>
  <p:clrMapOvr>
    <a:masterClrMapping/>
  </p:clrMapOvr>
  <p:transition spd="med">
    <p:fade/>
  </p:transition>
  <p:hf sldNum="0" hdr="0"/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14325" y="267494"/>
            <a:ext cx="8515349" cy="4283869"/>
          </a:xfrm>
        </p:spPr>
        <p:txBody>
          <a:bodyPr/>
          <a:lstStyle>
            <a:lvl1pPr>
              <a:spcBef>
                <a:spcPts val="0"/>
              </a:spcBef>
              <a:defRPr sz="3000"/>
            </a:lvl1pPr>
            <a:lvl2pPr marL="361950" indent="-361950">
              <a:spcBef>
                <a:spcPts val="0"/>
              </a:spcBef>
              <a:buClrTx/>
              <a:buSzPct val="100000"/>
              <a:buFont typeface="+mj-lt"/>
              <a:buAutoNum type="arabicPeriod"/>
              <a:defRPr sz="3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652516790"/>
      </p:ext>
    </p:extLst>
  </p:cSld>
  <p:clrMapOvr>
    <a:masterClrMapping/>
  </p:clrMapOvr>
  <p:transition spd="med">
    <p:fade/>
  </p:transition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13769" y="268288"/>
            <a:ext cx="6096839" cy="4283075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buNone/>
              <a:defRPr sz="5500" baseline="0"/>
            </a:lvl1pPr>
            <a:lvl2pPr>
              <a:lnSpc>
                <a:spcPct val="85000"/>
              </a:lnSpc>
              <a:spcBef>
                <a:spcPts val="0"/>
              </a:spcBef>
              <a:defRPr sz="5500"/>
            </a:lvl2pPr>
            <a:lvl3pPr>
              <a:defRPr sz="5500"/>
            </a:lvl3pPr>
            <a:lvl4pPr>
              <a:defRPr sz="5500"/>
            </a:lvl4pPr>
            <a:lvl5pPr>
              <a:defRPr sz="5500"/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048507417"/>
      </p:ext>
    </p:extLst>
  </p:cSld>
  <p:clrMapOvr>
    <a:masterClrMapping/>
  </p:clrMapOvr>
  <p:transition spd="med">
    <p:fade/>
  </p:transition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200" y="1181100"/>
            <a:ext cx="3968055" cy="3370262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FR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64795" y="1181100"/>
            <a:ext cx="3964880" cy="337026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FR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13199" y="268288"/>
            <a:ext cx="8516475" cy="741362"/>
          </a:xfrm>
        </p:spPr>
        <p:txBody>
          <a:bodyPr/>
          <a:lstStyle>
            <a:lvl1pPr>
              <a:defRPr/>
            </a:lvl1pPr>
          </a:lstStyle>
          <a:p>
            <a:r>
              <a:rPr lang="fr-FR" noProof="0" smtClean="0"/>
              <a:t>Modifiez le style du titre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1938660354"/>
      </p:ext>
    </p:extLst>
  </p:cSld>
  <p:clrMapOvr>
    <a:masterClrMapping/>
  </p:clrMapOvr>
  <p:transition spd="med">
    <p:fade/>
  </p:transition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smtClean="0"/>
              <a:t>Modifiez le style du titre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2544924583"/>
      </p:ext>
    </p:extLst>
  </p:cSld>
  <p:clrMapOvr>
    <a:masterClrMapping/>
  </p:clrMapOvr>
  <p:transition spd="med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>
          <a:xfrm>
            <a:off x="350838" y="663575"/>
            <a:ext cx="8639175" cy="0"/>
          </a:xfrm>
          <a:prstGeom prst="line">
            <a:avLst/>
          </a:prstGeom>
          <a:ln w="19050"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age 7" descr="icone-enjeux.jpg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4863" y="158750"/>
            <a:ext cx="460375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60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1406284"/>
      </p:ext>
    </p:extLst>
  </p:cSld>
  <p:clrMapOvr>
    <a:masterClrMapping/>
  </p:clrMapOvr>
  <p:transition spd="med">
    <p:fade/>
  </p:transition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pleine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pPr lvl="0"/>
            <a:r>
              <a:rPr lang="fr-FR" noProof="0" smtClean="0"/>
              <a:t>Cliquez sur l'icône pour ajouter une image</a:t>
            </a:r>
            <a:endParaRPr lang="fr-FR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rgbClr val="000000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3255860641"/>
      </p:ext>
    </p:extLst>
  </p:cSld>
  <p:clrMapOvr>
    <a:masterClrMapping/>
  </p:clrMapOvr>
  <p:transition spd="med">
    <p:fade/>
  </p:transition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764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10"/>
          <p:cNvSpPr txBox="1">
            <a:spLocks/>
          </p:cNvSpPr>
          <p:nvPr/>
        </p:nvSpPr>
        <p:spPr>
          <a:xfrm>
            <a:off x="314325" y="45354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45858CB3-6F21-4DF4-8D69-506A448AEDEC}" type="slidenum">
              <a:rPr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graphicFrame>
        <p:nvGraphicFramePr>
          <p:cNvPr id="4" name="Objet 5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765" name="Diapositive think-cell" r:id="rId7" imgW="270" imgH="270" progId="TCLayout.ActiveDocument.1">
                  <p:embed/>
                </p:oleObj>
              </mc:Choice>
              <mc:Fallback>
                <p:oleObj name="Diapositive think-cell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05244712"/>
      </p:ext>
    </p:extLst>
  </p:cSld>
  <p:clrMapOvr>
    <a:masterClrMapping/>
  </p:clrMapOvr>
  <p:transition spd="med">
    <p:fade/>
  </p:transition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8731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10"/>
          <p:cNvSpPr txBox="1">
            <a:spLocks/>
          </p:cNvSpPr>
          <p:nvPr/>
        </p:nvSpPr>
        <p:spPr>
          <a:xfrm>
            <a:off x="314325" y="45354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49D88511-5D15-4BD9-8C41-2ED938DFECA6}" type="slidenum">
              <a:rPr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800" dirty="0">
              <a:solidFill>
                <a:srgbClr val="FFFFFF"/>
              </a:solidFill>
            </a:endParaRPr>
          </a:p>
        </p:txBody>
      </p:sp>
      <p:grpSp>
        <p:nvGrpSpPr>
          <p:cNvPr id="8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9" name="Rectangle 7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5pPr>
              <a:lvl6pPr marL="18811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6pPr>
              <a:lvl7pPr marL="23383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7pPr>
              <a:lvl8pPr marL="27955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8pPr>
              <a:lvl9pPr marL="32527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smtClean="0">
                <a:solidFill>
                  <a:srgbClr val="FF6600"/>
                </a:solidFill>
                <a:latin typeface="Helvetica 75 Bold" pitchFamily="34" charset="0"/>
              </a:endParaRPr>
            </a:p>
          </p:txBody>
        </p:sp>
        <p:sp>
          <p:nvSpPr>
            <p:cNvPr id="10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7 w 104"/>
                <a:gd name="T1" fmla="*/ 2147483647 h 122"/>
                <a:gd name="T2" fmla="*/ 2147483647 w 104"/>
                <a:gd name="T3" fmla="*/ 2147483647 h 122"/>
                <a:gd name="T4" fmla="*/ 2147483647 w 104"/>
                <a:gd name="T5" fmla="*/ 2147483647 h 122"/>
                <a:gd name="T6" fmla="*/ 2147483647 w 104"/>
                <a:gd name="T7" fmla="*/ 2147483647 h 122"/>
                <a:gd name="T8" fmla="*/ 2147483647 w 104"/>
                <a:gd name="T9" fmla="*/ 2147483647 h 122"/>
                <a:gd name="T10" fmla="*/ 2147483647 w 104"/>
                <a:gd name="T11" fmla="*/ 2147483647 h 122"/>
                <a:gd name="T12" fmla="*/ 2147483647 w 104"/>
                <a:gd name="T13" fmla="*/ 2147483647 h 122"/>
                <a:gd name="T14" fmla="*/ 0 w 104"/>
                <a:gd name="T15" fmla="*/ 2147483647 h 122"/>
                <a:gd name="T16" fmla="*/ 2147483647 w 104"/>
                <a:gd name="T17" fmla="*/ 2147483647 h 122"/>
                <a:gd name="T18" fmla="*/ 2147483647 w 104"/>
                <a:gd name="T19" fmla="*/ 2147483647 h 122"/>
                <a:gd name="T20" fmla="*/ 2147483647 w 104"/>
                <a:gd name="T21" fmla="*/ 2147483647 h 122"/>
                <a:gd name="T22" fmla="*/ 2147483647 w 104"/>
                <a:gd name="T23" fmla="*/ 2147483647 h 122"/>
                <a:gd name="T24" fmla="*/ 2147483647 w 104"/>
                <a:gd name="T25" fmla="*/ 2147483647 h 122"/>
                <a:gd name="T26" fmla="*/ 2147483647 w 104"/>
                <a:gd name="T27" fmla="*/ 0 h 122"/>
                <a:gd name="T28" fmla="*/ 2147483647 w 104"/>
                <a:gd name="T29" fmla="*/ 2147483647 h 122"/>
                <a:gd name="T30" fmla="*/ 2147483647 w 104"/>
                <a:gd name="T31" fmla="*/ 2147483647 h 122"/>
                <a:gd name="T32" fmla="*/ 2147483647 w 104"/>
                <a:gd name="T33" fmla="*/ 2147483647 h 122"/>
                <a:gd name="T34" fmla="*/ 2147483647 w 104"/>
                <a:gd name="T35" fmla="*/ 2147483647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7 h 120"/>
                <a:gd name="T2" fmla="*/ 2147483647 w 105"/>
                <a:gd name="T3" fmla="*/ 2147483647 h 120"/>
                <a:gd name="T4" fmla="*/ 2147483647 w 105"/>
                <a:gd name="T5" fmla="*/ 2147483647 h 120"/>
                <a:gd name="T6" fmla="*/ 2147483647 w 105"/>
                <a:gd name="T7" fmla="*/ 0 h 120"/>
                <a:gd name="T8" fmla="*/ 2147483647 w 105"/>
                <a:gd name="T9" fmla="*/ 2147483647 h 120"/>
                <a:gd name="T10" fmla="*/ 2147483647 w 105"/>
                <a:gd name="T11" fmla="*/ 2147483647 h 120"/>
                <a:gd name="T12" fmla="*/ 2147483647 w 105"/>
                <a:gd name="T13" fmla="*/ 2147483647 h 120"/>
                <a:gd name="T14" fmla="*/ 2147483647 w 105"/>
                <a:gd name="T15" fmla="*/ 2147483647 h 120"/>
                <a:gd name="T16" fmla="*/ 2147483647 w 105"/>
                <a:gd name="T17" fmla="*/ 2147483647 h 120"/>
                <a:gd name="T18" fmla="*/ 2147483647 w 105"/>
                <a:gd name="T19" fmla="*/ 2147483647 h 120"/>
                <a:gd name="T20" fmla="*/ 2147483647 w 105"/>
                <a:gd name="T21" fmla="*/ 2147483647 h 120"/>
                <a:gd name="T22" fmla="*/ 0 w 105"/>
                <a:gd name="T23" fmla="*/ 2147483647 h 120"/>
                <a:gd name="T24" fmla="*/ 0 w 105"/>
                <a:gd name="T25" fmla="*/ 2147483647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7 w 109"/>
                <a:gd name="T1" fmla="*/ 2147483647 h 122"/>
                <a:gd name="T2" fmla="*/ 2147483647 w 109"/>
                <a:gd name="T3" fmla="*/ 2147483647 h 122"/>
                <a:gd name="T4" fmla="*/ 2147483647 w 109"/>
                <a:gd name="T5" fmla="*/ 2147483647 h 122"/>
                <a:gd name="T6" fmla="*/ 2147483647 w 109"/>
                <a:gd name="T7" fmla="*/ 2147483647 h 122"/>
                <a:gd name="T8" fmla="*/ 2147483647 w 109"/>
                <a:gd name="T9" fmla="*/ 2147483647 h 122"/>
                <a:gd name="T10" fmla="*/ 0 w 109"/>
                <a:gd name="T11" fmla="*/ 2147483647 h 122"/>
                <a:gd name="T12" fmla="*/ 2147483647 w 109"/>
                <a:gd name="T13" fmla="*/ 0 h 122"/>
                <a:gd name="T14" fmla="*/ 2147483647 w 109"/>
                <a:gd name="T15" fmla="*/ 2147483647 h 122"/>
                <a:gd name="T16" fmla="*/ 2147483647 w 109"/>
                <a:gd name="T17" fmla="*/ 2147483647 h 122"/>
                <a:gd name="T18" fmla="*/ 2147483647 w 109"/>
                <a:gd name="T19" fmla="*/ 2147483647 h 122"/>
                <a:gd name="T20" fmla="*/ 2147483647 w 109"/>
                <a:gd name="T21" fmla="*/ 2147483647 h 122"/>
                <a:gd name="T22" fmla="*/ 2147483647 w 109"/>
                <a:gd name="T23" fmla="*/ 2147483647 h 122"/>
                <a:gd name="T24" fmla="*/ 2147483647 w 109"/>
                <a:gd name="T25" fmla="*/ 2147483647 h 122"/>
                <a:gd name="T26" fmla="*/ 2147483647 w 109"/>
                <a:gd name="T27" fmla="*/ 2147483647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7 w 116"/>
                <a:gd name="T1" fmla="*/ 2147483647 h 124"/>
                <a:gd name="T2" fmla="*/ 2147483647 w 116"/>
                <a:gd name="T3" fmla="*/ 2147483647 h 124"/>
                <a:gd name="T4" fmla="*/ 2147483647 w 116"/>
                <a:gd name="T5" fmla="*/ 2147483647 h 124"/>
                <a:gd name="T6" fmla="*/ 2147483647 w 116"/>
                <a:gd name="T7" fmla="*/ 2147483647 h 124"/>
                <a:gd name="T8" fmla="*/ 2147483647 w 116"/>
                <a:gd name="T9" fmla="*/ 2147483647 h 124"/>
                <a:gd name="T10" fmla="*/ 2147483647 w 116"/>
                <a:gd name="T11" fmla="*/ 2147483647 h 124"/>
                <a:gd name="T12" fmla="*/ 0 w 116"/>
                <a:gd name="T13" fmla="*/ 2147483647 h 124"/>
                <a:gd name="T14" fmla="*/ 2147483647 w 116"/>
                <a:gd name="T15" fmla="*/ 0 h 124"/>
                <a:gd name="T16" fmla="*/ 2147483647 w 116"/>
                <a:gd name="T17" fmla="*/ 2147483647 h 124"/>
                <a:gd name="T18" fmla="*/ 2147483647 w 116"/>
                <a:gd name="T19" fmla="*/ 2147483647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7 h 120"/>
                <a:gd name="T2" fmla="*/ 2147483647 w 66"/>
                <a:gd name="T3" fmla="*/ 2147483647 h 120"/>
                <a:gd name="T4" fmla="*/ 2147483647 w 66"/>
                <a:gd name="T5" fmla="*/ 2147483647 h 120"/>
                <a:gd name="T6" fmla="*/ 2147483647 w 66"/>
                <a:gd name="T7" fmla="*/ 0 h 120"/>
                <a:gd name="T8" fmla="*/ 2147483647 w 66"/>
                <a:gd name="T9" fmla="*/ 2147483647 h 120"/>
                <a:gd name="T10" fmla="*/ 2147483647 w 66"/>
                <a:gd name="T11" fmla="*/ 2147483647 h 120"/>
                <a:gd name="T12" fmla="*/ 2147483647 w 66"/>
                <a:gd name="T13" fmla="*/ 2147483647 h 120"/>
                <a:gd name="T14" fmla="*/ 2147483647 w 66"/>
                <a:gd name="T15" fmla="*/ 2147483647 h 120"/>
                <a:gd name="T16" fmla="*/ 2147483647 w 66"/>
                <a:gd name="T17" fmla="*/ 2147483647 h 120"/>
                <a:gd name="T18" fmla="*/ 0 w 66"/>
                <a:gd name="T19" fmla="*/ 2147483647 h 120"/>
                <a:gd name="T20" fmla="*/ 0 w 66"/>
                <a:gd name="T21" fmla="*/ 2147483647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7 w 110"/>
                <a:gd name="T1" fmla="*/ 2147483647 h 166"/>
                <a:gd name="T2" fmla="*/ 2147483647 w 110"/>
                <a:gd name="T3" fmla="*/ 2147483647 h 166"/>
                <a:gd name="T4" fmla="*/ 2147483647 w 110"/>
                <a:gd name="T5" fmla="*/ 2147483647 h 166"/>
                <a:gd name="T6" fmla="*/ 2147483647 w 110"/>
                <a:gd name="T7" fmla="*/ 2147483647 h 166"/>
                <a:gd name="T8" fmla="*/ 2147483647 w 110"/>
                <a:gd name="T9" fmla="*/ 2147483647 h 166"/>
                <a:gd name="T10" fmla="*/ 2147483647 w 110"/>
                <a:gd name="T11" fmla="*/ 2147483647 h 166"/>
                <a:gd name="T12" fmla="*/ 2147483647 w 110"/>
                <a:gd name="T13" fmla="*/ 2147483647 h 166"/>
                <a:gd name="T14" fmla="*/ 2147483647 w 110"/>
                <a:gd name="T15" fmla="*/ 2147483647 h 166"/>
                <a:gd name="T16" fmla="*/ 2147483647 w 110"/>
                <a:gd name="T17" fmla="*/ 2147483647 h 166"/>
                <a:gd name="T18" fmla="*/ 2147483647 w 110"/>
                <a:gd name="T19" fmla="*/ 2147483647 h 166"/>
                <a:gd name="T20" fmla="*/ 0 w 110"/>
                <a:gd name="T21" fmla="*/ 2147483647 h 166"/>
                <a:gd name="T22" fmla="*/ 2147483647 w 110"/>
                <a:gd name="T23" fmla="*/ 0 h 166"/>
                <a:gd name="T24" fmla="*/ 2147483647 w 110"/>
                <a:gd name="T25" fmla="*/ 2147483647 h 166"/>
                <a:gd name="T26" fmla="*/ 2147483647 w 110"/>
                <a:gd name="T27" fmla="*/ 2147483647 h 166"/>
                <a:gd name="T28" fmla="*/ 2147483647 w 110"/>
                <a:gd name="T29" fmla="*/ 2147483647 h 166"/>
                <a:gd name="T30" fmla="*/ 2147483647 w 110"/>
                <a:gd name="T31" fmla="*/ 2147483647 h 166"/>
                <a:gd name="T32" fmla="*/ 2147483647 w 110"/>
                <a:gd name="T33" fmla="*/ 2147483647 h 166"/>
                <a:gd name="T34" fmla="*/ 2147483647 w 110"/>
                <a:gd name="T35" fmla="*/ 2147483647 h 166"/>
                <a:gd name="T36" fmla="*/ 2147483647 w 110"/>
                <a:gd name="T37" fmla="*/ 2147483647 h 166"/>
                <a:gd name="T38" fmla="*/ 2147483647 w 110"/>
                <a:gd name="T39" fmla="*/ 2147483647 h 166"/>
                <a:gd name="T40" fmla="*/ 2147483647 w 110"/>
                <a:gd name="T41" fmla="*/ 2147483647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7 w 195"/>
                <a:gd name="T1" fmla="*/ 2147483647 h 92"/>
                <a:gd name="T2" fmla="*/ 2147483647 w 195"/>
                <a:gd name="T3" fmla="*/ 2147483647 h 92"/>
                <a:gd name="T4" fmla="*/ 2147483647 w 195"/>
                <a:gd name="T5" fmla="*/ 2147483647 h 92"/>
                <a:gd name="T6" fmla="*/ 2147483647 w 195"/>
                <a:gd name="T7" fmla="*/ 2147483647 h 92"/>
                <a:gd name="T8" fmla="*/ 2147483647 w 195"/>
                <a:gd name="T9" fmla="*/ 2147483647 h 92"/>
                <a:gd name="T10" fmla="*/ 2147483647 w 195"/>
                <a:gd name="T11" fmla="*/ 2147483647 h 92"/>
                <a:gd name="T12" fmla="*/ 2147483647 w 195"/>
                <a:gd name="T13" fmla="*/ 2147483647 h 92"/>
                <a:gd name="T14" fmla="*/ 2147483647 w 195"/>
                <a:gd name="T15" fmla="*/ 2147483647 h 92"/>
                <a:gd name="T16" fmla="*/ 2147483647 w 195"/>
                <a:gd name="T17" fmla="*/ 2147483647 h 92"/>
                <a:gd name="T18" fmla="*/ 2147483647 w 195"/>
                <a:gd name="T19" fmla="*/ 2147483647 h 92"/>
                <a:gd name="T20" fmla="*/ 2147483647 w 195"/>
                <a:gd name="T21" fmla="*/ 0 h 92"/>
                <a:gd name="T22" fmla="*/ 2147483647 w 195"/>
                <a:gd name="T23" fmla="*/ 0 h 92"/>
                <a:gd name="T24" fmla="*/ 2147483647 w 195"/>
                <a:gd name="T25" fmla="*/ 2147483647 h 92"/>
                <a:gd name="T26" fmla="*/ 2147483647 w 195"/>
                <a:gd name="T27" fmla="*/ 0 h 92"/>
                <a:gd name="T28" fmla="*/ 2147483647 w 195"/>
                <a:gd name="T29" fmla="*/ 0 h 92"/>
                <a:gd name="T30" fmla="*/ 2147483647 w 195"/>
                <a:gd name="T31" fmla="*/ 2147483647 h 92"/>
                <a:gd name="T32" fmla="*/ 2147483647 w 195"/>
                <a:gd name="T33" fmla="*/ 2147483647 h 92"/>
                <a:gd name="T34" fmla="*/ 2147483647 w 195"/>
                <a:gd name="T35" fmla="*/ 2147483647 h 92"/>
                <a:gd name="T36" fmla="*/ 2147483647 w 195"/>
                <a:gd name="T37" fmla="*/ 2147483647 h 92"/>
                <a:gd name="T38" fmla="*/ 2147483647 w 195"/>
                <a:gd name="T39" fmla="*/ 2147483647 h 92"/>
                <a:gd name="T40" fmla="*/ 2147483647 w 195"/>
                <a:gd name="T41" fmla="*/ 2147483647 h 92"/>
                <a:gd name="T42" fmla="*/ 0 w 195"/>
                <a:gd name="T43" fmla="*/ 2147483647 h 92"/>
                <a:gd name="T44" fmla="*/ 0 w 195"/>
                <a:gd name="T45" fmla="*/ 0 h 92"/>
                <a:gd name="T46" fmla="*/ 2147483647 w 195"/>
                <a:gd name="T47" fmla="*/ 0 h 92"/>
                <a:gd name="T48" fmla="*/ 2147483647 w 195"/>
                <a:gd name="T49" fmla="*/ 2147483647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573654839"/>
      </p:ext>
    </p:extLst>
  </p:cSld>
  <p:clrMapOvr>
    <a:masterClrMapping/>
  </p:clrMapOvr>
  <p:transition spd="med">
    <p:fade/>
  </p:transition>
  <p:hf sldNum="0" hdr="0" ftr="0"/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9755"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10"/>
          <p:cNvSpPr txBox="1">
            <a:spLocks/>
          </p:cNvSpPr>
          <p:nvPr/>
        </p:nvSpPr>
        <p:spPr>
          <a:xfrm>
            <a:off x="336550" y="4471988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BF49AB7D-20DA-4100-9614-FC5819C1577C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7" name="Text Placeholder 10"/>
          <p:cNvSpPr txBox="1">
            <a:spLocks/>
          </p:cNvSpPr>
          <p:nvPr/>
        </p:nvSpPr>
        <p:spPr>
          <a:xfrm>
            <a:off x="655638" y="4467225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  <p:sp>
        <p:nvSpPr>
          <p:cNvPr id="8" name="Rectangle 7"/>
          <p:cNvSpPr/>
          <p:nvPr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7" rIns="91432" bIns="45717" anchor="ctr"/>
          <a:lstStyle/>
          <a:p>
            <a:pPr algn="ctr" defTabSz="712731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9" name="Group 5"/>
          <p:cNvGrpSpPr>
            <a:grpSpLocks/>
          </p:cNvGrpSpPr>
          <p:nvPr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10" name="Rectangle 8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5pPr>
              <a:lvl6pPr marL="18827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6pPr>
              <a:lvl7pPr marL="23399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7pPr>
              <a:lvl8pPr marL="27971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8pPr>
              <a:lvl9pPr marL="32543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9pPr>
            </a:lstStyle>
            <a:p>
              <a:pPr defTabSz="914327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US" altLang="en-US" sz="1800" dirty="0">
                <a:solidFill>
                  <a:srgbClr val="FF6600"/>
                </a:solidFill>
                <a:latin typeface="Helvetica 75 Bold" pitchFamily="34" charset="0"/>
                <a:cs typeface="Arial" charset="0"/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7 w 104"/>
                <a:gd name="T1" fmla="*/ 2147483647 h 122"/>
                <a:gd name="T2" fmla="*/ 2147483647 w 104"/>
                <a:gd name="T3" fmla="*/ 2147483647 h 122"/>
                <a:gd name="T4" fmla="*/ 2147483647 w 104"/>
                <a:gd name="T5" fmla="*/ 2147483647 h 122"/>
                <a:gd name="T6" fmla="*/ 2147483647 w 104"/>
                <a:gd name="T7" fmla="*/ 2147483647 h 122"/>
                <a:gd name="T8" fmla="*/ 2147483647 w 104"/>
                <a:gd name="T9" fmla="*/ 2147483647 h 122"/>
                <a:gd name="T10" fmla="*/ 2147483647 w 104"/>
                <a:gd name="T11" fmla="*/ 2147483647 h 122"/>
                <a:gd name="T12" fmla="*/ 2147483647 w 104"/>
                <a:gd name="T13" fmla="*/ 2147483647 h 122"/>
                <a:gd name="T14" fmla="*/ 0 w 104"/>
                <a:gd name="T15" fmla="*/ 2147483647 h 122"/>
                <a:gd name="T16" fmla="*/ 2147483647 w 104"/>
                <a:gd name="T17" fmla="*/ 2147483647 h 122"/>
                <a:gd name="T18" fmla="*/ 2147483647 w 104"/>
                <a:gd name="T19" fmla="*/ 2147483647 h 122"/>
                <a:gd name="T20" fmla="*/ 2147483647 w 104"/>
                <a:gd name="T21" fmla="*/ 2147483647 h 122"/>
                <a:gd name="T22" fmla="*/ 2147483647 w 104"/>
                <a:gd name="T23" fmla="*/ 2147483647 h 122"/>
                <a:gd name="T24" fmla="*/ 2147483647 w 104"/>
                <a:gd name="T25" fmla="*/ 2147483647 h 122"/>
                <a:gd name="T26" fmla="*/ 2147483647 w 104"/>
                <a:gd name="T27" fmla="*/ 0 h 122"/>
                <a:gd name="T28" fmla="*/ 2147483647 w 104"/>
                <a:gd name="T29" fmla="*/ 2147483647 h 122"/>
                <a:gd name="T30" fmla="*/ 2147483647 w 104"/>
                <a:gd name="T31" fmla="*/ 2147483647 h 122"/>
                <a:gd name="T32" fmla="*/ 2147483647 w 104"/>
                <a:gd name="T33" fmla="*/ 2147483647 h 122"/>
                <a:gd name="T34" fmla="*/ 2147483647 w 104"/>
                <a:gd name="T35" fmla="*/ 2147483647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7 h 120"/>
                <a:gd name="T2" fmla="*/ 2147483647 w 105"/>
                <a:gd name="T3" fmla="*/ 2147483647 h 120"/>
                <a:gd name="T4" fmla="*/ 2147483647 w 105"/>
                <a:gd name="T5" fmla="*/ 2147483647 h 120"/>
                <a:gd name="T6" fmla="*/ 2147483647 w 105"/>
                <a:gd name="T7" fmla="*/ 0 h 120"/>
                <a:gd name="T8" fmla="*/ 2147483647 w 105"/>
                <a:gd name="T9" fmla="*/ 2147483647 h 120"/>
                <a:gd name="T10" fmla="*/ 2147483647 w 105"/>
                <a:gd name="T11" fmla="*/ 2147483647 h 120"/>
                <a:gd name="T12" fmla="*/ 2147483647 w 105"/>
                <a:gd name="T13" fmla="*/ 2147483647 h 120"/>
                <a:gd name="T14" fmla="*/ 2147483647 w 105"/>
                <a:gd name="T15" fmla="*/ 2147483647 h 120"/>
                <a:gd name="T16" fmla="*/ 2147483647 w 105"/>
                <a:gd name="T17" fmla="*/ 2147483647 h 120"/>
                <a:gd name="T18" fmla="*/ 2147483647 w 105"/>
                <a:gd name="T19" fmla="*/ 2147483647 h 120"/>
                <a:gd name="T20" fmla="*/ 2147483647 w 105"/>
                <a:gd name="T21" fmla="*/ 2147483647 h 120"/>
                <a:gd name="T22" fmla="*/ 0 w 105"/>
                <a:gd name="T23" fmla="*/ 2147483647 h 120"/>
                <a:gd name="T24" fmla="*/ 0 w 105"/>
                <a:gd name="T25" fmla="*/ 2147483647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7 w 109"/>
                <a:gd name="T1" fmla="*/ 2147483647 h 122"/>
                <a:gd name="T2" fmla="*/ 2147483647 w 109"/>
                <a:gd name="T3" fmla="*/ 2147483647 h 122"/>
                <a:gd name="T4" fmla="*/ 2147483647 w 109"/>
                <a:gd name="T5" fmla="*/ 2147483647 h 122"/>
                <a:gd name="T6" fmla="*/ 2147483647 w 109"/>
                <a:gd name="T7" fmla="*/ 2147483647 h 122"/>
                <a:gd name="T8" fmla="*/ 2147483647 w 109"/>
                <a:gd name="T9" fmla="*/ 2147483647 h 122"/>
                <a:gd name="T10" fmla="*/ 0 w 109"/>
                <a:gd name="T11" fmla="*/ 2147483647 h 122"/>
                <a:gd name="T12" fmla="*/ 2147483647 w 109"/>
                <a:gd name="T13" fmla="*/ 0 h 122"/>
                <a:gd name="T14" fmla="*/ 2147483647 w 109"/>
                <a:gd name="T15" fmla="*/ 2147483647 h 122"/>
                <a:gd name="T16" fmla="*/ 2147483647 w 109"/>
                <a:gd name="T17" fmla="*/ 2147483647 h 122"/>
                <a:gd name="T18" fmla="*/ 2147483647 w 109"/>
                <a:gd name="T19" fmla="*/ 2147483647 h 122"/>
                <a:gd name="T20" fmla="*/ 2147483647 w 109"/>
                <a:gd name="T21" fmla="*/ 2147483647 h 122"/>
                <a:gd name="T22" fmla="*/ 2147483647 w 109"/>
                <a:gd name="T23" fmla="*/ 2147483647 h 122"/>
                <a:gd name="T24" fmla="*/ 2147483647 w 109"/>
                <a:gd name="T25" fmla="*/ 2147483647 h 122"/>
                <a:gd name="T26" fmla="*/ 2147483647 w 109"/>
                <a:gd name="T27" fmla="*/ 2147483647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7 w 116"/>
                <a:gd name="T1" fmla="*/ 2147483647 h 124"/>
                <a:gd name="T2" fmla="*/ 2147483647 w 116"/>
                <a:gd name="T3" fmla="*/ 2147483647 h 124"/>
                <a:gd name="T4" fmla="*/ 2147483647 w 116"/>
                <a:gd name="T5" fmla="*/ 2147483647 h 124"/>
                <a:gd name="T6" fmla="*/ 2147483647 w 116"/>
                <a:gd name="T7" fmla="*/ 2147483647 h 124"/>
                <a:gd name="T8" fmla="*/ 2147483647 w 116"/>
                <a:gd name="T9" fmla="*/ 2147483647 h 124"/>
                <a:gd name="T10" fmla="*/ 2147483647 w 116"/>
                <a:gd name="T11" fmla="*/ 2147483647 h 124"/>
                <a:gd name="T12" fmla="*/ 0 w 116"/>
                <a:gd name="T13" fmla="*/ 2147483647 h 124"/>
                <a:gd name="T14" fmla="*/ 2147483647 w 116"/>
                <a:gd name="T15" fmla="*/ 0 h 124"/>
                <a:gd name="T16" fmla="*/ 2147483647 w 116"/>
                <a:gd name="T17" fmla="*/ 2147483647 h 124"/>
                <a:gd name="T18" fmla="*/ 2147483647 w 116"/>
                <a:gd name="T19" fmla="*/ 2147483647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7 h 120"/>
                <a:gd name="T2" fmla="*/ 2147483647 w 66"/>
                <a:gd name="T3" fmla="*/ 2147483647 h 120"/>
                <a:gd name="T4" fmla="*/ 2147483647 w 66"/>
                <a:gd name="T5" fmla="*/ 2147483647 h 120"/>
                <a:gd name="T6" fmla="*/ 2147483647 w 66"/>
                <a:gd name="T7" fmla="*/ 0 h 120"/>
                <a:gd name="T8" fmla="*/ 2147483647 w 66"/>
                <a:gd name="T9" fmla="*/ 2147483647 h 120"/>
                <a:gd name="T10" fmla="*/ 2147483647 w 66"/>
                <a:gd name="T11" fmla="*/ 2147483647 h 120"/>
                <a:gd name="T12" fmla="*/ 2147483647 w 66"/>
                <a:gd name="T13" fmla="*/ 2147483647 h 120"/>
                <a:gd name="T14" fmla="*/ 2147483647 w 66"/>
                <a:gd name="T15" fmla="*/ 2147483647 h 120"/>
                <a:gd name="T16" fmla="*/ 2147483647 w 66"/>
                <a:gd name="T17" fmla="*/ 2147483647 h 120"/>
                <a:gd name="T18" fmla="*/ 0 w 66"/>
                <a:gd name="T19" fmla="*/ 2147483647 h 120"/>
                <a:gd name="T20" fmla="*/ 0 w 66"/>
                <a:gd name="T21" fmla="*/ 2147483647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7 w 110"/>
                <a:gd name="T1" fmla="*/ 2147483647 h 166"/>
                <a:gd name="T2" fmla="*/ 2147483647 w 110"/>
                <a:gd name="T3" fmla="*/ 2147483647 h 166"/>
                <a:gd name="T4" fmla="*/ 2147483647 w 110"/>
                <a:gd name="T5" fmla="*/ 2147483647 h 166"/>
                <a:gd name="T6" fmla="*/ 2147483647 w 110"/>
                <a:gd name="T7" fmla="*/ 2147483647 h 166"/>
                <a:gd name="T8" fmla="*/ 2147483647 w 110"/>
                <a:gd name="T9" fmla="*/ 2147483647 h 166"/>
                <a:gd name="T10" fmla="*/ 2147483647 w 110"/>
                <a:gd name="T11" fmla="*/ 2147483647 h 166"/>
                <a:gd name="T12" fmla="*/ 2147483647 w 110"/>
                <a:gd name="T13" fmla="*/ 2147483647 h 166"/>
                <a:gd name="T14" fmla="*/ 2147483647 w 110"/>
                <a:gd name="T15" fmla="*/ 2147483647 h 166"/>
                <a:gd name="T16" fmla="*/ 2147483647 w 110"/>
                <a:gd name="T17" fmla="*/ 2147483647 h 166"/>
                <a:gd name="T18" fmla="*/ 2147483647 w 110"/>
                <a:gd name="T19" fmla="*/ 2147483647 h 166"/>
                <a:gd name="T20" fmla="*/ 0 w 110"/>
                <a:gd name="T21" fmla="*/ 2147483647 h 166"/>
                <a:gd name="T22" fmla="*/ 2147483647 w 110"/>
                <a:gd name="T23" fmla="*/ 0 h 166"/>
                <a:gd name="T24" fmla="*/ 2147483647 w 110"/>
                <a:gd name="T25" fmla="*/ 2147483647 h 166"/>
                <a:gd name="T26" fmla="*/ 2147483647 w 110"/>
                <a:gd name="T27" fmla="*/ 2147483647 h 166"/>
                <a:gd name="T28" fmla="*/ 2147483647 w 110"/>
                <a:gd name="T29" fmla="*/ 2147483647 h 166"/>
                <a:gd name="T30" fmla="*/ 2147483647 w 110"/>
                <a:gd name="T31" fmla="*/ 2147483647 h 166"/>
                <a:gd name="T32" fmla="*/ 2147483647 w 110"/>
                <a:gd name="T33" fmla="*/ 2147483647 h 166"/>
                <a:gd name="T34" fmla="*/ 2147483647 w 110"/>
                <a:gd name="T35" fmla="*/ 2147483647 h 166"/>
                <a:gd name="T36" fmla="*/ 2147483647 w 110"/>
                <a:gd name="T37" fmla="*/ 2147483647 h 166"/>
                <a:gd name="T38" fmla="*/ 2147483647 w 110"/>
                <a:gd name="T39" fmla="*/ 2147483647 h 166"/>
                <a:gd name="T40" fmla="*/ 2147483647 w 110"/>
                <a:gd name="T41" fmla="*/ 2147483647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7 w 195"/>
                <a:gd name="T1" fmla="*/ 2147483647 h 92"/>
                <a:gd name="T2" fmla="*/ 2147483647 w 195"/>
                <a:gd name="T3" fmla="*/ 2147483647 h 92"/>
                <a:gd name="T4" fmla="*/ 2147483647 w 195"/>
                <a:gd name="T5" fmla="*/ 2147483647 h 92"/>
                <a:gd name="T6" fmla="*/ 2147483647 w 195"/>
                <a:gd name="T7" fmla="*/ 2147483647 h 92"/>
                <a:gd name="T8" fmla="*/ 2147483647 w 195"/>
                <a:gd name="T9" fmla="*/ 2147483647 h 92"/>
                <a:gd name="T10" fmla="*/ 2147483647 w 195"/>
                <a:gd name="T11" fmla="*/ 2147483647 h 92"/>
                <a:gd name="T12" fmla="*/ 2147483647 w 195"/>
                <a:gd name="T13" fmla="*/ 2147483647 h 92"/>
                <a:gd name="T14" fmla="*/ 2147483647 w 195"/>
                <a:gd name="T15" fmla="*/ 2147483647 h 92"/>
                <a:gd name="T16" fmla="*/ 2147483647 w 195"/>
                <a:gd name="T17" fmla="*/ 2147483647 h 92"/>
                <a:gd name="T18" fmla="*/ 2147483647 w 195"/>
                <a:gd name="T19" fmla="*/ 2147483647 h 92"/>
                <a:gd name="T20" fmla="*/ 2147483647 w 195"/>
                <a:gd name="T21" fmla="*/ 0 h 92"/>
                <a:gd name="T22" fmla="*/ 2147483647 w 195"/>
                <a:gd name="T23" fmla="*/ 0 h 92"/>
                <a:gd name="T24" fmla="*/ 2147483647 w 195"/>
                <a:gd name="T25" fmla="*/ 2147483647 h 92"/>
                <a:gd name="T26" fmla="*/ 2147483647 w 195"/>
                <a:gd name="T27" fmla="*/ 0 h 92"/>
                <a:gd name="T28" fmla="*/ 2147483647 w 195"/>
                <a:gd name="T29" fmla="*/ 0 h 92"/>
                <a:gd name="T30" fmla="*/ 2147483647 w 195"/>
                <a:gd name="T31" fmla="*/ 2147483647 h 92"/>
                <a:gd name="T32" fmla="*/ 2147483647 w 195"/>
                <a:gd name="T33" fmla="*/ 2147483647 h 92"/>
                <a:gd name="T34" fmla="*/ 2147483647 w 195"/>
                <a:gd name="T35" fmla="*/ 2147483647 h 92"/>
                <a:gd name="T36" fmla="*/ 2147483647 w 195"/>
                <a:gd name="T37" fmla="*/ 2147483647 h 92"/>
                <a:gd name="T38" fmla="*/ 2147483647 w 195"/>
                <a:gd name="T39" fmla="*/ 2147483647 h 92"/>
                <a:gd name="T40" fmla="*/ 2147483647 w 195"/>
                <a:gd name="T41" fmla="*/ 2147483647 h 92"/>
                <a:gd name="T42" fmla="*/ 0 w 195"/>
                <a:gd name="T43" fmla="*/ 2147483647 h 92"/>
                <a:gd name="T44" fmla="*/ 0 w 195"/>
                <a:gd name="T45" fmla="*/ 0 h 92"/>
                <a:gd name="T46" fmla="*/ 2147483647 w 195"/>
                <a:gd name="T47" fmla="*/ 0 h 92"/>
                <a:gd name="T48" fmla="*/ 2147483647 w 195"/>
                <a:gd name="T49" fmla="*/ 2147483647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3" y="339726"/>
            <a:ext cx="2301876" cy="3460750"/>
          </a:xfrm>
        </p:spPr>
        <p:txBody>
          <a:bodyPr tIns="109720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4181969836"/>
      </p:ext>
    </p:extLst>
  </p:cSld>
  <p:clrMapOvr>
    <a:masterClrMapping/>
  </p:clrMapOvr>
  <p:transition spd="med">
    <p:fade/>
  </p:transition>
  <p:hf sldNum="0" hdr="0" ftr="0"/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9" y="339728"/>
            <a:ext cx="8470900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06" marR="0" indent="-401606" algn="l" defTabSz="514309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06" indent="-401606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06" indent="-401606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151926404"/>
      </p:ext>
    </p:extLst>
  </p:cSld>
  <p:clrMapOvr>
    <a:masterClrMapping/>
  </p:clrMapOvr>
  <p:transition spd="med">
    <p:fade/>
  </p:transition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9" y="339728"/>
            <a:ext cx="8470900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4195123072"/>
      </p:ext>
    </p:extLst>
  </p:cSld>
  <p:clrMapOvr>
    <a:masterClrMapping/>
  </p:clrMapOvr>
  <p:transition spd="med">
    <p:fade/>
  </p:transition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9" y="1304927"/>
            <a:ext cx="8470900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439342"/>
      </p:ext>
    </p:extLst>
  </p:cSld>
  <p:clrMapOvr>
    <a:masterClrMapping/>
  </p:clrMapOvr>
  <p:transition spd="med">
    <p:fade/>
  </p:transition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0415681"/>
      </p:ext>
    </p:extLst>
  </p:cSld>
  <p:clrMapOvr>
    <a:masterClrMapping/>
  </p:clrMapOvr>
  <p:transition spd="med">
    <p:fade/>
  </p:transition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9" y="1304927"/>
            <a:ext cx="8470900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1920021"/>
      </p:ext>
    </p:extLst>
  </p:cSld>
  <p:clrMapOvr>
    <a:masterClrMapping/>
  </p:clrMapOvr>
  <p:transition spd="med">
    <p:fade/>
  </p:transition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9" y="339728"/>
            <a:ext cx="8470900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7436542"/>
      </p:ext>
    </p:extLst>
  </p:cSld>
  <p:clrMapOvr>
    <a:masterClrMapping/>
  </p:clrMapOvr>
  <p:transition spd="med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6"/>
          <p:cNvCxnSpPr/>
          <p:nvPr userDrawn="1"/>
        </p:nvCxnSpPr>
        <p:spPr>
          <a:xfrm>
            <a:off x="350838" y="663575"/>
            <a:ext cx="8639175" cy="0"/>
          </a:xfrm>
          <a:prstGeom prst="line">
            <a:avLst/>
          </a:prstGeom>
          <a:ln w="19050"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age 7" descr="icone-atouts.jpg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8E8"/>
              </a:clrFrom>
              <a:clrTo>
                <a:srgbClr val="FFF8E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7563" y="158750"/>
            <a:ext cx="527050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600"/>
                </a:solidFill>
              </a:defRPr>
            </a:lvl1pPr>
          </a:lstStyle>
          <a:p>
            <a:r>
              <a:rPr lang="fr-FR" dirty="0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056577"/>
      </p:ext>
    </p:extLst>
  </p:cSld>
  <p:clrMapOvr>
    <a:masterClrMapping/>
  </p:clrMapOvr>
  <p:transition spd="med">
    <p:fade/>
  </p:transition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0472191"/>
      </p:ext>
    </p:extLst>
  </p:cSld>
  <p:clrMapOvr>
    <a:masterClrMapping/>
  </p:clrMapOvr>
  <p:transition spd="med">
    <p:fade/>
  </p:transition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3071069"/>
      </p:ext>
    </p:extLst>
  </p:cSld>
  <p:clrMapOvr>
    <a:masterClrMapping/>
  </p:clrMapOvr>
  <p:transition spd="med">
    <p:fade/>
  </p:transition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ces simp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016213" y="302400"/>
            <a:ext cx="7084800" cy="737100"/>
          </a:xfrm>
        </p:spPr>
        <p:txBody>
          <a:bodyPr/>
          <a:lstStyle>
            <a:lvl1pPr algn="l">
              <a:defRPr baseline="0"/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26" name="Espace réservé du contenu 2"/>
          <p:cNvSpPr>
            <a:spLocks noGrp="1"/>
          </p:cNvSpPr>
          <p:nvPr>
            <p:ph idx="1"/>
          </p:nvPr>
        </p:nvSpPr>
        <p:spPr>
          <a:xfrm>
            <a:off x="1042989" y="1329929"/>
            <a:ext cx="7058025" cy="2915840"/>
          </a:xfrm>
        </p:spPr>
        <p:txBody>
          <a:bodyPr/>
          <a:lstStyle>
            <a:lvl1pPr>
              <a:defRPr sz="1500" baseline="0"/>
            </a:lvl1pPr>
            <a:lvl2pPr>
              <a:spcAft>
                <a:spcPct val="0"/>
              </a:spcAft>
              <a:buFont typeface="Arial" charset="0"/>
              <a:buChar char="–"/>
              <a:defRPr/>
            </a:lvl2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287365341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logo_rgb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0075" y="4408488"/>
            <a:ext cx="57467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20"/>
          <p:cNvSpPr txBox="1">
            <a:spLocks noChangeArrowheads="1"/>
          </p:cNvSpPr>
          <p:nvPr userDrawn="1"/>
        </p:nvSpPr>
        <p:spPr bwMode="auto">
          <a:xfrm>
            <a:off x="3897313" y="4873625"/>
            <a:ext cx="1250950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191" tIns="38095" rIns="76191" bIns="3809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712731" eaLnBrk="1" hangingPunct="1">
              <a:spcBef>
                <a:spcPct val="50000"/>
              </a:spcBef>
              <a:defRPr/>
            </a:pPr>
            <a:r>
              <a:rPr lang="fr-FR" altLang="fr-FR" sz="800" dirty="0" smtClean="0">
                <a:solidFill>
                  <a:srgbClr val="FF6600"/>
                </a:solidFill>
                <a:latin typeface="Helvetica 65 Medium" pitchFamily="34" charset="0"/>
                <a:ea typeface="ＭＳ Ｐゴシック" pitchFamily="34" charset="-128"/>
              </a:rPr>
              <a:t>confidentiel Orange</a:t>
            </a:r>
          </a:p>
        </p:txBody>
      </p:sp>
      <p:sp>
        <p:nvSpPr>
          <p:cNvPr id="20848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4392" y="2139554"/>
            <a:ext cx="7883877" cy="485775"/>
          </a:xfrm>
        </p:spPr>
        <p:txBody>
          <a:bodyPr lIns="29997" tIns="29997" anchor="b"/>
          <a:lstStyle>
            <a:lvl1pPr rtl="1">
              <a:defRPr>
                <a:solidFill>
                  <a:schemeClr val="bg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20848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4392" y="2652716"/>
            <a:ext cx="7883877" cy="351235"/>
          </a:xfrm>
        </p:spPr>
        <p:txBody>
          <a:bodyPr lIns="29997" tIns="29997"/>
          <a:lstStyle>
            <a:lvl1pPr marL="0" indent="0">
              <a:defRPr sz="2100">
                <a:solidFill>
                  <a:schemeClr val="tx1"/>
                </a:solidFill>
              </a:defRPr>
            </a:lvl1pPr>
          </a:lstStyle>
          <a:p>
            <a:r>
              <a:rPr lang="fr-FR"/>
              <a:t>prénom nom service</a:t>
            </a:r>
          </a:p>
        </p:txBody>
      </p:sp>
    </p:spTree>
    <p:extLst>
      <p:ext uri="{BB962C8B-B14F-4D97-AF65-F5344CB8AC3E}">
        <p14:creationId xmlns:p14="http://schemas.microsoft.com/office/powerpoint/2010/main" val="2456778828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06" indent="-401606">
              <a:lnSpc>
                <a:spcPct val="85000"/>
              </a:lnSpc>
              <a:spcAft>
                <a:spcPts val="0"/>
              </a:spcAft>
              <a:buFont typeface="+mj-lt"/>
              <a:buAutoNum type="arabicPeriod"/>
              <a:defRPr sz="30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5065072"/>
      </p:ext>
    </p:extLst>
  </p:cSld>
  <p:clrMapOvr>
    <a:masterClrMapping/>
  </p:clrMapOvr>
  <p:transition spd="med">
    <p:fade/>
  </p:transition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2788"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grpSp>
        <p:nvGrpSpPr>
          <p:cNvPr id="6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5pPr>
              <a:lvl6pPr marL="18811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6pPr>
              <a:lvl7pPr marL="23383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7pPr>
              <a:lvl8pPr marL="27955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8pPr>
              <a:lvl9pPr marL="32527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smtClean="0">
                <a:solidFill>
                  <a:srgbClr val="FF6600"/>
                </a:solidFill>
                <a:latin typeface="Helvetica 75 Bold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7 w 104"/>
                <a:gd name="T1" fmla="*/ 2147483647 h 122"/>
                <a:gd name="T2" fmla="*/ 2147483647 w 104"/>
                <a:gd name="T3" fmla="*/ 2147483647 h 122"/>
                <a:gd name="T4" fmla="*/ 2147483647 w 104"/>
                <a:gd name="T5" fmla="*/ 2147483647 h 122"/>
                <a:gd name="T6" fmla="*/ 2147483647 w 104"/>
                <a:gd name="T7" fmla="*/ 2147483647 h 122"/>
                <a:gd name="T8" fmla="*/ 2147483647 w 104"/>
                <a:gd name="T9" fmla="*/ 2147483647 h 122"/>
                <a:gd name="T10" fmla="*/ 2147483647 w 104"/>
                <a:gd name="T11" fmla="*/ 2147483647 h 122"/>
                <a:gd name="T12" fmla="*/ 2147483647 w 104"/>
                <a:gd name="T13" fmla="*/ 2147483647 h 122"/>
                <a:gd name="T14" fmla="*/ 0 w 104"/>
                <a:gd name="T15" fmla="*/ 2147483647 h 122"/>
                <a:gd name="T16" fmla="*/ 2147483647 w 104"/>
                <a:gd name="T17" fmla="*/ 2147483647 h 122"/>
                <a:gd name="T18" fmla="*/ 2147483647 w 104"/>
                <a:gd name="T19" fmla="*/ 2147483647 h 122"/>
                <a:gd name="T20" fmla="*/ 2147483647 w 104"/>
                <a:gd name="T21" fmla="*/ 2147483647 h 122"/>
                <a:gd name="T22" fmla="*/ 2147483647 w 104"/>
                <a:gd name="T23" fmla="*/ 2147483647 h 122"/>
                <a:gd name="T24" fmla="*/ 2147483647 w 104"/>
                <a:gd name="T25" fmla="*/ 2147483647 h 122"/>
                <a:gd name="T26" fmla="*/ 2147483647 w 104"/>
                <a:gd name="T27" fmla="*/ 0 h 122"/>
                <a:gd name="T28" fmla="*/ 2147483647 w 104"/>
                <a:gd name="T29" fmla="*/ 2147483647 h 122"/>
                <a:gd name="T30" fmla="*/ 2147483647 w 104"/>
                <a:gd name="T31" fmla="*/ 2147483647 h 122"/>
                <a:gd name="T32" fmla="*/ 2147483647 w 104"/>
                <a:gd name="T33" fmla="*/ 2147483647 h 122"/>
                <a:gd name="T34" fmla="*/ 2147483647 w 104"/>
                <a:gd name="T35" fmla="*/ 2147483647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7 h 120"/>
                <a:gd name="T2" fmla="*/ 2147483647 w 105"/>
                <a:gd name="T3" fmla="*/ 2147483647 h 120"/>
                <a:gd name="T4" fmla="*/ 2147483647 w 105"/>
                <a:gd name="T5" fmla="*/ 2147483647 h 120"/>
                <a:gd name="T6" fmla="*/ 2147483647 w 105"/>
                <a:gd name="T7" fmla="*/ 0 h 120"/>
                <a:gd name="T8" fmla="*/ 2147483647 w 105"/>
                <a:gd name="T9" fmla="*/ 2147483647 h 120"/>
                <a:gd name="T10" fmla="*/ 2147483647 w 105"/>
                <a:gd name="T11" fmla="*/ 2147483647 h 120"/>
                <a:gd name="T12" fmla="*/ 2147483647 w 105"/>
                <a:gd name="T13" fmla="*/ 2147483647 h 120"/>
                <a:gd name="T14" fmla="*/ 2147483647 w 105"/>
                <a:gd name="T15" fmla="*/ 2147483647 h 120"/>
                <a:gd name="T16" fmla="*/ 2147483647 w 105"/>
                <a:gd name="T17" fmla="*/ 2147483647 h 120"/>
                <a:gd name="T18" fmla="*/ 2147483647 w 105"/>
                <a:gd name="T19" fmla="*/ 2147483647 h 120"/>
                <a:gd name="T20" fmla="*/ 2147483647 w 105"/>
                <a:gd name="T21" fmla="*/ 2147483647 h 120"/>
                <a:gd name="T22" fmla="*/ 0 w 105"/>
                <a:gd name="T23" fmla="*/ 2147483647 h 120"/>
                <a:gd name="T24" fmla="*/ 0 w 105"/>
                <a:gd name="T25" fmla="*/ 2147483647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7 w 109"/>
                <a:gd name="T1" fmla="*/ 2147483647 h 122"/>
                <a:gd name="T2" fmla="*/ 2147483647 w 109"/>
                <a:gd name="T3" fmla="*/ 2147483647 h 122"/>
                <a:gd name="T4" fmla="*/ 2147483647 w 109"/>
                <a:gd name="T5" fmla="*/ 2147483647 h 122"/>
                <a:gd name="T6" fmla="*/ 2147483647 w 109"/>
                <a:gd name="T7" fmla="*/ 2147483647 h 122"/>
                <a:gd name="T8" fmla="*/ 2147483647 w 109"/>
                <a:gd name="T9" fmla="*/ 2147483647 h 122"/>
                <a:gd name="T10" fmla="*/ 0 w 109"/>
                <a:gd name="T11" fmla="*/ 2147483647 h 122"/>
                <a:gd name="T12" fmla="*/ 2147483647 w 109"/>
                <a:gd name="T13" fmla="*/ 0 h 122"/>
                <a:gd name="T14" fmla="*/ 2147483647 w 109"/>
                <a:gd name="T15" fmla="*/ 2147483647 h 122"/>
                <a:gd name="T16" fmla="*/ 2147483647 w 109"/>
                <a:gd name="T17" fmla="*/ 2147483647 h 122"/>
                <a:gd name="T18" fmla="*/ 2147483647 w 109"/>
                <a:gd name="T19" fmla="*/ 2147483647 h 122"/>
                <a:gd name="T20" fmla="*/ 2147483647 w 109"/>
                <a:gd name="T21" fmla="*/ 2147483647 h 122"/>
                <a:gd name="T22" fmla="*/ 2147483647 w 109"/>
                <a:gd name="T23" fmla="*/ 2147483647 h 122"/>
                <a:gd name="T24" fmla="*/ 2147483647 w 109"/>
                <a:gd name="T25" fmla="*/ 2147483647 h 122"/>
                <a:gd name="T26" fmla="*/ 2147483647 w 109"/>
                <a:gd name="T27" fmla="*/ 2147483647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7 w 116"/>
                <a:gd name="T1" fmla="*/ 2147483647 h 124"/>
                <a:gd name="T2" fmla="*/ 2147483647 w 116"/>
                <a:gd name="T3" fmla="*/ 2147483647 h 124"/>
                <a:gd name="T4" fmla="*/ 2147483647 w 116"/>
                <a:gd name="T5" fmla="*/ 2147483647 h 124"/>
                <a:gd name="T6" fmla="*/ 2147483647 w 116"/>
                <a:gd name="T7" fmla="*/ 2147483647 h 124"/>
                <a:gd name="T8" fmla="*/ 2147483647 w 116"/>
                <a:gd name="T9" fmla="*/ 2147483647 h 124"/>
                <a:gd name="T10" fmla="*/ 2147483647 w 116"/>
                <a:gd name="T11" fmla="*/ 2147483647 h 124"/>
                <a:gd name="T12" fmla="*/ 0 w 116"/>
                <a:gd name="T13" fmla="*/ 2147483647 h 124"/>
                <a:gd name="T14" fmla="*/ 2147483647 w 116"/>
                <a:gd name="T15" fmla="*/ 0 h 124"/>
                <a:gd name="T16" fmla="*/ 2147483647 w 116"/>
                <a:gd name="T17" fmla="*/ 2147483647 h 124"/>
                <a:gd name="T18" fmla="*/ 2147483647 w 116"/>
                <a:gd name="T19" fmla="*/ 2147483647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7 h 120"/>
                <a:gd name="T2" fmla="*/ 2147483647 w 66"/>
                <a:gd name="T3" fmla="*/ 2147483647 h 120"/>
                <a:gd name="T4" fmla="*/ 2147483647 w 66"/>
                <a:gd name="T5" fmla="*/ 2147483647 h 120"/>
                <a:gd name="T6" fmla="*/ 2147483647 w 66"/>
                <a:gd name="T7" fmla="*/ 0 h 120"/>
                <a:gd name="T8" fmla="*/ 2147483647 w 66"/>
                <a:gd name="T9" fmla="*/ 2147483647 h 120"/>
                <a:gd name="T10" fmla="*/ 2147483647 w 66"/>
                <a:gd name="T11" fmla="*/ 2147483647 h 120"/>
                <a:gd name="T12" fmla="*/ 2147483647 w 66"/>
                <a:gd name="T13" fmla="*/ 2147483647 h 120"/>
                <a:gd name="T14" fmla="*/ 2147483647 w 66"/>
                <a:gd name="T15" fmla="*/ 2147483647 h 120"/>
                <a:gd name="T16" fmla="*/ 2147483647 w 66"/>
                <a:gd name="T17" fmla="*/ 2147483647 h 120"/>
                <a:gd name="T18" fmla="*/ 0 w 66"/>
                <a:gd name="T19" fmla="*/ 2147483647 h 120"/>
                <a:gd name="T20" fmla="*/ 0 w 66"/>
                <a:gd name="T21" fmla="*/ 2147483647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7 w 110"/>
                <a:gd name="T1" fmla="*/ 2147483647 h 166"/>
                <a:gd name="T2" fmla="*/ 2147483647 w 110"/>
                <a:gd name="T3" fmla="*/ 2147483647 h 166"/>
                <a:gd name="T4" fmla="*/ 2147483647 w 110"/>
                <a:gd name="T5" fmla="*/ 2147483647 h 166"/>
                <a:gd name="T6" fmla="*/ 2147483647 w 110"/>
                <a:gd name="T7" fmla="*/ 2147483647 h 166"/>
                <a:gd name="T8" fmla="*/ 2147483647 w 110"/>
                <a:gd name="T9" fmla="*/ 2147483647 h 166"/>
                <a:gd name="T10" fmla="*/ 2147483647 w 110"/>
                <a:gd name="T11" fmla="*/ 2147483647 h 166"/>
                <a:gd name="T12" fmla="*/ 2147483647 w 110"/>
                <a:gd name="T13" fmla="*/ 2147483647 h 166"/>
                <a:gd name="T14" fmla="*/ 2147483647 w 110"/>
                <a:gd name="T15" fmla="*/ 2147483647 h 166"/>
                <a:gd name="T16" fmla="*/ 2147483647 w 110"/>
                <a:gd name="T17" fmla="*/ 2147483647 h 166"/>
                <a:gd name="T18" fmla="*/ 2147483647 w 110"/>
                <a:gd name="T19" fmla="*/ 2147483647 h 166"/>
                <a:gd name="T20" fmla="*/ 0 w 110"/>
                <a:gd name="T21" fmla="*/ 2147483647 h 166"/>
                <a:gd name="T22" fmla="*/ 2147483647 w 110"/>
                <a:gd name="T23" fmla="*/ 0 h 166"/>
                <a:gd name="T24" fmla="*/ 2147483647 w 110"/>
                <a:gd name="T25" fmla="*/ 2147483647 h 166"/>
                <a:gd name="T26" fmla="*/ 2147483647 w 110"/>
                <a:gd name="T27" fmla="*/ 2147483647 h 166"/>
                <a:gd name="T28" fmla="*/ 2147483647 w 110"/>
                <a:gd name="T29" fmla="*/ 2147483647 h 166"/>
                <a:gd name="T30" fmla="*/ 2147483647 w 110"/>
                <a:gd name="T31" fmla="*/ 2147483647 h 166"/>
                <a:gd name="T32" fmla="*/ 2147483647 w 110"/>
                <a:gd name="T33" fmla="*/ 2147483647 h 166"/>
                <a:gd name="T34" fmla="*/ 2147483647 w 110"/>
                <a:gd name="T35" fmla="*/ 2147483647 h 166"/>
                <a:gd name="T36" fmla="*/ 2147483647 w 110"/>
                <a:gd name="T37" fmla="*/ 2147483647 h 166"/>
                <a:gd name="T38" fmla="*/ 2147483647 w 110"/>
                <a:gd name="T39" fmla="*/ 2147483647 h 166"/>
                <a:gd name="T40" fmla="*/ 2147483647 w 110"/>
                <a:gd name="T41" fmla="*/ 2147483647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7 w 195"/>
                <a:gd name="T1" fmla="*/ 2147483647 h 92"/>
                <a:gd name="T2" fmla="*/ 2147483647 w 195"/>
                <a:gd name="T3" fmla="*/ 2147483647 h 92"/>
                <a:gd name="T4" fmla="*/ 2147483647 w 195"/>
                <a:gd name="T5" fmla="*/ 2147483647 h 92"/>
                <a:gd name="T6" fmla="*/ 2147483647 w 195"/>
                <a:gd name="T7" fmla="*/ 2147483647 h 92"/>
                <a:gd name="T8" fmla="*/ 2147483647 w 195"/>
                <a:gd name="T9" fmla="*/ 2147483647 h 92"/>
                <a:gd name="T10" fmla="*/ 2147483647 w 195"/>
                <a:gd name="T11" fmla="*/ 2147483647 h 92"/>
                <a:gd name="T12" fmla="*/ 2147483647 w 195"/>
                <a:gd name="T13" fmla="*/ 2147483647 h 92"/>
                <a:gd name="T14" fmla="*/ 2147483647 w 195"/>
                <a:gd name="T15" fmla="*/ 2147483647 h 92"/>
                <a:gd name="T16" fmla="*/ 2147483647 w 195"/>
                <a:gd name="T17" fmla="*/ 2147483647 h 92"/>
                <a:gd name="T18" fmla="*/ 2147483647 w 195"/>
                <a:gd name="T19" fmla="*/ 2147483647 h 92"/>
                <a:gd name="T20" fmla="*/ 2147483647 w 195"/>
                <a:gd name="T21" fmla="*/ 0 h 92"/>
                <a:gd name="T22" fmla="*/ 2147483647 w 195"/>
                <a:gd name="T23" fmla="*/ 0 h 92"/>
                <a:gd name="T24" fmla="*/ 2147483647 w 195"/>
                <a:gd name="T25" fmla="*/ 2147483647 h 92"/>
                <a:gd name="T26" fmla="*/ 2147483647 w 195"/>
                <a:gd name="T27" fmla="*/ 0 h 92"/>
                <a:gd name="T28" fmla="*/ 2147483647 w 195"/>
                <a:gd name="T29" fmla="*/ 0 h 92"/>
                <a:gd name="T30" fmla="*/ 2147483647 w 195"/>
                <a:gd name="T31" fmla="*/ 2147483647 h 92"/>
                <a:gd name="T32" fmla="*/ 2147483647 w 195"/>
                <a:gd name="T33" fmla="*/ 2147483647 h 92"/>
                <a:gd name="T34" fmla="*/ 2147483647 w 195"/>
                <a:gd name="T35" fmla="*/ 2147483647 h 92"/>
                <a:gd name="T36" fmla="*/ 2147483647 w 195"/>
                <a:gd name="T37" fmla="*/ 2147483647 h 92"/>
                <a:gd name="T38" fmla="*/ 2147483647 w 195"/>
                <a:gd name="T39" fmla="*/ 2147483647 h 92"/>
                <a:gd name="T40" fmla="*/ 2147483647 w 195"/>
                <a:gd name="T41" fmla="*/ 2147483647 h 92"/>
                <a:gd name="T42" fmla="*/ 0 w 195"/>
                <a:gd name="T43" fmla="*/ 2147483647 h 92"/>
                <a:gd name="T44" fmla="*/ 0 w 195"/>
                <a:gd name="T45" fmla="*/ 0 h 92"/>
                <a:gd name="T46" fmla="*/ 2147483647 w 195"/>
                <a:gd name="T47" fmla="*/ 0 h 92"/>
                <a:gd name="T48" fmla="*/ 2147483647 w 195"/>
                <a:gd name="T49" fmla="*/ 2147483647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211369178"/>
      </p:ext>
    </p:extLst>
  </p:cSld>
  <p:clrMapOvr>
    <a:masterClrMapping/>
  </p:clrMapOvr>
  <p:transition spd="med">
    <p:fade/>
  </p:transition>
  <p:hf sldNum="0" hdr="0" ftr="0"/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3985797764"/>
      </p:ext>
    </p:extLst>
  </p:cSld>
  <p:clrMapOvr>
    <a:masterClrMapping/>
  </p:clrMapOvr>
  <p:transition spd="med">
    <p:fade/>
  </p:transition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4202472030"/>
      </p:ext>
    </p:extLst>
  </p:cSld>
  <p:clrMapOvr>
    <a:masterClrMapping/>
  </p:clrMapOvr>
  <p:transition spd="med">
    <p:fade/>
  </p:transition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7486303"/>
      </p:ext>
    </p:extLst>
  </p:cSld>
  <p:clrMapOvr>
    <a:masterClrMapping/>
  </p:clrMapOvr>
  <p:transition spd="med">
    <p:fade/>
  </p:transition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0110169"/>
      </p:ext>
    </p:extLst>
  </p:cSld>
  <p:clrMapOvr>
    <a:masterClrMapping/>
  </p:clrMapOvr>
  <p:transition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7" descr="icone-enjeux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4863" y="158750"/>
            <a:ext cx="460375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Straight Connector 6"/>
          <p:cNvCxnSpPr/>
          <p:nvPr userDrawn="1"/>
        </p:nvCxnSpPr>
        <p:spPr>
          <a:xfrm>
            <a:off x="350838" y="663575"/>
            <a:ext cx="8639175" cy="0"/>
          </a:xfrm>
          <a:prstGeom prst="line">
            <a:avLst/>
          </a:prstGeom>
          <a:ln w="19050"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600"/>
                </a:solidFill>
              </a:defRPr>
            </a:lvl1pPr>
          </a:lstStyle>
          <a:p>
            <a:r>
              <a:rPr lang="fr-FR" dirty="0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8581756"/>
      </p:ext>
    </p:extLst>
  </p:cSld>
  <p:clrMapOvr>
    <a:masterClrMapping/>
  </p:clrMapOvr>
  <p:transition spd="med">
    <p:fade/>
  </p:transition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8344641"/>
      </p:ext>
    </p:extLst>
  </p:cSld>
  <p:clrMapOvr>
    <a:masterClrMapping/>
  </p:clrMapOvr>
  <p:transition spd="med">
    <p:fade/>
  </p:transition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4166702"/>
      </p:ext>
    </p:extLst>
  </p:cSld>
  <p:clrMapOvr>
    <a:masterClrMapping/>
  </p:clrMapOvr>
  <p:transition spd="med">
    <p:fade/>
  </p:transition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5098439"/>
      </p:ext>
    </p:extLst>
  </p:cSld>
  <p:clrMapOvr>
    <a:masterClrMapping/>
  </p:clrMapOvr>
  <p:transition spd="med">
    <p:fade/>
  </p:transition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8910968"/>
      </p:ext>
    </p:extLst>
  </p:cSld>
  <p:clrMapOvr>
    <a:masterClrMapping/>
  </p:clrMapOvr>
  <p:transition spd="med">
    <p:fade/>
  </p:transition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2"/>
          <p:cNvGrpSpPr>
            <a:grpSpLocks/>
          </p:cNvGrpSpPr>
          <p:nvPr userDrawn="1"/>
        </p:nvGrpSpPr>
        <p:grpSpPr bwMode="auto">
          <a:xfrm>
            <a:off x="314325" y="4233863"/>
            <a:ext cx="612775" cy="612775"/>
            <a:chOff x="313535" y="4233863"/>
            <a:chExt cx="612775" cy="612775"/>
          </a:xfrm>
        </p:grpSpPr>
        <p:sp>
          <p:nvSpPr>
            <p:cNvPr id="6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712788"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1pPr>
              <a:lvl2pPr defTabSz="712788"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2pPr>
              <a:lvl3pPr defTabSz="712788"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3pPr>
              <a:lvl4pPr defTabSz="712788"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4pPr>
              <a:lvl5pPr defTabSz="712788"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5pPr>
              <a:lvl6pPr marL="1881188" indent="401638" defTabSz="7127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6pPr>
              <a:lvl7pPr marL="2338388" indent="401638" defTabSz="7127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7pPr>
              <a:lvl8pPr marL="2795588" indent="401638" defTabSz="7127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8pPr>
              <a:lvl9pPr marL="3252788" indent="401638" defTabSz="7127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7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2147483647 w 93"/>
                <a:gd name="T1" fmla="*/ 2147483647 h 109"/>
                <a:gd name="T2" fmla="*/ 2147483647 w 93"/>
                <a:gd name="T3" fmla="*/ 2147483647 h 109"/>
                <a:gd name="T4" fmla="*/ 0 w 93"/>
                <a:gd name="T5" fmla="*/ 2147483647 h 109"/>
                <a:gd name="T6" fmla="*/ 2147483647 w 93"/>
                <a:gd name="T7" fmla="*/ 2147483647 h 109"/>
                <a:gd name="T8" fmla="*/ 2147483647 w 93"/>
                <a:gd name="T9" fmla="*/ 2147483647 h 109"/>
                <a:gd name="T10" fmla="*/ 2147483647 w 93"/>
                <a:gd name="T11" fmla="*/ 2147483647 h 109"/>
                <a:gd name="T12" fmla="*/ 2147483647 w 93"/>
                <a:gd name="T13" fmla="*/ 2147483647 h 109"/>
                <a:gd name="T14" fmla="*/ 2147483647 w 93"/>
                <a:gd name="T15" fmla="*/ 2147483647 h 109"/>
                <a:gd name="T16" fmla="*/ 2147483647 w 93"/>
                <a:gd name="T17" fmla="*/ 0 h 109"/>
                <a:gd name="T18" fmla="*/ 2147483647 w 93"/>
                <a:gd name="T19" fmla="*/ 2147483647 h 109"/>
                <a:gd name="T20" fmla="*/ 2147483647 w 93"/>
                <a:gd name="T21" fmla="*/ 2147483647 h 109"/>
                <a:gd name="T22" fmla="*/ 2147483647 w 93"/>
                <a:gd name="T23" fmla="*/ 2147483647 h 109"/>
                <a:gd name="T24" fmla="*/ 2147483647 w 93"/>
                <a:gd name="T25" fmla="*/ 2147483647 h 109"/>
                <a:gd name="T26" fmla="*/ 2147483647 w 93"/>
                <a:gd name="T27" fmla="*/ 2147483647 h 109"/>
                <a:gd name="T28" fmla="*/ 2147483647 w 93"/>
                <a:gd name="T29" fmla="*/ 2147483647 h 109"/>
                <a:gd name="T30" fmla="*/ 2147483647 w 93"/>
                <a:gd name="T31" fmla="*/ 2147483647 h 109"/>
                <a:gd name="T32" fmla="*/ 2147483647 w 93"/>
                <a:gd name="T33" fmla="*/ 2147483647 h 109"/>
                <a:gd name="T34" fmla="*/ 2147483647 w 93"/>
                <a:gd name="T35" fmla="*/ 2147483647 h 10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2147483647 h 108"/>
                <a:gd name="T2" fmla="*/ 2147483647 w 94"/>
                <a:gd name="T3" fmla="*/ 2147483647 h 108"/>
                <a:gd name="T4" fmla="*/ 2147483647 w 94"/>
                <a:gd name="T5" fmla="*/ 2147483647 h 108"/>
                <a:gd name="T6" fmla="*/ 2147483647 w 94"/>
                <a:gd name="T7" fmla="*/ 0 h 108"/>
                <a:gd name="T8" fmla="*/ 2147483647 w 94"/>
                <a:gd name="T9" fmla="*/ 2147483647 h 108"/>
                <a:gd name="T10" fmla="*/ 2147483647 w 94"/>
                <a:gd name="T11" fmla="*/ 2147483647 h 108"/>
                <a:gd name="T12" fmla="*/ 2147483647 w 94"/>
                <a:gd name="T13" fmla="*/ 2147483647 h 108"/>
                <a:gd name="T14" fmla="*/ 2147483647 w 94"/>
                <a:gd name="T15" fmla="*/ 2147483647 h 108"/>
                <a:gd name="T16" fmla="*/ 2147483647 w 94"/>
                <a:gd name="T17" fmla="*/ 2147483647 h 108"/>
                <a:gd name="T18" fmla="*/ 2147483647 w 94"/>
                <a:gd name="T19" fmla="*/ 2147483647 h 108"/>
                <a:gd name="T20" fmla="*/ 2147483647 w 94"/>
                <a:gd name="T21" fmla="*/ 2147483647 h 108"/>
                <a:gd name="T22" fmla="*/ 0 w 94"/>
                <a:gd name="T23" fmla="*/ 2147483647 h 108"/>
                <a:gd name="T24" fmla="*/ 0 w 94"/>
                <a:gd name="T25" fmla="*/ 2147483647 h 10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2147483647 w 98"/>
                <a:gd name="T1" fmla="*/ 2147483647 h 110"/>
                <a:gd name="T2" fmla="*/ 0 w 98"/>
                <a:gd name="T3" fmla="*/ 2147483647 h 110"/>
                <a:gd name="T4" fmla="*/ 2147483647 w 98"/>
                <a:gd name="T5" fmla="*/ 0 h 110"/>
                <a:gd name="T6" fmla="*/ 2147483647 w 98"/>
                <a:gd name="T7" fmla="*/ 2147483647 h 110"/>
                <a:gd name="T8" fmla="*/ 2147483647 w 98"/>
                <a:gd name="T9" fmla="*/ 2147483647 h 110"/>
                <a:gd name="T10" fmla="*/ 2147483647 w 98"/>
                <a:gd name="T11" fmla="*/ 2147483647 h 110"/>
                <a:gd name="T12" fmla="*/ 2147483647 w 98"/>
                <a:gd name="T13" fmla="*/ 2147483647 h 110"/>
                <a:gd name="T14" fmla="*/ 2147483647 w 98"/>
                <a:gd name="T15" fmla="*/ 2147483647 h 110"/>
                <a:gd name="T16" fmla="*/ 2147483647 w 98"/>
                <a:gd name="T17" fmla="*/ 2147483647 h 110"/>
                <a:gd name="T18" fmla="*/ 2147483647 w 98"/>
                <a:gd name="T19" fmla="*/ 2147483647 h 110"/>
                <a:gd name="T20" fmla="*/ 2147483647 w 98"/>
                <a:gd name="T21" fmla="*/ 2147483647 h 110"/>
                <a:gd name="T22" fmla="*/ 2147483647 w 98"/>
                <a:gd name="T23" fmla="*/ 2147483647 h 110"/>
                <a:gd name="T24" fmla="*/ 2147483647 w 98"/>
                <a:gd name="T25" fmla="*/ 2147483647 h 110"/>
                <a:gd name="T26" fmla="*/ 2147483647 w 98"/>
                <a:gd name="T27" fmla="*/ 2147483647 h 11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2147483647 w 104"/>
                <a:gd name="T1" fmla="*/ 2147483647 h 111"/>
                <a:gd name="T2" fmla="*/ 0 w 104"/>
                <a:gd name="T3" fmla="*/ 2147483647 h 111"/>
                <a:gd name="T4" fmla="*/ 2147483647 w 104"/>
                <a:gd name="T5" fmla="*/ 0 h 111"/>
                <a:gd name="T6" fmla="*/ 2147483647 w 104"/>
                <a:gd name="T7" fmla="*/ 2147483647 h 111"/>
                <a:gd name="T8" fmla="*/ 2147483647 w 104"/>
                <a:gd name="T9" fmla="*/ 2147483647 h 111"/>
                <a:gd name="T10" fmla="*/ 2147483647 w 104"/>
                <a:gd name="T11" fmla="*/ 2147483647 h 111"/>
                <a:gd name="T12" fmla="*/ 2147483647 w 104"/>
                <a:gd name="T13" fmla="*/ 2147483647 h 111"/>
                <a:gd name="T14" fmla="*/ 2147483647 w 104"/>
                <a:gd name="T15" fmla="*/ 2147483647 h 111"/>
                <a:gd name="T16" fmla="*/ 2147483647 w 104"/>
                <a:gd name="T17" fmla="*/ 2147483647 h 111"/>
                <a:gd name="T18" fmla="*/ 2147483647 w 104"/>
                <a:gd name="T19" fmla="*/ 2147483647 h 1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2147483647 h 108"/>
                <a:gd name="T2" fmla="*/ 2147483647 w 59"/>
                <a:gd name="T3" fmla="*/ 2147483647 h 108"/>
                <a:gd name="T4" fmla="*/ 2147483647 w 59"/>
                <a:gd name="T5" fmla="*/ 2147483647 h 108"/>
                <a:gd name="T6" fmla="*/ 2147483647 w 59"/>
                <a:gd name="T7" fmla="*/ 0 h 108"/>
                <a:gd name="T8" fmla="*/ 2147483647 w 59"/>
                <a:gd name="T9" fmla="*/ 2147483647 h 108"/>
                <a:gd name="T10" fmla="*/ 2147483647 w 59"/>
                <a:gd name="T11" fmla="*/ 2147483647 h 108"/>
                <a:gd name="T12" fmla="*/ 2147483647 w 59"/>
                <a:gd name="T13" fmla="*/ 2147483647 h 108"/>
                <a:gd name="T14" fmla="*/ 2147483647 w 59"/>
                <a:gd name="T15" fmla="*/ 2147483647 h 108"/>
                <a:gd name="T16" fmla="*/ 2147483647 w 59"/>
                <a:gd name="T17" fmla="*/ 2147483647 h 108"/>
                <a:gd name="T18" fmla="*/ 0 w 59"/>
                <a:gd name="T19" fmla="*/ 2147483647 h 108"/>
                <a:gd name="T20" fmla="*/ 0 w 59"/>
                <a:gd name="T21" fmla="*/ 2147483647 h 10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2147483647 w 98"/>
                <a:gd name="T1" fmla="*/ 2147483647 h 149"/>
                <a:gd name="T2" fmla="*/ 2147483647 w 98"/>
                <a:gd name="T3" fmla="*/ 2147483647 h 149"/>
                <a:gd name="T4" fmla="*/ 2147483647 w 98"/>
                <a:gd name="T5" fmla="*/ 2147483647 h 149"/>
                <a:gd name="T6" fmla="*/ 2147483647 w 98"/>
                <a:gd name="T7" fmla="*/ 2147483647 h 149"/>
                <a:gd name="T8" fmla="*/ 2147483647 w 98"/>
                <a:gd name="T9" fmla="*/ 2147483647 h 149"/>
                <a:gd name="T10" fmla="*/ 2147483647 w 98"/>
                <a:gd name="T11" fmla="*/ 2147483647 h 149"/>
                <a:gd name="T12" fmla="*/ 2147483647 w 98"/>
                <a:gd name="T13" fmla="*/ 2147483647 h 149"/>
                <a:gd name="T14" fmla="*/ 2147483647 w 98"/>
                <a:gd name="T15" fmla="*/ 2147483647 h 149"/>
                <a:gd name="T16" fmla="*/ 2147483647 w 98"/>
                <a:gd name="T17" fmla="*/ 2147483647 h 149"/>
                <a:gd name="T18" fmla="*/ 2147483647 w 98"/>
                <a:gd name="T19" fmla="*/ 2147483647 h 149"/>
                <a:gd name="T20" fmla="*/ 2147483647 w 98"/>
                <a:gd name="T21" fmla="*/ 2147483647 h 149"/>
                <a:gd name="T22" fmla="*/ 2147483647 w 98"/>
                <a:gd name="T23" fmla="*/ 2147483647 h 149"/>
                <a:gd name="T24" fmla="*/ 2147483647 w 98"/>
                <a:gd name="T25" fmla="*/ 2147483647 h 149"/>
                <a:gd name="T26" fmla="*/ 2147483647 w 98"/>
                <a:gd name="T27" fmla="*/ 2147483647 h 149"/>
                <a:gd name="T28" fmla="*/ 2147483647 w 98"/>
                <a:gd name="T29" fmla="*/ 2147483647 h 149"/>
                <a:gd name="T30" fmla="*/ 0 w 98"/>
                <a:gd name="T31" fmla="*/ 2147483647 h 149"/>
                <a:gd name="T32" fmla="*/ 2147483647 w 98"/>
                <a:gd name="T33" fmla="*/ 0 h 149"/>
                <a:gd name="T34" fmla="*/ 2147483647 w 98"/>
                <a:gd name="T35" fmla="*/ 2147483647 h 149"/>
                <a:gd name="T36" fmla="*/ 2147483647 w 98"/>
                <a:gd name="T37" fmla="*/ 2147483647 h 149"/>
                <a:gd name="T38" fmla="*/ 2147483647 w 98"/>
                <a:gd name="T39" fmla="*/ 2147483647 h 149"/>
                <a:gd name="T40" fmla="*/ 2147483647 w 98"/>
                <a:gd name="T41" fmla="*/ 2147483647 h 14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2147483647 w 37"/>
                <a:gd name="T1" fmla="*/ 2147483647 h 17"/>
                <a:gd name="T2" fmla="*/ 2147483647 w 37"/>
                <a:gd name="T3" fmla="*/ 2147483647 h 17"/>
                <a:gd name="T4" fmla="*/ 2147483647 w 37"/>
                <a:gd name="T5" fmla="*/ 2147483647 h 17"/>
                <a:gd name="T6" fmla="*/ 2147483647 w 37"/>
                <a:gd name="T7" fmla="*/ 2147483647 h 17"/>
                <a:gd name="T8" fmla="*/ 2147483647 w 37"/>
                <a:gd name="T9" fmla="*/ 2147483647 h 17"/>
                <a:gd name="T10" fmla="*/ 0 w 37"/>
                <a:gd name="T11" fmla="*/ 2147483647 h 17"/>
                <a:gd name="T12" fmla="*/ 0 w 37"/>
                <a:gd name="T13" fmla="*/ 0 h 17"/>
                <a:gd name="T14" fmla="*/ 2147483647 w 37"/>
                <a:gd name="T15" fmla="*/ 0 h 17"/>
                <a:gd name="T16" fmla="*/ 2147483647 w 37"/>
                <a:gd name="T17" fmla="*/ 2147483647 h 17"/>
                <a:gd name="T18" fmla="*/ 2147483647 w 37"/>
                <a:gd name="T19" fmla="*/ 2147483647 h 17"/>
                <a:gd name="T20" fmla="*/ 2147483647 w 37"/>
                <a:gd name="T21" fmla="*/ 2147483647 h 17"/>
                <a:gd name="T22" fmla="*/ 2147483647 w 37"/>
                <a:gd name="T23" fmla="*/ 2147483647 h 17"/>
                <a:gd name="T24" fmla="*/ 2147483647 w 37"/>
                <a:gd name="T25" fmla="*/ 2147483647 h 17"/>
                <a:gd name="T26" fmla="*/ 2147483647 w 37"/>
                <a:gd name="T27" fmla="*/ 2147483647 h 17"/>
                <a:gd name="T28" fmla="*/ 2147483647 w 37"/>
                <a:gd name="T29" fmla="*/ 2147483647 h 17"/>
                <a:gd name="T30" fmla="*/ 2147483647 w 37"/>
                <a:gd name="T31" fmla="*/ 2147483647 h 17"/>
                <a:gd name="T32" fmla="*/ 2147483647 w 37"/>
                <a:gd name="T33" fmla="*/ 2147483647 h 17"/>
                <a:gd name="T34" fmla="*/ 2147483647 w 37"/>
                <a:gd name="T35" fmla="*/ 2147483647 h 17"/>
                <a:gd name="T36" fmla="*/ 2147483647 w 37"/>
                <a:gd name="T37" fmla="*/ 2147483647 h 17"/>
                <a:gd name="T38" fmla="*/ 2147483647 w 37"/>
                <a:gd name="T39" fmla="*/ 0 h 17"/>
                <a:gd name="T40" fmla="*/ 2147483647 w 37"/>
                <a:gd name="T41" fmla="*/ 0 h 17"/>
                <a:gd name="T42" fmla="*/ 2147483647 w 37"/>
                <a:gd name="T43" fmla="*/ 2147483647 h 17"/>
                <a:gd name="T44" fmla="*/ 2147483647 w 37"/>
                <a:gd name="T45" fmla="*/ 0 h 17"/>
                <a:gd name="T46" fmla="*/ 2147483647 w 37"/>
                <a:gd name="T47" fmla="*/ 0 h 17"/>
                <a:gd name="T48" fmla="*/ 2147483647 w 37"/>
                <a:gd name="T49" fmla="*/ 2147483647 h 1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35" y="267618"/>
            <a:ext cx="4829289" cy="2304131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 dirty="0"/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5800726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314325" y="2704144"/>
            <a:ext cx="4827547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2268806"/>
      </p:ext>
    </p:extLst>
  </p:cSld>
  <p:clrMapOvr>
    <a:masterClrMapping/>
  </p:clrMapOvr>
  <p:transition spd="med">
    <p:fade/>
  </p:transition>
  <p:hf sldNum="0" hdr="0"/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5"/>
          <p:cNvSpPr txBox="1">
            <a:spLocks noChangeArrowheads="1"/>
          </p:cNvSpPr>
          <p:nvPr userDrawn="1"/>
        </p:nvSpPr>
        <p:spPr bwMode="auto">
          <a:xfrm>
            <a:off x="619125" y="4749800"/>
            <a:ext cx="9017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1pPr>
            <a:lvl2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2pPr>
            <a:lvl3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3pPr>
            <a:lvl4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4pPr>
            <a:lvl5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5pPr>
            <a:lvl6pPr marL="18811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6pPr>
            <a:lvl7pPr marL="23383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7pPr>
            <a:lvl8pPr marL="27955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8pPr>
            <a:lvl9pPr marL="32527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GB" altLang="fr-FR" sz="800" smtClean="0">
                <a:solidFill>
                  <a:srgbClr val="FFFFFF"/>
                </a:solidFill>
                <a:latin typeface="Helvetica 75 Bold" pitchFamily="34" charset="0"/>
              </a:rPr>
              <a:t>Orange Restricte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200" y="1181100"/>
            <a:ext cx="3968055" cy="3370262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64795" y="1181100"/>
            <a:ext cx="3964880" cy="337026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13199" y="268288"/>
            <a:ext cx="8516475" cy="741362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3726076"/>
      </p:ext>
    </p:extLst>
  </p:cSld>
  <p:clrMapOvr>
    <a:masterClrMapping/>
  </p:clrMapOvr>
  <p:transition spd="med">
    <p:fade/>
  </p:transition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4"/>
          <p:cNvSpPr txBox="1">
            <a:spLocks noChangeArrowheads="1"/>
          </p:cNvSpPr>
          <p:nvPr userDrawn="1"/>
        </p:nvSpPr>
        <p:spPr bwMode="auto">
          <a:xfrm>
            <a:off x="619125" y="4749800"/>
            <a:ext cx="9017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1pPr>
            <a:lvl2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2pPr>
            <a:lvl3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3pPr>
            <a:lvl4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4pPr>
            <a:lvl5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5pPr>
            <a:lvl6pPr marL="18811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6pPr>
            <a:lvl7pPr marL="23383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7pPr>
            <a:lvl8pPr marL="27955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8pPr>
            <a:lvl9pPr marL="32527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GB" altLang="fr-FR" sz="800" smtClean="0">
                <a:solidFill>
                  <a:srgbClr val="FFFFFF"/>
                </a:solidFill>
                <a:latin typeface="Helvetica 75 Bold" pitchFamily="34" charset="0"/>
              </a:rPr>
              <a:t>Orange Restricte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7565587"/>
      </p:ext>
    </p:extLst>
  </p:cSld>
  <p:clrMapOvr>
    <a:masterClrMapping/>
  </p:clrMapOvr>
  <p:transition spd="med">
    <p:fade/>
  </p:transition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ull Bleed Medi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rgbClr val="000000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712461"/>
      </p:ext>
    </p:extLst>
  </p:cSld>
  <p:clrMapOvr>
    <a:masterClrMapping/>
  </p:clrMapOvr>
  <p:transition spd="med">
    <p:fade/>
  </p:transition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>
            <a:spLocks noChangeArrowheads="1"/>
          </p:cNvSpPr>
          <p:nvPr userDrawn="1"/>
        </p:nvSpPr>
        <p:spPr bwMode="auto">
          <a:xfrm>
            <a:off x="107950" y="4779963"/>
            <a:ext cx="23018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3" rIns="0" bIns="45713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253">
              <a:defRPr/>
            </a:pPr>
            <a:fld id="{1E3BEEDD-1912-451C-872F-528E8D18D80B}" type="slidenum">
              <a:rPr lang="fr-FR" altLang="fr-FR" sz="800" smtClean="0">
                <a:solidFill>
                  <a:srgbClr val="000000"/>
                </a:solidFill>
                <a:latin typeface="Helvetica 55 Roman" panose="020B0604020202020204" pitchFamily="2" charset="0"/>
                <a:ea typeface="ＭＳ Ｐゴシック" pitchFamily="34" charset="-128"/>
                <a:cs typeface="Arial" charset="0"/>
              </a:rPr>
              <a:pPr defTabSz="914253">
                <a:defRPr/>
              </a:pPr>
              <a:t>‹N°›</a:t>
            </a:fld>
            <a:endParaRPr lang="fr-FR" altLang="fr-FR" sz="800" dirty="0" smtClean="0">
              <a:solidFill>
                <a:srgbClr val="000000"/>
              </a:solidFill>
              <a:latin typeface="Helvetica 55 Roman" panose="020B0604020202020204" pitchFamily="2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5" name="Rectangle 762"/>
          <p:cNvSpPr>
            <a:spLocks noChangeArrowheads="1"/>
          </p:cNvSpPr>
          <p:nvPr userDrawn="1"/>
        </p:nvSpPr>
        <p:spPr bwMode="auto">
          <a:xfrm rot="16200000">
            <a:off x="7676357" y="3601244"/>
            <a:ext cx="2795587" cy="18732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45713" rIns="0" bIns="45713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253" eaLnBrk="1" hangingPunct="1">
              <a:defRPr/>
            </a:pPr>
            <a:r>
              <a:rPr lang="en-GB" altLang="fr-FR" sz="700" dirty="0" smtClean="0">
                <a:solidFill>
                  <a:srgbClr val="7F7F7F"/>
                </a:solidFill>
                <a:latin typeface="Helvetica 55 Roman" pitchFamily="2" charset="0"/>
                <a:ea typeface="ＭＳ Ｐゴシック" pitchFamily="34" charset="-128"/>
              </a:rPr>
              <a:t>Interne</a:t>
            </a:r>
            <a:r>
              <a:rPr lang="en-US" altLang="fr-FR" sz="700" dirty="0" smtClean="0">
                <a:solidFill>
                  <a:srgbClr val="7F7F7F"/>
                </a:solidFill>
                <a:latin typeface="Helvetica 55 Roman" pitchFamily="2" charset="0"/>
                <a:ea typeface="ＭＳ Ｐゴシック" pitchFamily="34" charset="-128"/>
              </a:rPr>
              <a:t> Orange – DR Orange Open pro partagé 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 bwMode="gray">
          <a:xfrm>
            <a:off x="250831" y="1059583"/>
            <a:ext cx="8664575" cy="3611810"/>
          </a:xfrm>
        </p:spPr>
        <p:txBody>
          <a:bodyPr/>
          <a:lstStyle>
            <a:lvl1pPr>
              <a:buSzPct val="100000"/>
              <a:defRPr/>
            </a:lvl1pPr>
            <a:lvl3pPr>
              <a:buSzPct val="100000"/>
              <a:defRPr/>
            </a:lvl3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71438776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/>
          <p:cNvSpPr txBox="1">
            <a:spLocks noChangeArrowheads="1"/>
          </p:cNvSpPr>
          <p:nvPr/>
        </p:nvSpPr>
        <p:spPr bwMode="auto">
          <a:xfrm>
            <a:off x="250825" y="4779963"/>
            <a:ext cx="344488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3" rIns="0" bIns="45713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253">
              <a:defRPr/>
            </a:pPr>
            <a:fld id="{51733166-30DB-489E-8F34-F4CD4E7D5819}" type="slidenum">
              <a:rPr lang="fr-FR" altLang="fr-FR" sz="1200" smtClean="0">
                <a:solidFill>
                  <a:srgbClr val="000000"/>
                </a:solidFill>
                <a:latin typeface="Helvetica 55 Roman" panose="020B0604020202020204" pitchFamily="2" charset="0"/>
                <a:ea typeface="ＭＳ Ｐゴシック" pitchFamily="34" charset="-128"/>
                <a:cs typeface="Arial" charset="0"/>
              </a:rPr>
              <a:pPr defTabSz="914253">
                <a:defRPr/>
              </a:pPr>
              <a:t>‹N°›</a:t>
            </a:fld>
            <a:endParaRPr lang="fr-FR" altLang="fr-FR" sz="1600" dirty="0" smtClean="0">
              <a:solidFill>
                <a:srgbClr val="000000"/>
              </a:solidFill>
              <a:latin typeface="Helvetica 55 Roman" panose="020B0604020202020204" pitchFamily="2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250828" y="228601"/>
            <a:ext cx="8683625" cy="738188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 bwMode="gray">
          <a:xfrm>
            <a:off x="250825" y="1599643"/>
            <a:ext cx="4177160" cy="3071750"/>
          </a:xfrm>
        </p:spPr>
        <p:txBody>
          <a:bodyPr/>
          <a:lstStyle>
            <a:lvl1pPr>
              <a:buSzPct val="100000"/>
              <a:defRPr/>
            </a:lvl1pPr>
            <a:lvl3pPr>
              <a:buSzPct val="100000"/>
              <a:defRPr/>
            </a:lvl3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1"/>
          </p:nvPr>
        </p:nvSpPr>
        <p:spPr>
          <a:xfrm>
            <a:off x="4758450" y="1600629"/>
            <a:ext cx="4176000" cy="307735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lang="fr-FR" dirty="0" smtClean="0"/>
            </a:lvl1pPr>
            <a:lvl2pPr>
              <a:defRPr lang="fr-FR" dirty="0" smtClean="0"/>
            </a:lvl2pPr>
            <a:lvl3pPr>
              <a:defRPr lang="fr-FR" dirty="0" smtClean="0"/>
            </a:lvl3pPr>
            <a:lvl4pPr>
              <a:defRPr lang="fr-FR" dirty="0" smtClean="0"/>
            </a:lvl4pPr>
            <a:lvl5pPr>
              <a:defRPr lang="fr-FR" dirty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250829" y="1114090"/>
            <a:ext cx="4177159" cy="37754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marL="0" indent="0">
              <a:buNone/>
              <a:defRPr lang="fr-FR" sz="2000" b="1" dirty="0" smtClean="0">
                <a:solidFill>
                  <a:schemeClr val="tx2"/>
                </a:solidFill>
                <a:latin typeface="Helvetica 75 Bold" panose="020B0804020202020204" pitchFamily="34" charset="0"/>
              </a:defRPr>
            </a:lvl1pPr>
            <a:lvl2pPr>
              <a:defRPr lang="fr-FR" dirty="0" smtClean="0"/>
            </a:lvl2pPr>
            <a:lvl3pPr>
              <a:defRPr lang="fr-FR" dirty="0" smtClean="0"/>
            </a:lvl3pPr>
            <a:lvl4pPr>
              <a:defRPr lang="fr-FR" dirty="0" smtClean="0"/>
            </a:lvl4pPr>
            <a:lvl5pPr>
              <a:defRPr lang="fr-FR" dirty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4758453" y="1114090"/>
            <a:ext cx="4177159" cy="37754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marL="0" indent="0">
              <a:buNone/>
              <a:defRPr lang="fr-FR" sz="2000" b="1" dirty="0" smtClean="0">
                <a:solidFill>
                  <a:schemeClr val="tx2"/>
                </a:solidFill>
                <a:latin typeface="Helvetica 75 Bold" panose="020B0804020202020204" pitchFamily="34" charset="0"/>
              </a:defRPr>
            </a:lvl1pPr>
            <a:lvl2pPr>
              <a:defRPr lang="fr-FR" dirty="0" smtClean="0"/>
            </a:lvl2pPr>
            <a:lvl3pPr>
              <a:defRPr lang="fr-FR" dirty="0" smtClean="0"/>
            </a:lvl3pPr>
            <a:lvl4pPr>
              <a:defRPr lang="fr-FR" dirty="0" smtClean="0"/>
            </a:lvl4pPr>
            <a:lvl5pPr>
              <a:defRPr lang="fr-FR" dirty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37255171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7" descr="solutions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9788" y="114300"/>
            <a:ext cx="433387" cy="550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Straight Connector 5"/>
          <p:cNvCxnSpPr/>
          <p:nvPr userDrawn="1"/>
        </p:nvCxnSpPr>
        <p:spPr>
          <a:xfrm>
            <a:off x="350838" y="663575"/>
            <a:ext cx="8639175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re 1"/>
          <p:cNvSpPr>
            <a:spLocks noGrp="1"/>
          </p:cNvSpPr>
          <p:nvPr>
            <p:ph type="title"/>
          </p:nvPr>
        </p:nvSpPr>
        <p:spPr>
          <a:xfrm>
            <a:off x="339725" y="339741"/>
            <a:ext cx="8470900" cy="621329"/>
          </a:xfrm>
        </p:spPr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1959377"/>
      </p:ext>
    </p:extLst>
  </p:cSld>
  <p:clrMapOvr>
    <a:masterClrMapping/>
  </p:clrMapOvr>
  <p:transition spd="med">
    <p:fade/>
  </p:transition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62"/>
          <p:cNvSpPr>
            <a:spLocks noChangeArrowheads="1"/>
          </p:cNvSpPr>
          <p:nvPr userDrawn="1"/>
        </p:nvSpPr>
        <p:spPr bwMode="auto">
          <a:xfrm rot="16200000">
            <a:off x="7676357" y="3601244"/>
            <a:ext cx="2795587" cy="18732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45713" rIns="0" bIns="45713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253" eaLnBrk="1" hangingPunct="1">
              <a:defRPr/>
            </a:pPr>
            <a:r>
              <a:rPr lang="en-GB" altLang="fr-FR" sz="700" dirty="0" smtClean="0">
                <a:solidFill>
                  <a:srgbClr val="7F7F7F"/>
                </a:solidFill>
                <a:latin typeface="Helvetica 55 Roman" pitchFamily="2" charset="0"/>
                <a:ea typeface="ＭＳ Ｐゴシック" pitchFamily="34" charset="-128"/>
              </a:rPr>
              <a:t>Interne</a:t>
            </a:r>
            <a:r>
              <a:rPr lang="en-US" altLang="fr-FR" sz="700" dirty="0" smtClean="0">
                <a:solidFill>
                  <a:srgbClr val="7F7F7F"/>
                </a:solidFill>
                <a:latin typeface="Helvetica 55 Roman" pitchFamily="2" charset="0"/>
                <a:ea typeface="ＭＳ Ｐゴシック" pitchFamily="34" charset="-128"/>
              </a:rPr>
              <a:t> Orange – DR Orange Open pro partagé </a:t>
            </a:r>
          </a:p>
        </p:txBody>
      </p:sp>
      <p:sp>
        <p:nvSpPr>
          <p:cNvPr id="4" name="ZoneTexte 3"/>
          <p:cNvSpPr txBox="1">
            <a:spLocks noChangeArrowheads="1"/>
          </p:cNvSpPr>
          <p:nvPr userDrawn="1"/>
        </p:nvSpPr>
        <p:spPr bwMode="auto">
          <a:xfrm>
            <a:off x="107950" y="4779963"/>
            <a:ext cx="23018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3" rIns="0" bIns="45713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253">
              <a:defRPr/>
            </a:pPr>
            <a:fld id="{1EC491D5-13F3-49B1-83BF-F79A3C7C1E0E}" type="slidenum">
              <a:rPr lang="fr-FR" altLang="fr-FR" sz="800" smtClean="0">
                <a:solidFill>
                  <a:srgbClr val="000000"/>
                </a:solidFill>
                <a:latin typeface="Helvetica 55 Roman" panose="020B0604020202020204" pitchFamily="2" charset="0"/>
                <a:ea typeface="ＭＳ Ｐゴシック" pitchFamily="34" charset="-128"/>
                <a:cs typeface="Arial" charset="0"/>
              </a:rPr>
              <a:pPr defTabSz="914253">
                <a:defRPr/>
              </a:pPr>
              <a:t>‹N°›</a:t>
            </a:fld>
            <a:endParaRPr lang="fr-FR" altLang="fr-FR" sz="800" dirty="0" smtClean="0">
              <a:solidFill>
                <a:srgbClr val="000000"/>
              </a:solidFill>
              <a:latin typeface="Helvetica 55 Roman" panose="020B0604020202020204" pitchFamily="2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813744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62"/>
          <p:cNvSpPr>
            <a:spLocks noChangeArrowheads="1"/>
          </p:cNvSpPr>
          <p:nvPr userDrawn="1"/>
        </p:nvSpPr>
        <p:spPr bwMode="auto">
          <a:xfrm rot="16200000">
            <a:off x="7676357" y="3601244"/>
            <a:ext cx="2795587" cy="18732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45713" rIns="0" bIns="45713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253" eaLnBrk="1" hangingPunct="1">
              <a:defRPr/>
            </a:pPr>
            <a:r>
              <a:rPr lang="en-GB" altLang="fr-FR" sz="700" dirty="0" smtClean="0">
                <a:solidFill>
                  <a:srgbClr val="7F7F7F"/>
                </a:solidFill>
                <a:latin typeface="Helvetica 55 Roman" pitchFamily="2" charset="0"/>
                <a:ea typeface="ＭＳ Ｐゴシック" pitchFamily="34" charset="-128"/>
              </a:rPr>
              <a:t>Interne</a:t>
            </a:r>
            <a:r>
              <a:rPr lang="en-US" altLang="fr-FR" sz="700" dirty="0" smtClean="0">
                <a:solidFill>
                  <a:srgbClr val="7F7F7F"/>
                </a:solidFill>
                <a:latin typeface="Helvetica 55 Roman" pitchFamily="2" charset="0"/>
                <a:ea typeface="ＭＳ Ｐゴシック" pitchFamily="34" charset="-128"/>
              </a:rPr>
              <a:t> Orange – DR Orange Open pro partagé </a:t>
            </a:r>
          </a:p>
        </p:txBody>
      </p:sp>
      <p:sp>
        <p:nvSpPr>
          <p:cNvPr id="3" name="ZoneTexte 2"/>
          <p:cNvSpPr txBox="1">
            <a:spLocks noChangeArrowheads="1"/>
          </p:cNvSpPr>
          <p:nvPr userDrawn="1"/>
        </p:nvSpPr>
        <p:spPr bwMode="auto">
          <a:xfrm>
            <a:off x="107950" y="4779963"/>
            <a:ext cx="23018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3" rIns="0" bIns="45713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253">
              <a:defRPr/>
            </a:pPr>
            <a:fld id="{8EF256F3-4B9C-4050-A070-F744F33208A6}" type="slidenum">
              <a:rPr lang="fr-FR" altLang="fr-FR" sz="800" smtClean="0">
                <a:solidFill>
                  <a:srgbClr val="000000"/>
                </a:solidFill>
                <a:latin typeface="Helvetica 55 Roman" panose="020B0604020202020204" pitchFamily="2" charset="0"/>
                <a:ea typeface="ＭＳ Ｐゴシック" pitchFamily="34" charset="-128"/>
                <a:cs typeface="Arial" charset="0"/>
              </a:rPr>
              <a:pPr defTabSz="914253">
                <a:defRPr/>
              </a:pPr>
              <a:t>‹N°›</a:t>
            </a:fld>
            <a:endParaRPr lang="fr-FR" altLang="fr-FR" sz="800" dirty="0" smtClean="0">
              <a:solidFill>
                <a:srgbClr val="000000"/>
              </a:solidFill>
              <a:latin typeface="Helvetica 55 Roman" panose="020B0604020202020204" pitchFamily="2" charset="0"/>
              <a:ea typeface="ＭＳ Ｐゴシック" pitchFamily="34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1407371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EMTA8361\Documents\Divers\Logos\O BS logo bottom right_RGB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6338" y="4300538"/>
            <a:ext cx="1319212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63558" y="1597821"/>
            <a:ext cx="8474400" cy="1679178"/>
          </a:xfrm>
        </p:spPr>
        <p:txBody>
          <a:bodyPr>
            <a:spAutoFit/>
          </a:bodyPr>
          <a:lstStyle>
            <a:lvl1pPr>
              <a:defRPr sz="4400" b="0"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363557" y="2400302"/>
            <a:ext cx="8474400" cy="947952"/>
          </a:xfrm>
        </p:spPr>
        <p:txBody>
          <a:bodyPr>
            <a:spAutoFit/>
          </a:bodyPr>
          <a:lstStyle>
            <a:lvl1pPr marL="344433" indent="-344433">
              <a:buClr>
                <a:schemeClr val="bg1">
                  <a:lumMod val="50000"/>
                  <a:lumOff val="50000"/>
                </a:schemeClr>
              </a:buClr>
              <a:buSzPct val="100000"/>
              <a:buFont typeface="Helvetica 35 Thin" pitchFamily="34" charset="0"/>
              <a:buChar char="&gt;"/>
              <a:defRPr sz="2800">
                <a:solidFill>
                  <a:schemeClr val="bg1">
                    <a:lumMod val="50000"/>
                    <a:lumOff val="50000"/>
                  </a:schemeClr>
                </a:solidFill>
                <a:latin typeface="Helvetica 75 Bold" panose="020B0804020202020204" pitchFamily="34" charset="0"/>
              </a:defRPr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1"/>
          </p:nvPr>
        </p:nvSpPr>
        <p:spPr>
          <a:xfrm>
            <a:off x="363556" y="3314703"/>
            <a:ext cx="8474400" cy="236988"/>
          </a:xfrm>
        </p:spPr>
        <p:txBody>
          <a:bodyPr>
            <a:spAutoFit/>
          </a:bodyPr>
          <a:lstStyle>
            <a:lvl1pPr marL="0" indent="0">
              <a:buNone/>
              <a:defRPr sz="1400"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369650666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>
            <a:spLocks noChangeArrowheads="1"/>
          </p:cNvSpPr>
          <p:nvPr userDrawn="1"/>
        </p:nvSpPr>
        <p:spPr bwMode="auto">
          <a:xfrm>
            <a:off x="107950" y="4779963"/>
            <a:ext cx="23018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7" rIns="0" bIns="45717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327">
              <a:defRPr/>
            </a:pPr>
            <a:fld id="{0AA7AA1D-6C49-44E1-A1F6-50676196370A}" type="slidenum">
              <a:rPr lang="fr-FR" altLang="fr-FR" sz="800" smtClean="0">
                <a:solidFill>
                  <a:srgbClr val="000000"/>
                </a:solidFill>
                <a:latin typeface="Helvetica 55 Roman" panose="020B0604020202020204" pitchFamily="2" charset="0"/>
                <a:ea typeface="ＭＳ Ｐゴシック" pitchFamily="34" charset="-128"/>
                <a:cs typeface="Arial" charset="0"/>
              </a:rPr>
              <a:pPr defTabSz="914327">
                <a:defRPr/>
              </a:pPr>
              <a:t>‹N°›</a:t>
            </a:fld>
            <a:endParaRPr lang="fr-FR" altLang="fr-FR" sz="800" dirty="0" smtClean="0">
              <a:solidFill>
                <a:srgbClr val="000000"/>
              </a:solidFill>
              <a:latin typeface="Helvetica 55 Roman" panose="020B0604020202020204" pitchFamily="2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5" name="Rectangle 762"/>
          <p:cNvSpPr>
            <a:spLocks noChangeArrowheads="1"/>
          </p:cNvSpPr>
          <p:nvPr userDrawn="1"/>
        </p:nvSpPr>
        <p:spPr bwMode="auto">
          <a:xfrm rot="16200000">
            <a:off x="7676357" y="3601244"/>
            <a:ext cx="2795587" cy="18732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45717" rIns="0" bIns="45717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327" eaLnBrk="1" hangingPunct="1">
              <a:defRPr/>
            </a:pPr>
            <a:r>
              <a:rPr lang="en-GB" altLang="fr-FR" sz="700" dirty="0" smtClean="0">
                <a:solidFill>
                  <a:srgbClr val="7F7F7F"/>
                </a:solidFill>
                <a:latin typeface="Helvetica 55 Roman" pitchFamily="2" charset="0"/>
                <a:ea typeface="ＭＳ Ｐゴシック" pitchFamily="34" charset="-128"/>
              </a:rPr>
              <a:t>Interne</a:t>
            </a:r>
            <a:r>
              <a:rPr lang="en-US" altLang="fr-FR" sz="700" dirty="0" smtClean="0">
                <a:solidFill>
                  <a:srgbClr val="7F7F7F"/>
                </a:solidFill>
                <a:latin typeface="Helvetica 55 Roman" pitchFamily="2" charset="0"/>
                <a:ea typeface="ＭＳ Ｐゴシック" pitchFamily="34" charset="-128"/>
              </a:rPr>
              <a:t> Orange – DR Orange Open pro partagé 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 bwMode="gray">
          <a:xfrm>
            <a:off x="250829" y="1059583"/>
            <a:ext cx="8664575" cy="3611810"/>
          </a:xfrm>
        </p:spPr>
        <p:txBody>
          <a:bodyPr/>
          <a:lstStyle>
            <a:lvl1pPr>
              <a:buSzPct val="100000"/>
              <a:defRPr/>
            </a:lvl1pPr>
            <a:lvl3pPr>
              <a:buSzPct val="100000"/>
              <a:defRPr/>
            </a:lvl3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20580307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/>
          <p:cNvSpPr txBox="1">
            <a:spLocks noChangeArrowheads="1"/>
          </p:cNvSpPr>
          <p:nvPr/>
        </p:nvSpPr>
        <p:spPr bwMode="auto">
          <a:xfrm>
            <a:off x="250825" y="4779963"/>
            <a:ext cx="344488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7" rIns="0" bIns="45717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327">
              <a:defRPr/>
            </a:pPr>
            <a:fld id="{16529F9C-059F-4FC5-9C3F-D621555FCEDE}" type="slidenum">
              <a:rPr lang="fr-FR" altLang="fr-FR" sz="1200" smtClean="0">
                <a:solidFill>
                  <a:srgbClr val="000000"/>
                </a:solidFill>
                <a:latin typeface="Helvetica 55 Roman" panose="020B0604020202020204" pitchFamily="2" charset="0"/>
                <a:ea typeface="ＭＳ Ｐゴシック" pitchFamily="34" charset="-128"/>
                <a:cs typeface="Arial" charset="0"/>
              </a:rPr>
              <a:pPr defTabSz="914327">
                <a:defRPr/>
              </a:pPr>
              <a:t>‹N°›</a:t>
            </a:fld>
            <a:endParaRPr lang="fr-FR" altLang="fr-FR" sz="1600" dirty="0" smtClean="0">
              <a:solidFill>
                <a:srgbClr val="000000"/>
              </a:solidFill>
              <a:latin typeface="Helvetica 55 Roman" panose="020B0604020202020204" pitchFamily="2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250828" y="228601"/>
            <a:ext cx="8683625" cy="738188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 bwMode="gray">
          <a:xfrm>
            <a:off x="250825" y="1599643"/>
            <a:ext cx="4177160" cy="3071750"/>
          </a:xfrm>
        </p:spPr>
        <p:txBody>
          <a:bodyPr/>
          <a:lstStyle>
            <a:lvl1pPr>
              <a:buSzPct val="100000"/>
              <a:defRPr/>
            </a:lvl1pPr>
            <a:lvl3pPr>
              <a:buSzPct val="100000"/>
              <a:defRPr/>
            </a:lvl3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1"/>
          </p:nvPr>
        </p:nvSpPr>
        <p:spPr>
          <a:xfrm>
            <a:off x="4758450" y="1600629"/>
            <a:ext cx="4176000" cy="307735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lang="fr-FR" dirty="0" smtClean="0"/>
            </a:lvl1pPr>
            <a:lvl2pPr>
              <a:defRPr lang="fr-FR" dirty="0" smtClean="0"/>
            </a:lvl2pPr>
            <a:lvl3pPr>
              <a:defRPr lang="fr-FR" dirty="0" smtClean="0"/>
            </a:lvl3pPr>
            <a:lvl4pPr>
              <a:defRPr lang="fr-FR" dirty="0" smtClean="0"/>
            </a:lvl4pPr>
            <a:lvl5pPr>
              <a:defRPr lang="fr-FR" dirty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250827" y="1114090"/>
            <a:ext cx="4177159" cy="37754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marL="0" indent="0">
              <a:buNone/>
              <a:defRPr lang="fr-FR" sz="2000" b="1" dirty="0" smtClean="0">
                <a:solidFill>
                  <a:schemeClr val="tx2"/>
                </a:solidFill>
                <a:latin typeface="Helvetica 75 Bold" panose="020B0804020202020204" pitchFamily="34" charset="0"/>
              </a:defRPr>
            </a:lvl1pPr>
            <a:lvl2pPr>
              <a:defRPr lang="fr-FR" dirty="0" smtClean="0"/>
            </a:lvl2pPr>
            <a:lvl3pPr>
              <a:defRPr lang="fr-FR" dirty="0" smtClean="0"/>
            </a:lvl3pPr>
            <a:lvl4pPr>
              <a:defRPr lang="fr-FR" dirty="0" smtClean="0"/>
            </a:lvl4pPr>
            <a:lvl5pPr>
              <a:defRPr lang="fr-FR" dirty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4758453" y="1114090"/>
            <a:ext cx="4177159" cy="37754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marL="0" indent="0">
              <a:buNone/>
              <a:defRPr lang="fr-FR" sz="2000" b="1" dirty="0" smtClean="0">
                <a:solidFill>
                  <a:schemeClr val="tx2"/>
                </a:solidFill>
                <a:latin typeface="Helvetica 75 Bold" panose="020B0804020202020204" pitchFamily="34" charset="0"/>
              </a:defRPr>
            </a:lvl1pPr>
            <a:lvl2pPr>
              <a:defRPr lang="fr-FR" dirty="0" smtClean="0"/>
            </a:lvl2pPr>
            <a:lvl3pPr>
              <a:defRPr lang="fr-FR" dirty="0" smtClean="0"/>
            </a:lvl3pPr>
            <a:lvl4pPr>
              <a:defRPr lang="fr-FR" dirty="0" smtClean="0"/>
            </a:lvl4pPr>
            <a:lvl5pPr>
              <a:defRPr lang="fr-FR" dirty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157667550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62"/>
          <p:cNvSpPr>
            <a:spLocks noChangeArrowheads="1"/>
          </p:cNvSpPr>
          <p:nvPr userDrawn="1"/>
        </p:nvSpPr>
        <p:spPr bwMode="auto">
          <a:xfrm rot="16200000">
            <a:off x="7676357" y="3601244"/>
            <a:ext cx="2795587" cy="18732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45717" rIns="0" bIns="45717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327" eaLnBrk="1" hangingPunct="1">
              <a:defRPr/>
            </a:pPr>
            <a:r>
              <a:rPr lang="en-GB" altLang="fr-FR" sz="700" dirty="0" smtClean="0">
                <a:solidFill>
                  <a:srgbClr val="7F7F7F"/>
                </a:solidFill>
                <a:latin typeface="Helvetica 55 Roman" pitchFamily="2" charset="0"/>
                <a:ea typeface="ＭＳ Ｐゴシック" pitchFamily="34" charset="-128"/>
              </a:rPr>
              <a:t>Interne</a:t>
            </a:r>
            <a:r>
              <a:rPr lang="en-US" altLang="fr-FR" sz="700" dirty="0" smtClean="0">
                <a:solidFill>
                  <a:srgbClr val="7F7F7F"/>
                </a:solidFill>
                <a:latin typeface="Helvetica 55 Roman" pitchFamily="2" charset="0"/>
                <a:ea typeface="ＭＳ Ｐゴシック" pitchFamily="34" charset="-128"/>
              </a:rPr>
              <a:t> Orange – DR Orange Open pro partagé </a:t>
            </a:r>
          </a:p>
        </p:txBody>
      </p:sp>
      <p:sp>
        <p:nvSpPr>
          <p:cNvPr id="4" name="ZoneTexte 3"/>
          <p:cNvSpPr txBox="1">
            <a:spLocks noChangeArrowheads="1"/>
          </p:cNvSpPr>
          <p:nvPr userDrawn="1"/>
        </p:nvSpPr>
        <p:spPr bwMode="auto">
          <a:xfrm>
            <a:off x="107950" y="4779963"/>
            <a:ext cx="23018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7" rIns="0" bIns="45717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327">
              <a:defRPr/>
            </a:pPr>
            <a:fld id="{55B31128-AB07-4944-B0B9-F5C139112D3D}" type="slidenum">
              <a:rPr lang="fr-FR" altLang="fr-FR" sz="800" smtClean="0">
                <a:solidFill>
                  <a:srgbClr val="000000"/>
                </a:solidFill>
                <a:latin typeface="Helvetica 55 Roman" panose="020B0604020202020204" pitchFamily="2" charset="0"/>
                <a:ea typeface="ＭＳ Ｐゴシック" pitchFamily="34" charset="-128"/>
                <a:cs typeface="Arial" charset="0"/>
              </a:rPr>
              <a:pPr defTabSz="914327">
                <a:defRPr/>
              </a:pPr>
              <a:t>‹N°›</a:t>
            </a:fld>
            <a:endParaRPr lang="fr-FR" altLang="fr-FR" sz="800" dirty="0" smtClean="0">
              <a:solidFill>
                <a:srgbClr val="000000"/>
              </a:solidFill>
              <a:latin typeface="Helvetica 55 Roman" panose="020B0604020202020204" pitchFamily="2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2187908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/>
          <p:cNvSpPr txBox="1">
            <a:spLocks noChangeArrowheads="1"/>
          </p:cNvSpPr>
          <p:nvPr userDrawn="1"/>
        </p:nvSpPr>
        <p:spPr bwMode="auto">
          <a:xfrm>
            <a:off x="107950" y="4779963"/>
            <a:ext cx="23018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7" rIns="0" bIns="45717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327">
              <a:defRPr/>
            </a:pPr>
            <a:fld id="{77698E48-EDD3-4FEC-9EDF-5B86FBF2013A}" type="slidenum">
              <a:rPr lang="fr-FR" altLang="fr-FR" sz="800" smtClean="0">
                <a:solidFill>
                  <a:srgbClr val="000000"/>
                </a:solidFill>
                <a:latin typeface="Helvetica 55 Roman" panose="020B0604020202020204" pitchFamily="2" charset="0"/>
                <a:ea typeface="ＭＳ Ｐゴシック" pitchFamily="34" charset="-128"/>
                <a:cs typeface="Arial" charset="0"/>
              </a:rPr>
              <a:pPr defTabSz="914327">
                <a:defRPr/>
              </a:pPr>
              <a:t>‹N°›</a:t>
            </a:fld>
            <a:endParaRPr lang="fr-FR" altLang="fr-FR" sz="800" dirty="0" smtClean="0">
              <a:solidFill>
                <a:srgbClr val="000000"/>
              </a:solidFill>
              <a:latin typeface="Helvetica 55 Roman" panose="020B0604020202020204" pitchFamily="2" charset="0"/>
              <a:ea typeface="ＭＳ Ｐゴシック" pitchFamily="34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7482172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EMTA8361\Documents\Divers\Logos\O BS logo bottom right_RGB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6338" y="4300538"/>
            <a:ext cx="1319212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63558" y="1597821"/>
            <a:ext cx="8474400" cy="1679178"/>
          </a:xfrm>
        </p:spPr>
        <p:txBody>
          <a:bodyPr>
            <a:spAutoFit/>
          </a:bodyPr>
          <a:lstStyle>
            <a:lvl1pPr>
              <a:defRPr sz="4400" b="0"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363557" y="2400302"/>
            <a:ext cx="8474400" cy="947952"/>
          </a:xfrm>
        </p:spPr>
        <p:txBody>
          <a:bodyPr>
            <a:spAutoFit/>
          </a:bodyPr>
          <a:lstStyle>
            <a:lvl1pPr marL="344461" indent="-344461">
              <a:buClr>
                <a:schemeClr val="bg1">
                  <a:lumMod val="50000"/>
                  <a:lumOff val="50000"/>
                </a:schemeClr>
              </a:buClr>
              <a:buSzPct val="100000"/>
              <a:buFont typeface="Helvetica 35 Thin" pitchFamily="34" charset="0"/>
              <a:buChar char="&gt;"/>
              <a:defRPr sz="2800">
                <a:solidFill>
                  <a:schemeClr val="bg1">
                    <a:lumMod val="50000"/>
                    <a:lumOff val="50000"/>
                  </a:schemeClr>
                </a:solidFill>
                <a:latin typeface="Helvetica 75 Bold" panose="020B0804020202020204" pitchFamily="34" charset="0"/>
              </a:defRPr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1"/>
          </p:nvPr>
        </p:nvSpPr>
        <p:spPr>
          <a:xfrm>
            <a:off x="363556" y="3314703"/>
            <a:ext cx="8474400" cy="236988"/>
          </a:xfrm>
        </p:spPr>
        <p:txBody>
          <a:bodyPr>
            <a:spAutoFit/>
          </a:bodyPr>
          <a:lstStyle>
            <a:lvl1pPr marL="0" indent="0">
              <a:buNone/>
              <a:defRPr sz="1400"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905402600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2788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6" name="Group 62"/>
          <p:cNvGrpSpPr>
            <a:grpSpLocks/>
          </p:cNvGrpSpPr>
          <p:nvPr userDrawn="1"/>
        </p:nvGrpSpPr>
        <p:grpSpPr bwMode="auto">
          <a:xfrm>
            <a:off x="339725" y="4132263"/>
            <a:ext cx="1873250" cy="682625"/>
            <a:chOff x="339725" y="4132263"/>
            <a:chExt cx="1873251" cy="682625"/>
          </a:xfrm>
        </p:grpSpPr>
        <p:grpSp>
          <p:nvGrpSpPr>
            <p:cNvPr id="7" name="Group 60"/>
            <p:cNvGrpSpPr>
              <a:grpSpLocks/>
            </p:cNvGrpSpPr>
            <p:nvPr userDrawn="1"/>
          </p:nvGrpSpPr>
          <p:grpSpPr bwMode="auto">
            <a:xfrm>
              <a:off x="339725" y="4132263"/>
              <a:ext cx="674688" cy="677863"/>
              <a:chOff x="339725" y="4132263"/>
              <a:chExt cx="674688" cy="677863"/>
            </a:xfrm>
          </p:grpSpPr>
          <p:sp>
            <p:nvSpPr>
              <p:cNvPr id="25" name="Rectangle 7"/>
              <p:cNvSpPr>
                <a:spLocks noChangeArrowheads="1"/>
              </p:cNvSpPr>
              <p:nvPr userDrawn="1"/>
            </p:nvSpPr>
            <p:spPr bwMode="auto">
              <a:xfrm>
                <a:off x="339725" y="4132263"/>
                <a:ext cx="674688" cy="677862"/>
              </a:xfrm>
              <a:prstGeom prst="rect">
                <a:avLst/>
              </a:prstGeom>
              <a:solidFill>
                <a:srgbClr val="FF66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 defTabSz="712788" eaLnBrk="0" hangingPunct="0">
                  <a:defRPr sz="1400">
                    <a:solidFill>
                      <a:schemeClr val="tx1"/>
                    </a:solidFill>
                    <a:latin typeface="Helvetica 75"/>
                    <a:ea typeface="MS PGothic" pitchFamily="34" charset="-128"/>
                  </a:defRPr>
                </a:lvl1pPr>
                <a:lvl2pPr defTabSz="712788" eaLnBrk="0" hangingPunct="0">
                  <a:defRPr sz="1400">
                    <a:solidFill>
                      <a:schemeClr val="tx1"/>
                    </a:solidFill>
                    <a:latin typeface="Helvetica 75"/>
                    <a:ea typeface="MS PGothic" pitchFamily="34" charset="-128"/>
                  </a:defRPr>
                </a:lvl2pPr>
                <a:lvl3pPr defTabSz="712788" eaLnBrk="0" hangingPunct="0">
                  <a:defRPr sz="1400">
                    <a:solidFill>
                      <a:schemeClr val="tx1"/>
                    </a:solidFill>
                    <a:latin typeface="Helvetica 75"/>
                    <a:ea typeface="MS PGothic" pitchFamily="34" charset="-128"/>
                  </a:defRPr>
                </a:lvl3pPr>
                <a:lvl4pPr defTabSz="712788" eaLnBrk="0" hangingPunct="0">
                  <a:defRPr sz="1400">
                    <a:solidFill>
                      <a:schemeClr val="tx1"/>
                    </a:solidFill>
                    <a:latin typeface="Helvetica 75"/>
                    <a:ea typeface="MS PGothic" pitchFamily="34" charset="-128"/>
                  </a:defRPr>
                </a:lvl4pPr>
                <a:lvl5pPr defTabSz="712788" eaLnBrk="0" hangingPunct="0">
                  <a:defRPr sz="1400">
                    <a:solidFill>
                      <a:schemeClr val="tx1"/>
                    </a:solidFill>
                    <a:latin typeface="Helvetica 75"/>
                    <a:ea typeface="MS PGothic" pitchFamily="34" charset="-128"/>
                  </a:defRPr>
                </a:lvl5pPr>
                <a:lvl6pPr marL="1881188" indent="401638" defTabSz="7127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Helvetica 75"/>
                    <a:ea typeface="MS PGothic" pitchFamily="34" charset="-128"/>
                  </a:defRPr>
                </a:lvl6pPr>
                <a:lvl7pPr marL="2338388" indent="401638" defTabSz="7127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Helvetica 75"/>
                    <a:ea typeface="MS PGothic" pitchFamily="34" charset="-128"/>
                  </a:defRPr>
                </a:lvl7pPr>
                <a:lvl8pPr marL="2795588" indent="401638" defTabSz="7127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Helvetica 75"/>
                    <a:ea typeface="MS PGothic" pitchFamily="34" charset="-128"/>
                  </a:defRPr>
                </a:lvl8pPr>
                <a:lvl9pPr marL="3252788" indent="401638" defTabSz="712788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Helvetica 75"/>
                    <a:ea typeface="MS PGothic" pitchFamily="34" charset="-128"/>
                  </a:defRPr>
                </a:lvl9pPr>
              </a:lstStyle>
              <a:p>
                <a:pPr eaLnBrk="1" hangingPunct="1">
                  <a:defRPr/>
                </a:pPr>
                <a:endParaRPr lang="fr-FR" altLang="fr-FR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Freeform 8"/>
              <p:cNvSpPr>
                <a:spLocks noEditPoints="1"/>
              </p:cNvSpPr>
              <p:nvPr userDrawn="1"/>
            </p:nvSpPr>
            <p:spPr bwMode="auto">
              <a:xfrm>
                <a:off x="546100" y="4656138"/>
                <a:ext cx="82550" cy="98425"/>
              </a:xfrm>
              <a:custGeom>
                <a:avLst/>
                <a:gdLst>
                  <a:gd name="T0" fmla="*/ 2147483647 w 65"/>
                  <a:gd name="T1" fmla="*/ 2147483647 h 76"/>
                  <a:gd name="T2" fmla="*/ 2147483647 w 65"/>
                  <a:gd name="T3" fmla="*/ 2147483647 h 76"/>
                  <a:gd name="T4" fmla="*/ 0 w 65"/>
                  <a:gd name="T5" fmla="*/ 2147483647 h 76"/>
                  <a:gd name="T6" fmla="*/ 2147483647 w 65"/>
                  <a:gd name="T7" fmla="*/ 2147483647 h 76"/>
                  <a:gd name="T8" fmla="*/ 2147483647 w 65"/>
                  <a:gd name="T9" fmla="*/ 2147483647 h 76"/>
                  <a:gd name="T10" fmla="*/ 2147483647 w 65"/>
                  <a:gd name="T11" fmla="*/ 2147483647 h 76"/>
                  <a:gd name="T12" fmla="*/ 2147483647 w 65"/>
                  <a:gd name="T13" fmla="*/ 2147483647 h 76"/>
                  <a:gd name="T14" fmla="*/ 2147483647 w 65"/>
                  <a:gd name="T15" fmla="*/ 2147483647 h 76"/>
                  <a:gd name="T16" fmla="*/ 2147483647 w 65"/>
                  <a:gd name="T17" fmla="*/ 0 h 76"/>
                  <a:gd name="T18" fmla="*/ 2147483647 w 65"/>
                  <a:gd name="T19" fmla="*/ 2147483647 h 76"/>
                  <a:gd name="T20" fmla="*/ 2147483647 w 65"/>
                  <a:gd name="T21" fmla="*/ 2147483647 h 76"/>
                  <a:gd name="T22" fmla="*/ 2147483647 w 65"/>
                  <a:gd name="T23" fmla="*/ 2147483647 h 76"/>
                  <a:gd name="T24" fmla="*/ 2147483647 w 65"/>
                  <a:gd name="T25" fmla="*/ 2147483647 h 76"/>
                  <a:gd name="T26" fmla="*/ 2147483647 w 65"/>
                  <a:gd name="T27" fmla="*/ 2147483647 h 76"/>
                  <a:gd name="T28" fmla="*/ 2147483647 w 65"/>
                  <a:gd name="T29" fmla="*/ 2147483647 h 76"/>
                  <a:gd name="T30" fmla="*/ 2147483647 w 65"/>
                  <a:gd name="T31" fmla="*/ 2147483647 h 76"/>
                  <a:gd name="T32" fmla="*/ 2147483647 w 65"/>
                  <a:gd name="T33" fmla="*/ 2147483647 h 76"/>
                  <a:gd name="T34" fmla="*/ 2147483647 w 65"/>
                  <a:gd name="T35" fmla="*/ 2147483647 h 7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65" h="76">
                    <a:moveTo>
                      <a:pt x="46" y="69"/>
                    </a:moveTo>
                    <a:cubicBezTo>
                      <a:pt x="38" y="73"/>
                      <a:pt x="30" y="76"/>
                      <a:pt x="22" y="76"/>
                    </a:cubicBezTo>
                    <a:cubicBezTo>
                      <a:pt x="8" y="76"/>
                      <a:pt x="0" y="67"/>
                      <a:pt x="0" y="55"/>
                    </a:cubicBezTo>
                    <a:cubicBezTo>
                      <a:pt x="0" y="38"/>
                      <a:pt x="15" y="29"/>
                      <a:pt x="46" y="26"/>
                    </a:cubicBezTo>
                    <a:cubicBezTo>
                      <a:pt x="46" y="22"/>
                      <a:pt x="46" y="22"/>
                      <a:pt x="46" y="22"/>
                    </a:cubicBezTo>
                    <a:cubicBezTo>
                      <a:pt x="46" y="17"/>
                      <a:pt x="42" y="14"/>
                      <a:pt x="35" y="14"/>
                    </a:cubicBezTo>
                    <a:cubicBezTo>
                      <a:pt x="27" y="14"/>
                      <a:pt x="21" y="16"/>
                      <a:pt x="17" y="22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11" y="5"/>
                      <a:pt x="21" y="0"/>
                      <a:pt x="35" y="0"/>
                    </a:cubicBezTo>
                    <a:cubicBezTo>
                      <a:pt x="54" y="0"/>
                      <a:pt x="65" y="8"/>
                      <a:pt x="65" y="22"/>
                    </a:cubicBezTo>
                    <a:cubicBezTo>
                      <a:pt x="65" y="22"/>
                      <a:pt x="65" y="75"/>
                      <a:pt x="65" y="75"/>
                    </a:cubicBezTo>
                    <a:cubicBezTo>
                      <a:pt x="48" y="75"/>
                      <a:pt x="48" y="75"/>
                      <a:pt x="48" y="75"/>
                    </a:cubicBezTo>
                    <a:lnTo>
                      <a:pt x="46" y="69"/>
                    </a:lnTo>
                    <a:close/>
                    <a:moveTo>
                      <a:pt x="19" y="53"/>
                    </a:moveTo>
                    <a:cubicBezTo>
                      <a:pt x="19" y="58"/>
                      <a:pt x="22" y="63"/>
                      <a:pt x="28" y="63"/>
                    </a:cubicBezTo>
                    <a:cubicBezTo>
                      <a:pt x="34" y="63"/>
                      <a:pt x="40" y="60"/>
                      <a:pt x="45" y="55"/>
                    </a:cubicBezTo>
                    <a:cubicBezTo>
                      <a:pt x="45" y="38"/>
                      <a:pt x="45" y="38"/>
                      <a:pt x="45" y="38"/>
                    </a:cubicBezTo>
                    <a:cubicBezTo>
                      <a:pt x="27" y="40"/>
                      <a:pt x="19" y="44"/>
                      <a:pt x="19" y="5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7" name="Freeform 9"/>
              <p:cNvSpPr>
                <a:spLocks/>
              </p:cNvSpPr>
              <p:nvPr userDrawn="1"/>
            </p:nvSpPr>
            <p:spPr bwMode="auto">
              <a:xfrm>
                <a:off x="647700" y="4656138"/>
                <a:ext cx="85725" cy="96838"/>
              </a:xfrm>
              <a:custGeom>
                <a:avLst/>
                <a:gdLst>
                  <a:gd name="T0" fmla="*/ 0 w 66"/>
                  <a:gd name="T1" fmla="*/ 2147483647 h 75"/>
                  <a:gd name="T2" fmla="*/ 2147483647 w 66"/>
                  <a:gd name="T3" fmla="*/ 2147483647 h 75"/>
                  <a:gd name="T4" fmla="*/ 2147483647 w 66"/>
                  <a:gd name="T5" fmla="*/ 2147483647 h 75"/>
                  <a:gd name="T6" fmla="*/ 2147483647 w 66"/>
                  <a:gd name="T7" fmla="*/ 0 h 75"/>
                  <a:gd name="T8" fmla="*/ 2147483647 w 66"/>
                  <a:gd name="T9" fmla="*/ 2147483647 h 75"/>
                  <a:gd name="T10" fmla="*/ 2147483647 w 66"/>
                  <a:gd name="T11" fmla="*/ 2147483647 h 75"/>
                  <a:gd name="T12" fmla="*/ 2147483647 w 66"/>
                  <a:gd name="T13" fmla="*/ 2147483647 h 75"/>
                  <a:gd name="T14" fmla="*/ 2147483647 w 66"/>
                  <a:gd name="T15" fmla="*/ 2147483647 h 75"/>
                  <a:gd name="T16" fmla="*/ 2147483647 w 66"/>
                  <a:gd name="T17" fmla="*/ 2147483647 h 75"/>
                  <a:gd name="T18" fmla="*/ 2147483647 w 66"/>
                  <a:gd name="T19" fmla="*/ 2147483647 h 75"/>
                  <a:gd name="T20" fmla="*/ 2147483647 w 66"/>
                  <a:gd name="T21" fmla="*/ 2147483647 h 75"/>
                  <a:gd name="T22" fmla="*/ 0 w 66"/>
                  <a:gd name="T23" fmla="*/ 2147483647 h 75"/>
                  <a:gd name="T24" fmla="*/ 0 w 66"/>
                  <a:gd name="T25" fmla="*/ 2147483647 h 7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66" h="75">
                    <a:moveTo>
                      <a:pt x="0" y="4"/>
                    </a:moveTo>
                    <a:cubicBezTo>
                      <a:pt x="16" y="2"/>
                      <a:pt x="16" y="2"/>
                      <a:pt x="16" y="2"/>
                    </a:cubicBezTo>
                    <a:cubicBezTo>
                      <a:pt x="18" y="10"/>
                      <a:pt x="18" y="10"/>
                      <a:pt x="18" y="10"/>
                    </a:cubicBezTo>
                    <a:cubicBezTo>
                      <a:pt x="27" y="4"/>
                      <a:pt x="34" y="0"/>
                      <a:pt x="43" y="0"/>
                    </a:cubicBezTo>
                    <a:cubicBezTo>
                      <a:pt x="58" y="0"/>
                      <a:pt x="66" y="8"/>
                      <a:pt x="66" y="24"/>
                    </a:cubicBezTo>
                    <a:cubicBezTo>
                      <a:pt x="66" y="75"/>
                      <a:pt x="66" y="75"/>
                      <a:pt x="66" y="75"/>
                    </a:cubicBezTo>
                    <a:cubicBezTo>
                      <a:pt x="46" y="75"/>
                      <a:pt x="46" y="75"/>
                      <a:pt x="46" y="75"/>
                    </a:cubicBezTo>
                    <a:cubicBezTo>
                      <a:pt x="46" y="27"/>
                      <a:pt x="46" y="27"/>
                      <a:pt x="46" y="27"/>
                    </a:cubicBezTo>
                    <a:cubicBezTo>
                      <a:pt x="46" y="18"/>
                      <a:pt x="44" y="14"/>
                      <a:pt x="37" y="14"/>
                    </a:cubicBezTo>
                    <a:cubicBezTo>
                      <a:pt x="31" y="14"/>
                      <a:pt x="26" y="17"/>
                      <a:pt x="19" y="22"/>
                    </a:cubicBezTo>
                    <a:cubicBezTo>
                      <a:pt x="19" y="75"/>
                      <a:pt x="19" y="75"/>
                      <a:pt x="19" y="75"/>
                    </a:cubicBezTo>
                    <a:cubicBezTo>
                      <a:pt x="0" y="75"/>
                      <a:pt x="0" y="75"/>
                      <a:pt x="0" y="75"/>
                    </a:cubicBez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8" name="Freeform 10"/>
              <p:cNvSpPr>
                <a:spLocks noEditPoints="1"/>
              </p:cNvSpPr>
              <p:nvPr userDrawn="1"/>
            </p:nvSpPr>
            <p:spPr bwMode="auto">
              <a:xfrm>
                <a:off x="852488" y="4656138"/>
                <a:ext cx="87313" cy="98425"/>
              </a:xfrm>
              <a:custGeom>
                <a:avLst/>
                <a:gdLst>
                  <a:gd name="T0" fmla="*/ 2147483647 w 67"/>
                  <a:gd name="T1" fmla="*/ 2147483647 h 76"/>
                  <a:gd name="T2" fmla="*/ 0 w 67"/>
                  <a:gd name="T3" fmla="*/ 2147483647 h 76"/>
                  <a:gd name="T4" fmla="*/ 2147483647 w 67"/>
                  <a:gd name="T5" fmla="*/ 0 h 76"/>
                  <a:gd name="T6" fmla="*/ 2147483647 w 67"/>
                  <a:gd name="T7" fmla="*/ 2147483647 h 76"/>
                  <a:gd name="T8" fmla="*/ 2147483647 w 67"/>
                  <a:gd name="T9" fmla="*/ 2147483647 h 76"/>
                  <a:gd name="T10" fmla="*/ 2147483647 w 67"/>
                  <a:gd name="T11" fmla="*/ 2147483647 h 76"/>
                  <a:gd name="T12" fmla="*/ 2147483647 w 67"/>
                  <a:gd name="T13" fmla="*/ 2147483647 h 76"/>
                  <a:gd name="T14" fmla="*/ 2147483647 w 67"/>
                  <a:gd name="T15" fmla="*/ 2147483647 h 76"/>
                  <a:gd name="T16" fmla="*/ 2147483647 w 67"/>
                  <a:gd name="T17" fmla="*/ 2147483647 h 76"/>
                  <a:gd name="T18" fmla="*/ 2147483647 w 67"/>
                  <a:gd name="T19" fmla="*/ 2147483647 h 76"/>
                  <a:gd name="T20" fmla="*/ 2147483647 w 67"/>
                  <a:gd name="T21" fmla="*/ 2147483647 h 76"/>
                  <a:gd name="T22" fmla="*/ 2147483647 w 67"/>
                  <a:gd name="T23" fmla="*/ 2147483647 h 76"/>
                  <a:gd name="T24" fmla="*/ 2147483647 w 67"/>
                  <a:gd name="T25" fmla="*/ 2147483647 h 76"/>
                  <a:gd name="T26" fmla="*/ 2147483647 w 67"/>
                  <a:gd name="T27" fmla="*/ 2147483647 h 7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7" h="76">
                    <a:moveTo>
                      <a:pt x="34" y="76"/>
                    </a:moveTo>
                    <a:cubicBezTo>
                      <a:pt x="13" y="76"/>
                      <a:pt x="0" y="62"/>
                      <a:pt x="0" y="38"/>
                    </a:cubicBezTo>
                    <a:cubicBezTo>
                      <a:pt x="0" y="14"/>
                      <a:pt x="13" y="0"/>
                      <a:pt x="34" y="0"/>
                    </a:cubicBezTo>
                    <a:cubicBezTo>
                      <a:pt x="55" y="0"/>
                      <a:pt x="67" y="14"/>
                      <a:pt x="67" y="37"/>
                    </a:cubicBezTo>
                    <a:cubicBezTo>
                      <a:pt x="67" y="39"/>
                      <a:pt x="67" y="40"/>
                      <a:pt x="67" y="41"/>
                    </a:cubicBezTo>
                    <a:cubicBezTo>
                      <a:pt x="19" y="41"/>
                      <a:pt x="19" y="41"/>
                      <a:pt x="19" y="41"/>
                    </a:cubicBezTo>
                    <a:cubicBezTo>
                      <a:pt x="19" y="55"/>
                      <a:pt x="24" y="62"/>
                      <a:pt x="36" y="62"/>
                    </a:cubicBezTo>
                    <a:cubicBezTo>
                      <a:pt x="43" y="62"/>
                      <a:pt x="48" y="59"/>
                      <a:pt x="52" y="53"/>
                    </a:cubicBezTo>
                    <a:cubicBezTo>
                      <a:pt x="67" y="60"/>
                      <a:pt x="67" y="60"/>
                      <a:pt x="67" y="60"/>
                    </a:cubicBezTo>
                    <a:cubicBezTo>
                      <a:pt x="60" y="71"/>
                      <a:pt x="49" y="76"/>
                      <a:pt x="34" y="76"/>
                    </a:cubicBezTo>
                    <a:close/>
                    <a:moveTo>
                      <a:pt x="49" y="29"/>
                    </a:moveTo>
                    <a:cubicBezTo>
                      <a:pt x="49" y="19"/>
                      <a:pt x="43" y="13"/>
                      <a:pt x="34" y="13"/>
                    </a:cubicBezTo>
                    <a:cubicBezTo>
                      <a:pt x="25" y="13"/>
                      <a:pt x="20" y="19"/>
                      <a:pt x="19" y="29"/>
                    </a:cubicBezTo>
                    <a:lnTo>
                      <a:pt x="49" y="2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9" name="Freeform 11"/>
              <p:cNvSpPr>
                <a:spLocks noEditPoints="1"/>
              </p:cNvSpPr>
              <p:nvPr userDrawn="1"/>
            </p:nvSpPr>
            <p:spPr bwMode="auto">
              <a:xfrm>
                <a:off x="376238" y="4656138"/>
                <a:ext cx="93663" cy="100013"/>
              </a:xfrm>
              <a:custGeom>
                <a:avLst/>
                <a:gdLst>
                  <a:gd name="T0" fmla="*/ 2147483647 w 73"/>
                  <a:gd name="T1" fmla="*/ 2147483647 h 77"/>
                  <a:gd name="T2" fmla="*/ 0 w 73"/>
                  <a:gd name="T3" fmla="*/ 2147483647 h 77"/>
                  <a:gd name="T4" fmla="*/ 2147483647 w 73"/>
                  <a:gd name="T5" fmla="*/ 0 h 77"/>
                  <a:gd name="T6" fmla="*/ 2147483647 w 73"/>
                  <a:gd name="T7" fmla="*/ 2147483647 h 77"/>
                  <a:gd name="T8" fmla="*/ 2147483647 w 73"/>
                  <a:gd name="T9" fmla="*/ 2147483647 h 77"/>
                  <a:gd name="T10" fmla="*/ 2147483647 w 73"/>
                  <a:gd name="T11" fmla="*/ 2147483647 h 77"/>
                  <a:gd name="T12" fmla="*/ 2147483647 w 73"/>
                  <a:gd name="T13" fmla="*/ 2147483647 h 77"/>
                  <a:gd name="T14" fmla="*/ 2147483647 w 73"/>
                  <a:gd name="T15" fmla="*/ 2147483647 h 77"/>
                  <a:gd name="T16" fmla="*/ 2147483647 w 73"/>
                  <a:gd name="T17" fmla="*/ 2147483647 h 77"/>
                  <a:gd name="T18" fmla="*/ 2147483647 w 73"/>
                  <a:gd name="T19" fmla="*/ 2147483647 h 7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73" h="77">
                    <a:moveTo>
                      <a:pt x="36" y="77"/>
                    </a:moveTo>
                    <a:cubicBezTo>
                      <a:pt x="17" y="77"/>
                      <a:pt x="0" y="65"/>
                      <a:pt x="0" y="38"/>
                    </a:cubicBezTo>
                    <a:cubicBezTo>
                      <a:pt x="0" y="12"/>
                      <a:pt x="17" y="0"/>
                      <a:pt x="36" y="0"/>
                    </a:cubicBezTo>
                    <a:cubicBezTo>
                      <a:pt x="55" y="0"/>
                      <a:pt x="73" y="12"/>
                      <a:pt x="73" y="38"/>
                    </a:cubicBezTo>
                    <a:cubicBezTo>
                      <a:pt x="73" y="65"/>
                      <a:pt x="55" y="77"/>
                      <a:pt x="36" y="77"/>
                    </a:cubicBezTo>
                    <a:close/>
                    <a:moveTo>
                      <a:pt x="36" y="16"/>
                    </a:moveTo>
                    <a:cubicBezTo>
                      <a:pt x="22" y="16"/>
                      <a:pt x="19" y="29"/>
                      <a:pt x="19" y="38"/>
                    </a:cubicBezTo>
                    <a:cubicBezTo>
                      <a:pt x="19" y="48"/>
                      <a:pt x="22" y="61"/>
                      <a:pt x="36" y="61"/>
                    </a:cubicBezTo>
                    <a:cubicBezTo>
                      <a:pt x="51" y="61"/>
                      <a:pt x="53" y="48"/>
                      <a:pt x="53" y="38"/>
                    </a:cubicBezTo>
                    <a:cubicBezTo>
                      <a:pt x="53" y="29"/>
                      <a:pt x="51" y="16"/>
                      <a:pt x="36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30" name="Freeform 12"/>
              <p:cNvSpPr>
                <a:spLocks/>
              </p:cNvSpPr>
              <p:nvPr userDrawn="1"/>
            </p:nvSpPr>
            <p:spPr bwMode="auto">
              <a:xfrm>
                <a:off x="485775" y="4656138"/>
                <a:ext cx="53975" cy="96838"/>
              </a:xfrm>
              <a:custGeom>
                <a:avLst/>
                <a:gdLst>
                  <a:gd name="T0" fmla="*/ 0 w 41"/>
                  <a:gd name="T1" fmla="*/ 2147483647 h 75"/>
                  <a:gd name="T2" fmla="*/ 2147483647 w 41"/>
                  <a:gd name="T3" fmla="*/ 2147483647 h 75"/>
                  <a:gd name="T4" fmla="*/ 2147483647 w 41"/>
                  <a:gd name="T5" fmla="*/ 2147483647 h 75"/>
                  <a:gd name="T6" fmla="*/ 2147483647 w 41"/>
                  <a:gd name="T7" fmla="*/ 0 h 75"/>
                  <a:gd name="T8" fmla="*/ 2147483647 w 41"/>
                  <a:gd name="T9" fmla="*/ 0 h 75"/>
                  <a:gd name="T10" fmla="*/ 2147483647 w 41"/>
                  <a:gd name="T11" fmla="*/ 2147483647 h 75"/>
                  <a:gd name="T12" fmla="*/ 2147483647 w 41"/>
                  <a:gd name="T13" fmla="*/ 2147483647 h 75"/>
                  <a:gd name="T14" fmla="*/ 2147483647 w 41"/>
                  <a:gd name="T15" fmla="*/ 2147483647 h 75"/>
                  <a:gd name="T16" fmla="*/ 2147483647 w 41"/>
                  <a:gd name="T17" fmla="*/ 2147483647 h 75"/>
                  <a:gd name="T18" fmla="*/ 0 w 41"/>
                  <a:gd name="T19" fmla="*/ 2147483647 h 75"/>
                  <a:gd name="T20" fmla="*/ 0 w 41"/>
                  <a:gd name="T21" fmla="*/ 2147483647 h 7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41" h="75">
                    <a:moveTo>
                      <a:pt x="0" y="2"/>
                    </a:moveTo>
                    <a:cubicBezTo>
                      <a:pt x="18" y="2"/>
                      <a:pt x="18" y="2"/>
                      <a:pt x="18" y="2"/>
                    </a:cubicBezTo>
                    <a:cubicBezTo>
                      <a:pt x="18" y="10"/>
                      <a:pt x="18" y="10"/>
                      <a:pt x="18" y="10"/>
                    </a:cubicBezTo>
                    <a:cubicBezTo>
                      <a:pt x="22" y="6"/>
                      <a:pt x="30" y="0"/>
                      <a:pt x="38" y="0"/>
                    </a:cubicBezTo>
                    <a:cubicBezTo>
                      <a:pt x="39" y="0"/>
                      <a:pt x="40" y="0"/>
                      <a:pt x="41" y="0"/>
                    </a:cubicBezTo>
                    <a:cubicBezTo>
                      <a:pt x="41" y="18"/>
                      <a:pt x="41" y="18"/>
                      <a:pt x="41" y="18"/>
                    </a:cubicBezTo>
                    <a:cubicBezTo>
                      <a:pt x="40" y="18"/>
                      <a:pt x="40" y="18"/>
                      <a:pt x="40" y="18"/>
                    </a:cubicBezTo>
                    <a:cubicBezTo>
                      <a:pt x="31" y="18"/>
                      <a:pt x="22" y="20"/>
                      <a:pt x="19" y="26"/>
                    </a:cubicBezTo>
                    <a:cubicBezTo>
                      <a:pt x="19" y="75"/>
                      <a:pt x="19" y="75"/>
                      <a:pt x="19" y="75"/>
                    </a:cubicBezTo>
                    <a:cubicBezTo>
                      <a:pt x="0" y="75"/>
                      <a:pt x="0" y="75"/>
                      <a:pt x="0" y="75"/>
                    </a:cubicBez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31" name="Freeform 13"/>
              <p:cNvSpPr>
                <a:spLocks noEditPoints="1"/>
              </p:cNvSpPr>
              <p:nvPr userDrawn="1"/>
            </p:nvSpPr>
            <p:spPr bwMode="auto">
              <a:xfrm>
                <a:off x="749300" y="4656138"/>
                <a:ext cx="88900" cy="133350"/>
              </a:xfrm>
              <a:custGeom>
                <a:avLst/>
                <a:gdLst>
                  <a:gd name="T0" fmla="*/ 2147483647 w 68"/>
                  <a:gd name="T1" fmla="*/ 2147483647 h 103"/>
                  <a:gd name="T2" fmla="*/ 2147483647 w 68"/>
                  <a:gd name="T3" fmla="*/ 2147483647 h 103"/>
                  <a:gd name="T4" fmla="*/ 2147483647 w 68"/>
                  <a:gd name="T5" fmla="*/ 2147483647 h 103"/>
                  <a:gd name="T6" fmla="*/ 2147483647 w 68"/>
                  <a:gd name="T7" fmla="*/ 2147483647 h 103"/>
                  <a:gd name="T8" fmla="*/ 2147483647 w 68"/>
                  <a:gd name="T9" fmla="*/ 2147483647 h 103"/>
                  <a:gd name="T10" fmla="*/ 2147483647 w 68"/>
                  <a:gd name="T11" fmla="*/ 2147483647 h 103"/>
                  <a:gd name="T12" fmla="*/ 2147483647 w 68"/>
                  <a:gd name="T13" fmla="*/ 2147483647 h 103"/>
                  <a:gd name="T14" fmla="*/ 2147483647 w 68"/>
                  <a:gd name="T15" fmla="*/ 2147483647 h 103"/>
                  <a:gd name="T16" fmla="*/ 2147483647 w 68"/>
                  <a:gd name="T17" fmla="*/ 2147483647 h 103"/>
                  <a:gd name="T18" fmla="*/ 2147483647 w 68"/>
                  <a:gd name="T19" fmla="*/ 2147483647 h 103"/>
                  <a:gd name="T20" fmla="*/ 2147483647 w 68"/>
                  <a:gd name="T21" fmla="*/ 2147483647 h 103"/>
                  <a:gd name="T22" fmla="*/ 2147483647 w 68"/>
                  <a:gd name="T23" fmla="*/ 2147483647 h 103"/>
                  <a:gd name="T24" fmla="*/ 2147483647 w 68"/>
                  <a:gd name="T25" fmla="*/ 2147483647 h 103"/>
                  <a:gd name="T26" fmla="*/ 2147483647 w 68"/>
                  <a:gd name="T27" fmla="*/ 2147483647 h 103"/>
                  <a:gd name="T28" fmla="*/ 2147483647 w 68"/>
                  <a:gd name="T29" fmla="*/ 2147483647 h 103"/>
                  <a:gd name="T30" fmla="*/ 0 w 68"/>
                  <a:gd name="T31" fmla="*/ 2147483647 h 103"/>
                  <a:gd name="T32" fmla="*/ 2147483647 w 68"/>
                  <a:gd name="T33" fmla="*/ 0 h 103"/>
                  <a:gd name="T34" fmla="*/ 2147483647 w 68"/>
                  <a:gd name="T35" fmla="*/ 2147483647 h 103"/>
                  <a:gd name="T36" fmla="*/ 2147483647 w 68"/>
                  <a:gd name="T37" fmla="*/ 2147483647 h 103"/>
                  <a:gd name="T38" fmla="*/ 2147483647 w 68"/>
                  <a:gd name="T39" fmla="*/ 2147483647 h 103"/>
                  <a:gd name="T40" fmla="*/ 2147483647 w 68"/>
                  <a:gd name="T41" fmla="*/ 2147483647 h 103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68" h="103">
                    <a:moveTo>
                      <a:pt x="34" y="59"/>
                    </a:moveTo>
                    <a:cubicBezTo>
                      <a:pt x="48" y="59"/>
                      <a:pt x="50" y="44"/>
                      <a:pt x="50" y="35"/>
                    </a:cubicBezTo>
                    <a:cubicBezTo>
                      <a:pt x="50" y="23"/>
                      <a:pt x="44" y="14"/>
                      <a:pt x="34" y="14"/>
                    </a:cubicBezTo>
                    <a:cubicBezTo>
                      <a:pt x="27" y="14"/>
                      <a:pt x="19" y="19"/>
                      <a:pt x="19" y="35"/>
                    </a:cubicBezTo>
                    <a:cubicBezTo>
                      <a:pt x="19" y="44"/>
                      <a:pt x="20" y="59"/>
                      <a:pt x="34" y="59"/>
                    </a:cubicBezTo>
                    <a:close/>
                    <a:moveTo>
                      <a:pt x="68" y="1"/>
                    </a:moveTo>
                    <a:cubicBezTo>
                      <a:pt x="68" y="71"/>
                      <a:pt x="68" y="71"/>
                      <a:pt x="68" y="71"/>
                    </a:cubicBezTo>
                    <a:cubicBezTo>
                      <a:pt x="68" y="83"/>
                      <a:pt x="67" y="103"/>
                      <a:pt x="32" y="103"/>
                    </a:cubicBezTo>
                    <a:cubicBezTo>
                      <a:pt x="18" y="103"/>
                      <a:pt x="5" y="98"/>
                      <a:pt x="2" y="85"/>
                    </a:cubicBezTo>
                    <a:cubicBezTo>
                      <a:pt x="21" y="82"/>
                      <a:pt x="21" y="82"/>
                      <a:pt x="21" y="82"/>
                    </a:cubicBezTo>
                    <a:cubicBezTo>
                      <a:pt x="22" y="86"/>
                      <a:pt x="24" y="89"/>
                      <a:pt x="35" y="89"/>
                    </a:cubicBezTo>
                    <a:cubicBezTo>
                      <a:pt x="45" y="89"/>
                      <a:pt x="49" y="84"/>
                      <a:pt x="49" y="73"/>
                    </a:cubicBezTo>
                    <a:cubicBezTo>
                      <a:pt x="49" y="65"/>
                      <a:pt x="49" y="65"/>
                      <a:pt x="49" y="65"/>
                    </a:cubicBezTo>
                    <a:cubicBezTo>
                      <a:pt x="49" y="64"/>
                      <a:pt x="49" y="64"/>
                      <a:pt x="49" y="64"/>
                    </a:cubicBezTo>
                    <a:cubicBezTo>
                      <a:pt x="46" y="70"/>
                      <a:pt x="41" y="75"/>
                      <a:pt x="30" y="75"/>
                    </a:cubicBezTo>
                    <a:cubicBezTo>
                      <a:pt x="13" y="75"/>
                      <a:pt x="0" y="63"/>
                      <a:pt x="0" y="38"/>
                    </a:cubicBezTo>
                    <a:cubicBezTo>
                      <a:pt x="0" y="14"/>
                      <a:pt x="14" y="0"/>
                      <a:pt x="29" y="0"/>
                    </a:cubicBezTo>
                    <a:cubicBezTo>
                      <a:pt x="44" y="0"/>
                      <a:pt x="49" y="7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2" y="1"/>
                      <a:pt x="52" y="1"/>
                      <a:pt x="52" y="1"/>
                    </a:cubicBezTo>
                    <a:lnTo>
                      <a:pt x="68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32" name="Freeform 14"/>
              <p:cNvSpPr>
                <a:spLocks noEditPoints="1"/>
              </p:cNvSpPr>
              <p:nvPr userDrawn="1"/>
            </p:nvSpPr>
            <p:spPr bwMode="auto">
              <a:xfrm>
                <a:off x="925513" y="4622801"/>
                <a:ext cx="65088" cy="30163"/>
              </a:xfrm>
              <a:custGeom>
                <a:avLst/>
                <a:gdLst>
                  <a:gd name="T0" fmla="*/ 2147483647 w 41"/>
                  <a:gd name="T1" fmla="*/ 2147483647 h 19"/>
                  <a:gd name="T2" fmla="*/ 2147483647 w 41"/>
                  <a:gd name="T3" fmla="*/ 2147483647 h 19"/>
                  <a:gd name="T4" fmla="*/ 2147483647 w 41"/>
                  <a:gd name="T5" fmla="*/ 2147483647 h 19"/>
                  <a:gd name="T6" fmla="*/ 2147483647 w 41"/>
                  <a:gd name="T7" fmla="*/ 2147483647 h 19"/>
                  <a:gd name="T8" fmla="*/ 2147483647 w 41"/>
                  <a:gd name="T9" fmla="*/ 2147483647 h 19"/>
                  <a:gd name="T10" fmla="*/ 0 w 41"/>
                  <a:gd name="T11" fmla="*/ 2147483647 h 19"/>
                  <a:gd name="T12" fmla="*/ 0 w 41"/>
                  <a:gd name="T13" fmla="*/ 0 h 19"/>
                  <a:gd name="T14" fmla="*/ 2147483647 w 41"/>
                  <a:gd name="T15" fmla="*/ 0 h 19"/>
                  <a:gd name="T16" fmla="*/ 2147483647 w 41"/>
                  <a:gd name="T17" fmla="*/ 2147483647 h 19"/>
                  <a:gd name="T18" fmla="*/ 2147483647 w 41"/>
                  <a:gd name="T19" fmla="*/ 2147483647 h 19"/>
                  <a:gd name="T20" fmla="*/ 2147483647 w 41"/>
                  <a:gd name="T21" fmla="*/ 2147483647 h 19"/>
                  <a:gd name="T22" fmla="*/ 2147483647 w 41"/>
                  <a:gd name="T23" fmla="*/ 2147483647 h 19"/>
                  <a:gd name="T24" fmla="*/ 2147483647 w 41"/>
                  <a:gd name="T25" fmla="*/ 2147483647 h 19"/>
                  <a:gd name="T26" fmla="*/ 2147483647 w 41"/>
                  <a:gd name="T27" fmla="*/ 2147483647 h 19"/>
                  <a:gd name="T28" fmla="*/ 2147483647 w 41"/>
                  <a:gd name="T29" fmla="*/ 2147483647 h 19"/>
                  <a:gd name="T30" fmla="*/ 2147483647 w 41"/>
                  <a:gd name="T31" fmla="*/ 2147483647 h 19"/>
                  <a:gd name="T32" fmla="*/ 2147483647 w 41"/>
                  <a:gd name="T33" fmla="*/ 2147483647 h 19"/>
                  <a:gd name="T34" fmla="*/ 2147483647 w 41"/>
                  <a:gd name="T35" fmla="*/ 2147483647 h 19"/>
                  <a:gd name="T36" fmla="*/ 2147483647 w 41"/>
                  <a:gd name="T37" fmla="*/ 2147483647 h 19"/>
                  <a:gd name="T38" fmla="*/ 2147483647 w 41"/>
                  <a:gd name="T39" fmla="*/ 0 h 19"/>
                  <a:gd name="T40" fmla="*/ 2147483647 w 41"/>
                  <a:gd name="T41" fmla="*/ 0 h 19"/>
                  <a:gd name="T42" fmla="*/ 2147483647 w 41"/>
                  <a:gd name="T43" fmla="*/ 2147483647 h 19"/>
                  <a:gd name="T44" fmla="*/ 2147483647 w 41"/>
                  <a:gd name="T45" fmla="*/ 0 h 19"/>
                  <a:gd name="T46" fmla="*/ 2147483647 w 41"/>
                  <a:gd name="T47" fmla="*/ 0 h 19"/>
                  <a:gd name="T48" fmla="*/ 2147483647 w 41"/>
                  <a:gd name="T49" fmla="*/ 2147483647 h 19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1" h="19">
                    <a:moveTo>
                      <a:pt x="15" y="2"/>
                    </a:moveTo>
                    <a:lnTo>
                      <a:pt x="9" y="2"/>
                    </a:lnTo>
                    <a:lnTo>
                      <a:pt x="9" y="19"/>
                    </a:lnTo>
                    <a:lnTo>
                      <a:pt x="5" y="19"/>
                    </a:lnTo>
                    <a:lnTo>
                      <a:pt x="5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15" y="2"/>
                    </a:lnTo>
                    <a:close/>
                    <a:moveTo>
                      <a:pt x="41" y="19"/>
                    </a:moveTo>
                    <a:lnTo>
                      <a:pt x="38" y="19"/>
                    </a:lnTo>
                    <a:lnTo>
                      <a:pt x="38" y="3"/>
                    </a:lnTo>
                    <a:lnTo>
                      <a:pt x="37" y="3"/>
                    </a:lnTo>
                    <a:lnTo>
                      <a:pt x="31" y="19"/>
                    </a:lnTo>
                    <a:lnTo>
                      <a:pt x="29" y="19"/>
                    </a:lnTo>
                    <a:lnTo>
                      <a:pt x="22" y="3"/>
                    </a:lnTo>
                    <a:lnTo>
                      <a:pt x="22" y="19"/>
                    </a:lnTo>
                    <a:lnTo>
                      <a:pt x="19" y="19"/>
                    </a:lnTo>
                    <a:lnTo>
                      <a:pt x="19" y="0"/>
                    </a:lnTo>
                    <a:lnTo>
                      <a:pt x="24" y="0"/>
                    </a:lnTo>
                    <a:lnTo>
                      <a:pt x="30" y="15"/>
                    </a:lnTo>
                    <a:lnTo>
                      <a:pt x="35" y="0"/>
                    </a:lnTo>
                    <a:lnTo>
                      <a:pt x="41" y="0"/>
                    </a:lnTo>
                    <a:lnTo>
                      <a:pt x="4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</p:grpSp>
        <p:grpSp>
          <p:nvGrpSpPr>
            <p:cNvPr id="8" name="Group 61"/>
            <p:cNvGrpSpPr>
              <a:grpSpLocks/>
            </p:cNvGrpSpPr>
            <p:nvPr userDrawn="1"/>
          </p:nvGrpSpPr>
          <p:grpSpPr bwMode="auto">
            <a:xfrm>
              <a:off x="1173163" y="4383088"/>
              <a:ext cx="1039813" cy="431800"/>
              <a:chOff x="1173163" y="4383088"/>
              <a:chExt cx="1039813" cy="431800"/>
            </a:xfrm>
          </p:grpSpPr>
          <p:sp>
            <p:nvSpPr>
              <p:cNvPr id="9" name="Freeform 15"/>
              <p:cNvSpPr>
                <a:spLocks noEditPoints="1"/>
              </p:cNvSpPr>
              <p:nvPr userDrawn="1"/>
            </p:nvSpPr>
            <p:spPr bwMode="auto">
              <a:xfrm>
                <a:off x="1184275" y="4383088"/>
                <a:ext cx="149225" cy="177800"/>
              </a:xfrm>
              <a:custGeom>
                <a:avLst/>
                <a:gdLst>
                  <a:gd name="T0" fmla="*/ 2147483647 w 116"/>
                  <a:gd name="T1" fmla="*/ 0 h 138"/>
                  <a:gd name="T2" fmla="*/ 2147483647 w 116"/>
                  <a:gd name="T3" fmla="*/ 2147483647 h 138"/>
                  <a:gd name="T4" fmla="*/ 2147483647 w 116"/>
                  <a:gd name="T5" fmla="*/ 2147483647 h 138"/>
                  <a:gd name="T6" fmla="*/ 2147483647 w 116"/>
                  <a:gd name="T7" fmla="*/ 2147483647 h 138"/>
                  <a:gd name="T8" fmla="*/ 2147483647 w 116"/>
                  <a:gd name="T9" fmla="*/ 2147483647 h 138"/>
                  <a:gd name="T10" fmla="*/ 2147483647 w 116"/>
                  <a:gd name="T11" fmla="*/ 2147483647 h 138"/>
                  <a:gd name="T12" fmla="*/ 2147483647 w 116"/>
                  <a:gd name="T13" fmla="*/ 2147483647 h 138"/>
                  <a:gd name="T14" fmla="*/ 2147483647 w 116"/>
                  <a:gd name="T15" fmla="*/ 2147483647 h 138"/>
                  <a:gd name="T16" fmla="*/ 2147483647 w 116"/>
                  <a:gd name="T17" fmla="*/ 2147483647 h 138"/>
                  <a:gd name="T18" fmla="*/ 2147483647 w 116"/>
                  <a:gd name="T19" fmla="*/ 2147483647 h 138"/>
                  <a:gd name="T20" fmla="*/ 2147483647 w 116"/>
                  <a:gd name="T21" fmla="*/ 2147483647 h 138"/>
                  <a:gd name="T22" fmla="*/ 2147483647 w 116"/>
                  <a:gd name="T23" fmla="*/ 2147483647 h 138"/>
                  <a:gd name="T24" fmla="*/ 2147483647 w 116"/>
                  <a:gd name="T25" fmla="*/ 2147483647 h 138"/>
                  <a:gd name="T26" fmla="*/ 0 w 116"/>
                  <a:gd name="T27" fmla="*/ 2147483647 h 138"/>
                  <a:gd name="T28" fmla="*/ 0 w 116"/>
                  <a:gd name="T29" fmla="*/ 0 h 138"/>
                  <a:gd name="T30" fmla="*/ 2147483647 w 116"/>
                  <a:gd name="T31" fmla="*/ 0 h 138"/>
                  <a:gd name="T32" fmla="*/ 2147483647 w 116"/>
                  <a:gd name="T33" fmla="*/ 2147483647 h 138"/>
                  <a:gd name="T34" fmla="*/ 2147483647 w 116"/>
                  <a:gd name="T35" fmla="*/ 2147483647 h 138"/>
                  <a:gd name="T36" fmla="*/ 2147483647 w 116"/>
                  <a:gd name="T37" fmla="*/ 2147483647 h 138"/>
                  <a:gd name="T38" fmla="*/ 2147483647 w 116"/>
                  <a:gd name="T39" fmla="*/ 2147483647 h 138"/>
                  <a:gd name="T40" fmla="*/ 2147483647 w 116"/>
                  <a:gd name="T41" fmla="*/ 2147483647 h 138"/>
                  <a:gd name="T42" fmla="*/ 2147483647 w 116"/>
                  <a:gd name="T43" fmla="*/ 2147483647 h 138"/>
                  <a:gd name="T44" fmla="*/ 2147483647 w 116"/>
                  <a:gd name="T45" fmla="*/ 2147483647 h 138"/>
                  <a:gd name="T46" fmla="*/ 2147483647 w 116"/>
                  <a:gd name="T47" fmla="*/ 2147483647 h 138"/>
                  <a:gd name="T48" fmla="*/ 2147483647 w 116"/>
                  <a:gd name="T49" fmla="*/ 2147483647 h 138"/>
                  <a:gd name="T50" fmla="*/ 2147483647 w 116"/>
                  <a:gd name="T51" fmla="*/ 2147483647 h 138"/>
                  <a:gd name="T52" fmla="*/ 2147483647 w 116"/>
                  <a:gd name="T53" fmla="*/ 2147483647 h 138"/>
                  <a:gd name="T54" fmla="*/ 2147483647 w 116"/>
                  <a:gd name="T55" fmla="*/ 2147483647 h 138"/>
                  <a:gd name="T56" fmla="*/ 2147483647 w 116"/>
                  <a:gd name="T57" fmla="*/ 2147483647 h 138"/>
                  <a:gd name="T58" fmla="*/ 2147483647 w 116"/>
                  <a:gd name="T59" fmla="*/ 2147483647 h 138"/>
                  <a:gd name="T60" fmla="*/ 2147483647 w 116"/>
                  <a:gd name="T61" fmla="*/ 2147483647 h 138"/>
                  <a:gd name="T62" fmla="*/ 2147483647 w 116"/>
                  <a:gd name="T63" fmla="*/ 2147483647 h 138"/>
                  <a:gd name="T64" fmla="*/ 2147483647 w 116"/>
                  <a:gd name="T65" fmla="*/ 2147483647 h 138"/>
                  <a:gd name="T66" fmla="*/ 2147483647 w 116"/>
                  <a:gd name="T67" fmla="*/ 2147483647 h 138"/>
                  <a:gd name="T68" fmla="*/ 2147483647 w 116"/>
                  <a:gd name="T69" fmla="*/ 2147483647 h 138"/>
                  <a:gd name="T70" fmla="*/ 2147483647 w 116"/>
                  <a:gd name="T71" fmla="*/ 2147483647 h 13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116" h="138">
                    <a:moveTo>
                      <a:pt x="65" y="0"/>
                    </a:moveTo>
                    <a:cubicBezTo>
                      <a:pt x="72" y="0"/>
                      <a:pt x="78" y="1"/>
                      <a:pt x="83" y="2"/>
                    </a:cubicBezTo>
                    <a:cubicBezTo>
                      <a:pt x="88" y="3"/>
                      <a:pt x="93" y="5"/>
                      <a:pt x="97" y="7"/>
                    </a:cubicBezTo>
                    <a:cubicBezTo>
                      <a:pt x="101" y="10"/>
                      <a:pt x="104" y="14"/>
                      <a:pt x="106" y="18"/>
                    </a:cubicBezTo>
                    <a:cubicBezTo>
                      <a:pt x="108" y="22"/>
                      <a:pt x="109" y="28"/>
                      <a:pt x="109" y="34"/>
                    </a:cubicBezTo>
                    <a:cubicBezTo>
                      <a:pt x="109" y="41"/>
                      <a:pt x="107" y="47"/>
                      <a:pt x="104" y="52"/>
                    </a:cubicBezTo>
                    <a:cubicBezTo>
                      <a:pt x="101" y="56"/>
                      <a:pt x="96" y="60"/>
                      <a:pt x="90" y="63"/>
                    </a:cubicBezTo>
                    <a:cubicBezTo>
                      <a:pt x="99" y="66"/>
                      <a:pt x="105" y="70"/>
                      <a:pt x="109" y="76"/>
                    </a:cubicBezTo>
                    <a:cubicBezTo>
                      <a:pt x="114" y="82"/>
                      <a:pt x="116" y="89"/>
                      <a:pt x="116" y="98"/>
                    </a:cubicBezTo>
                    <a:cubicBezTo>
                      <a:pt x="116" y="105"/>
                      <a:pt x="114" y="111"/>
                      <a:pt x="112" y="116"/>
                    </a:cubicBezTo>
                    <a:cubicBezTo>
                      <a:pt x="109" y="121"/>
                      <a:pt x="105" y="126"/>
                      <a:pt x="101" y="129"/>
                    </a:cubicBezTo>
                    <a:cubicBezTo>
                      <a:pt x="96" y="132"/>
                      <a:pt x="91" y="134"/>
                      <a:pt x="85" y="136"/>
                    </a:cubicBezTo>
                    <a:cubicBezTo>
                      <a:pt x="79" y="137"/>
                      <a:pt x="73" y="138"/>
                      <a:pt x="67" y="138"/>
                    </a:cubicBezTo>
                    <a:cubicBezTo>
                      <a:pt x="0" y="138"/>
                      <a:pt x="0" y="138"/>
                      <a:pt x="0" y="138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65" y="0"/>
                    </a:lnTo>
                    <a:close/>
                    <a:moveTo>
                      <a:pt x="61" y="56"/>
                    </a:moveTo>
                    <a:cubicBezTo>
                      <a:pt x="66" y="56"/>
                      <a:pt x="71" y="55"/>
                      <a:pt x="74" y="52"/>
                    </a:cubicBezTo>
                    <a:cubicBezTo>
                      <a:pt x="78" y="49"/>
                      <a:pt x="80" y="45"/>
                      <a:pt x="80" y="39"/>
                    </a:cubicBezTo>
                    <a:cubicBezTo>
                      <a:pt x="80" y="36"/>
                      <a:pt x="79" y="34"/>
                      <a:pt x="78" y="32"/>
                    </a:cubicBezTo>
                    <a:cubicBezTo>
                      <a:pt x="77" y="29"/>
                      <a:pt x="75" y="28"/>
                      <a:pt x="73" y="27"/>
                    </a:cubicBezTo>
                    <a:cubicBezTo>
                      <a:pt x="71" y="26"/>
                      <a:pt x="69" y="25"/>
                      <a:pt x="67" y="24"/>
                    </a:cubicBezTo>
                    <a:cubicBezTo>
                      <a:pt x="64" y="24"/>
                      <a:pt x="61" y="24"/>
                      <a:pt x="59" y="24"/>
                    </a:cubicBezTo>
                    <a:cubicBezTo>
                      <a:pt x="30" y="24"/>
                      <a:pt x="30" y="24"/>
                      <a:pt x="30" y="24"/>
                    </a:cubicBezTo>
                    <a:cubicBezTo>
                      <a:pt x="30" y="56"/>
                      <a:pt x="30" y="56"/>
                      <a:pt x="30" y="56"/>
                    </a:cubicBezTo>
                    <a:lnTo>
                      <a:pt x="61" y="56"/>
                    </a:lnTo>
                    <a:close/>
                    <a:moveTo>
                      <a:pt x="63" y="115"/>
                    </a:moveTo>
                    <a:cubicBezTo>
                      <a:pt x="66" y="115"/>
                      <a:pt x="69" y="114"/>
                      <a:pt x="71" y="114"/>
                    </a:cubicBezTo>
                    <a:cubicBezTo>
                      <a:pt x="74" y="113"/>
                      <a:pt x="76" y="112"/>
                      <a:pt x="78" y="111"/>
                    </a:cubicBezTo>
                    <a:cubicBezTo>
                      <a:pt x="81" y="109"/>
                      <a:pt x="82" y="108"/>
                      <a:pt x="83" y="105"/>
                    </a:cubicBezTo>
                    <a:cubicBezTo>
                      <a:pt x="85" y="103"/>
                      <a:pt x="85" y="100"/>
                      <a:pt x="85" y="96"/>
                    </a:cubicBezTo>
                    <a:cubicBezTo>
                      <a:pt x="85" y="89"/>
                      <a:pt x="83" y="84"/>
                      <a:pt x="79" y="81"/>
                    </a:cubicBezTo>
                    <a:cubicBezTo>
                      <a:pt x="75" y="78"/>
                      <a:pt x="70" y="77"/>
                      <a:pt x="63" y="77"/>
                    </a:cubicBezTo>
                    <a:cubicBezTo>
                      <a:pt x="30" y="77"/>
                      <a:pt x="30" y="77"/>
                      <a:pt x="30" y="77"/>
                    </a:cubicBezTo>
                    <a:cubicBezTo>
                      <a:pt x="30" y="115"/>
                      <a:pt x="30" y="115"/>
                      <a:pt x="30" y="115"/>
                    </a:cubicBezTo>
                    <a:lnTo>
                      <a:pt x="63" y="11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0" name="Freeform 16"/>
              <p:cNvSpPr>
                <a:spLocks/>
              </p:cNvSpPr>
              <p:nvPr userDrawn="1"/>
            </p:nvSpPr>
            <p:spPr bwMode="auto">
              <a:xfrm>
                <a:off x="1352550" y="4432301"/>
                <a:ext cx="120650" cy="131763"/>
              </a:xfrm>
              <a:custGeom>
                <a:avLst/>
                <a:gdLst>
                  <a:gd name="T0" fmla="*/ 2147483647 w 94"/>
                  <a:gd name="T1" fmla="*/ 2147483647 h 103"/>
                  <a:gd name="T2" fmla="*/ 2147483647 w 94"/>
                  <a:gd name="T3" fmla="*/ 2147483647 h 103"/>
                  <a:gd name="T4" fmla="*/ 2147483647 w 94"/>
                  <a:gd name="T5" fmla="*/ 2147483647 h 103"/>
                  <a:gd name="T6" fmla="*/ 2147483647 w 94"/>
                  <a:gd name="T7" fmla="*/ 2147483647 h 103"/>
                  <a:gd name="T8" fmla="*/ 2147483647 w 94"/>
                  <a:gd name="T9" fmla="*/ 2147483647 h 103"/>
                  <a:gd name="T10" fmla="*/ 2147483647 w 94"/>
                  <a:gd name="T11" fmla="*/ 2147483647 h 103"/>
                  <a:gd name="T12" fmla="*/ 2147483647 w 94"/>
                  <a:gd name="T13" fmla="*/ 2147483647 h 103"/>
                  <a:gd name="T14" fmla="*/ 2147483647 w 94"/>
                  <a:gd name="T15" fmla="*/ 2147483647 h 103"/>
                  <a:gd name="T16" fmla="*/ 0 w 94"/>
                  <a:gd name="T17" fmla="*/ 2147483647 h 103"/>
                  <a:gd name="T18" fmla="*/ 0 w 94"/>
                  <a:gd name="T19" fmla="*/ 0 h 103"/>
                  <a:gd name="T20" fmla="*/ 2147483647 w 94"/>
                  <a:gd name="T21" fmla="*/ 0 h 103"/>
                  <a:gd name="T22" fmla="*/ 2147483647 w 94"/>
                  <a:gd name="T23" fmla="*/ 2147483647 h 103"/>
                  <a:gd name="T24" fmla="*/ 2147483647 w 94"/>
                  <a:gd name="T25" fmla="*/ 2147483647 h 103"/>
                  <a:gd name="T26" fmla="*/ 2147483647 w 94"/>
                  <a:gd name="T27" fmla="*/ 2147483647 h 103"/>
                  <a:gd name="T28" fmla="*/ 2147483647 w 94"/>
                  <a:gd name="T29" fmla="*/ 2147483647 h 103"/>
                  <a:gd name="T30" fmla="*/ 2147483647 w 94"/>
                  <a:gd name="T31" fmla="*/ 2147483647 h 103"/>
                  <a:gd name="T32" fmla="*/ 2147483647 w 94"/>
                  <a:gd name="T33" fmla="*/ 0 h 103"/>
                  <a:gd name="T34" fmla="*/ 2147483647 w 94"/>
                  <a:gd name="T35" fmla="*/ 0 h 103"/>
                  <a:gd name="T36" fmla="*/ 2147483647 w 94"/>
                  <a:gd name="T37" fmla="*/ 2147483647 h 103"/>
                  <a:gd name="T38" fmla="*/ 2147483647 w 94"/>
                  <a:gd name="T39" fmla="*/ 2147483647 h 10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94" h="103">
                    <a:moveTo>
                      <a:pt x="68" y="100"/>
                    </a:moveTo>
                    <a:cubicBezTo>
                      <a:pt x="68" y="86"/>
                      <a:pt x="68" y="86"/>
                      <a:pt x="68" y="86"/>
                    </a:cubicBezTo>
                    <a:cubicBezTo>
                      <a:pt x="67" y="86"/>
                      <a:pt x="67" y="86"/>
                      <a:pt x="67" y="86"/>
                    </a:cubicBezTo>
                    <a:cubicBezTo>
                      <a:pt x="64" y="92"/>
                      <a:pt x="59" y="96"/>
                      <a:pt x="53" y="99"/>
                    </a:cubicBezTo>
                    <a:cubicBezTo>
                      <a:pt x="48" y="101"/>
                      <a:pt x="42" y="103"/>
                      <a:pt x="36" y="103"/>
                    </a:cubicBezTo>
                    <a:cubicBezTo>
                      <a:pt x="29" y="103"/>
                      <a:pt x="23" y="102"/>
                      <a:pt x="18" y="100"/>
                    </a:cubicBezTo>
                    <a:cubicBezTo>
                      <a:pt x="14" y="98"/>
                      <a:pt x="10" y="95"/>
                      <a:pt x="7" y="92"/>
                    </a:cubicBezTo>
                    <a:cubicBezTo>
                      <a:pt x="4" y="88"/>
                      <a:pt x="3" y="84"/>
                      <a:pt x="1" y="79"/>
                    </a:cubicBezTo>
                    <a:cubicBezTo>
                      <a:pt x="0" y="74"/>
                      <a:pt x="0" y="68"/>
                      <a:pt x="0" y="6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27" y="57"/>
                      <a:pt x="27" y="57"/>
                      <a:pt x="27" y="57"/>
                    </a:cubicBezTo>
                    <a:cubicBezTo>
                      <a:pt x="27" y="65"/>
                      <a:pt x="29" y="71"/>
                      <a:pt x="31" y="75"/>
                    </a:cubicBezTo>
                    <a:cubicBezTo>
                      <a:pt x="34" y="79"/>
                      <a:pt x="38" y="81"/>
                      <a:pt x="45" y="81"/>
                    </a:cubicBezTo>
                    <a:cubicBezTo>
                      <a:pt x="52" y="81"/>
                      <a:pt x="58" y="79"/>
                      <a:pt x="61" y="75"/>
                    </a:cubicBezTo>
                    <a:cubicBezTo>
                      <a:pt x="65" y="70"/>
                      <a:pt x="66" y="63"/>
                      <a:pt x="66" y="53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94" y="0"/>
                      <a:pt x="94" y="0"/>
                      <a:pt x="94" y="0"/>
                    </a:cubicBezTo>
                    <a:cubicBezTo>
                      <a:pt x="94" y="100"/>
                      <a:pt x="94" y="100"/>
                      <a:pt x="94" y="100"/>
                    </a:cubicBezTo>
                    <a:lnTo>
                      <a:pt x="68" y="10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1" name="Freeform 17"/>
              <p:cNvSpPr>
                <a:spLocks/>
              </p:cNvSpPr>
              <p:nvPr userDrawn="1"/>
            </p:nvSpPr>
            <p:spPr bwMode="auto">
              <a:xfrm>
                <a:off x="1489075" y="4427538"/>
                <a:ext cx="120650" cy="136525"/>
              </a:xfrm>
              <a:custGeom>
                <a:avLst/>
                <a:gdLst>
                  <a:gd name="T0" fmla="*/ 2147483647 w 93"/>
                  <a:gd name="T1" fmla="*/ 2147483647 h 106"/>
                  <a:gd name="T2" fmla="*/ 2147483647 w 93"/>
                  <a:gd name="T3" fmla="*/ 2147483647 h 106"/>
                  <a:gd name="T4" fmla="*/ 2147483647 w 93"/>
                  <a:gd name="T5" fmla="*/ 2147483647 h 106"/>
                  <a:gd name="T6" fmla="*/ 2147483647 w 93"/>
                  <a:gd name="T7" fmla="*/ 2147483647 h 106"/>
                  <a:gd name="T8" fmla="*/ 2147483647 w 93"/>
                  <a:gd name="T9" fmla="*/ 2147483647 h 106"/>
                  <a:gd name="T10" fmla="*/ 2147483647 w 93"/>
                  <a:gd name="T11" fmla="*/ 2147483647 h 106"/>
                  <a:gd name="T12" fmla="*/ 2147483647 w 93"/>
                  <a:gd name="T13" fmla="*/ 2147483647 h 106"/>
                  <a:gd name="T14" fmla="*/ 2147483647 w 93"/>
                  <a:gd name="T15" fmla="*/ 2147483647 h 106"/>
                  <a:gd name="T16" fmla="*/ 2147483647 w 93"/>
                  <a:gd name="T17" fmla="*/ 2147483647 h 106"/>
                  <a:gd name="T18" fmla="*/ 2147483647 w 93"/>
                  <a:gd name="T19" fmla="*/ 2147483647 h 106"/>
                  <a:gd name="T20" fmla="*/ 2147483647 w 93"/>
                  <a:gd name="T21" fmla="*/ 2147483647 h 106"/>
                  <a:gd name="T22" fmla="*/ 2147483647 w 93"/>
                  <a:gd name="T23" fmla="*/ 2147483647 h 106"/>
                  <a:gd name="T24" fmla="*/ 2147483647 w 93"/>
                  <a:gd name="T25" fmla="*/ 2147483647 h 106"/>
                  <a:gd name="T26" fmla="*/ 2147483647 w 93"/>
                  <a:gd name="T27" fmla="*/ 2147483647 h 106"/>
                  <a:gd name="T28" fmla="*/ 2147483647 w 93"/>
                  <a:gd name="T29" fmla="*/ 2147483647 h 106"/>
                  <a:gd name="T30" fmla="*/ 2147483647 w 93"/>
                  <a:gd name="T31" fmla="*/ 2147483647 h 106"/>
                  <a:gd name="T32" fmla="*/ 2147483647 w 93"/>
                  <a:gd name="T33" fmla="*/ 2147483647 h 106"/>
                  <a:gd name="T34" fmla="*/ 2147483647 w 93"/>
                  <a:gd name="T35" fmla="*/ 0 h 106"/>
                  <a:gd name="T36" fmla="*/ 2147483647 w 93"/>
                  <a:gd name="T37" fmla="*/ 2147483647 h 106"/>
                  <a:gd name="T38" fmla="*/ 2147483647 w 93"/>
                  <a:gd name="T39" fmla="*/ 2147483647 h 106"/>
                  <a:gd name="T40" fmla="*/ 2147483647 w 93"/>
                  <a:gd name="T41" fmla="*/ 2147483647 h 106"/>
                  <a:gd name="T42" fmla="*/ 2147483647 w 93"/>
                  <a:gd name="T43" fmla="*/ 2147483647 h 106"/>
                  <a:gd name="T44" fmla="*/ 2147483647 w 93"/>
                  <a:gd name="T45" fmla="*/ 2147483647 h 106"/>
                  <a:gd name="T46" fmla="*/ 2147483647 w 93"/>
                  <a:gd name="T47" fmla="*/ 2147483647 h 106"/>
                  <a:gd name="T48" fmla="*/ 2147483647 w 93"/>
                  <a:gd name="T49" fmla="*/ 2147483647 h 106"/>
                  <a:gd name="T50" fmla="*/ 2147483647 w 93"/>
                  <a:gd name="T51" fmla="*/ 2147483647 h 106"/>
                  <a:gd name="T52" fmla="*/ 2147483647 w 93"/>
                  <a:gd name="T53" fmla="*/ 2147483647 h 106"/>
                  <a:gd name="T54" fmla="*/ 2147483647 w 93"/>
                  <a:gd name="T55" fmla="*/ 2147483647 h 106"/>
                  <a:gd name="T56" fmla="*/ 2147483647 w 93"/>
                  <a:gd name="T57" fmla="*/ 2147483647 h 106"/>
                  <a:gd name="T58" fmla="*/ 2147483647 w 93"/>
                  <a:gd name="T59" fmla="*/ 2147483647 h 106"/>
                  <a:gd name="T60" fmla="*/ 2147483647 w 93"/>
                  <a:gd name="T61" fmla="*/ 2147483647 h 106"/>
                  <a:gd name="T62" fmla="*/ 2147483647 w 93"/>
                  <a:gd name="T63" fmla="*/ 2147483647 h 106"/>
                  <a:gd name="T64" fmla="*/ 2147483647 w 93"/>
                  <a:gd name="T65" fmla="*/ 2147483647 h 106"/>
                  <a:gd name="T66" fmla="*/ 2147483647 w 93"/>
                  <a:gd name="T67" fmla="*/ 2147483647 h 106"/>
                  <a:gd name="T68" fmla="*/ 2147483647 w 93"/>
                  <a:gd name="T69" fmla="*/ 2147483647 h 106"/>
                  <a:gd name="T70" fmla="*/ 2147483647 w 93"/>
                  <a:gd name="T71" fmla="*/ 2147483647 h 106"/>
                  <a:gd name="T72" fmla="*/ 2147483647 w 93"/>
                  <a:gd name="T73" fmla="*/ 2147483647 h 106"/>
                  <a:gd name="T74" fmla="*/ 2147483647 w 93"/>
                  <a:gd name="T75" fmla="*/ 2147483647 h 106"/>
                  <a:gd name="T76" fmla="*/ 2147483647 w 93"/>
                  <a:gd name="T77" fmla="*/ 2147483647 h 106"/>
                  <a:gd name="T78" fmla="*/ 2147483647 w 93"/>
                  <a:gd name="T79" fmla="*/ 2147483647 h 106"/>
                  <a:gd name="T80" fmla="*/ 2147483647 w 93"/>
                  <a:gd name="T81" fmla="*/ 2147483647 h 106"/>
                  <a:gd name="T82" fmla="*/ 2147483647 w 93"/>
                  <a:gd name="T83" fmla="*/ 2147483647 h 106"/>
                  <a:gd name="T84" fmla="*/ 2147483647 w 93"/>
                  <a:gd name="T85" fmla="*/ 2147483647 h 106"/>
                  <a:gd name="T86" fmla="*/ 2147483647 w 93"/>
                  <a:gd name="T87" fmla="*/ 2147483647 h 106"/>
                  <a:gd name="T88" fmla="*/ 0 w 93"/>
                  <a:gd name="T89" fmla="*/ 2147483647 h 106"/>
                  <a:gd name="T90" fmla="*/ 2147483647 w 93"/>
                  <a:gd name="T91" fmla="*/ 2147483647 h 106"/>
                  <a:gd name="T92" fmla="*/ 2147483647 w 93"/>
                  <a:gd name="T93" fmla="*/ 2147483647 h 10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93" h="106">
                    <a:moveTo>
                      <a:pt x="28" y="78"/>
                    </a:moveTo>
                    <a:cubicBezTo>
                      <a:pt x="29" y="80"/>
                      <a:pt x="31" y="82"/>
                      <a:pt x="33" y="84"/>
                    </a:cubicBezTo>
                    <a:cubicBezTo>
                      <a:pt x="35" y="85"/>
                      <a:pt x="37" y="86"/>
                      <a:pt x="40" y="87"/>
                    </a:cubicBezTo>
                    <a:cubicBezTo>
                      <a:pt x="42" y="87"/>
                      <a:pt x="45" y="88"/>
                      <a:pt x="47" y="88"/>
                    </a:cubicBezTo>
                    <a:cubicBezTo>
                      <a:pt x="49" y="88"/>
                      <a:pt x="51" y="87"/>
                      <a:pt x="54" y="87"/>
                    </a:cubicBezTo>
                    <a:cubicBezTo>
                      <a:pt x="56" y="86"/>
                      <a:pt x="58" y="86"/>
                      <a:pt x="59" y="85"/>
                    </a:cubicBezTo>
                    <a:cubicBezTo>
                      <a:pt x="61" y="84"/>
                      <a:pt x="63" y="82"/>
                      <a:pt x="64" y="81"/>
                    </a:cubicBezTo>
                    <a:cubicBezTo>
                      <a:pt x="65" y="79"/>
                      <a:pt x="65" y="77"/>
                      <a:pt x="65" y="75"/>
                    </a:cubicBezTo>
                    <a:cubicBezTo>
                      <a:pt x="65" y="71"/>
                      <a:pt x="63" y="68"/>
                      <a:pt x="57" y="65"/>
                    </a:cubicBezTo>
                    <a:cubicBezTo>
                      <a:pt x="52" y="63"/>
                      <a:pt x="44" y="61"/>
                      <a:pt x="34" y="59"/>
                    </a:cubicBezTo>
                    <a:cubicBezTo>
                      <a:pt x="30" y="58"/>
                      <a:pt x="26" y="57"/>
                      <a:pt x="23" y="56"/>
                    </a:cubicBezTo>
                    <a:cubicBezTo>
                      <a:pt x="19" y="55"/>
                      <a:pt x="15" y="53"/>
                      <a:pt x="12" y="51"/>
                    </a:cubicBezTo>
                    <a:cubicBezTo>
                      <a:pt x="9" y="49"/>
                      <a:pt x="7" y="47"/>
                      <a:pt x="5" y="44"/>
                    </a:cubicBezTo>
                    <a:cubicBezTo>
                      <a:pt x="3" y="41"/>
                      <a:pt x="3" y="37"/>
                      <a:pt x="3" y="33"/>
                    </a:cubicBezTo>
                    <a:cubicBezTo>
                      <a:pt x="3" y="26"/>
                      <a:pt x="4" y="21"/>
                      <a:pt x="6" y="17"/>
                    </a:cubicBezTo>
                    <a:cubicBezTo>
                      <a:pt x="9" y="13"/>
                      <a:pt x="12" y="9"/>
                      <a:pt x="16" y="7"/>
                    </a:cubicBezTo>
                    <a:cubicBezTo>
                      <a:pt x="20" y="4"/>
                      <a:pt x="25" y="3"/>
                      <a:pt x="30" y="2"/>
                    </a:cubicBezTo>
                    <a:cubicBezTo>
                      <a:pt x="35" y="1"/>
                      <a:pt x="41" y="0"/>
                      <a:pt x="46" y="0"/>
                    </a:cubicBezTo>
                    <a:cubicBezTo>
                      <a:pt x="52" y="0"/>
                      <a:pt x="57" y="1"/>
                      <a:pt x="62" y="2"/>
                    </a:cubicBezTo>
                    <a:cubicBezTo>
                      <a:pt x="67" y="3"/>
                      <a:pt x="72" y="5"/>
                      <a:pt x="76" y="7"/>
                    </a:cubicBezTo>
                    <a:cubicBezTo>
                      <a:pt x="80" y="10"/>
                      <a:pt x="83" y="13"/>
                      <a:pt x="86" y="17"/>
                    </a:cubicBezTo>
                    <a:cubicBezTo>
                      <a:pt x="88" y="21"/>
                      <a:pt x="90" y="26"/>
                      <a:pt x="90" y="32"/>
                    </a:cubicBezTo>
                    <a:cubicBezTo>
                      <a:pt x="64" y="32"/>
                      <a:pt x="64" y="32"/>
                      <a:pt x="64" y="32"/>
                    </a:cubicBezTo>
                    <a:cubicBezTo>
                      <a:pt x="64" y="27"/>
                      <a:pt x="62" y="23"/>
                      <a:pt x="58" y="22"/>
                    </a:cubicBezTo>
                    <a:cubicBezTo>
                      <a:pt x="54" y="20"/>
                      <a:pt x="50" y="19"/>
                      <a:pt x="45" y="19"/>
                    </a:cubicBezTo>
                    <a:cubicBezTo>
                      <a:pt x="44" y="19"/>
                      <a:pt x="42" y="19"/>
                      <a:pt x="40" y="19"/>
                    </a:cubicBezTo>
                    <a:cubicBezTo>
                      <a:pt x="38" y="19"/>
                      <a:pt x="37" y="20"/>
                      <a:pt x="35" y="20"/>
                    </a:cubicBezTo>
                    <a:cubicBezTo>
                      <a:pt x="34" y="21"/>
                      <a:pt x="33" y="22"/>
                      <a:pt x="32" y="23"/>
                    </a:cubicBezTo>
                    <a:cubicBezTo>
                      <a:pt x="31" y="24"/>
                      <a:pt x="30" y="26"/>
                      <a:pt x="30" y="28"/>
                    </a:cubicBezTo>
                    <a:cubicBezTo>
                      <a:pt x="30" y="31"/>
                      <a:pt x="31" y="33"/>
                      <a:pt x="33" y="34"/>
                    </a:cubicBezTo>
                    <a:cubicBezTo>
                      <a:pt x="35" y="36"/>
                      <a:pt x="37" y="37"/>
                      <a:pt x="40" y="38"/>
                    </a:cubicBezTo>
                    <a:cubicBezTo>
                      <a:pt x="43" y="39"/>
                      <a:pt x="46" y="40"/>
                      <a:pt x="50" y="40"/>
                    </a:cubicBezTo>
                    <a:cubicBezTo>
                      <a:pt x="54" y="41"/>
                      <a:pt x="57" y="42"/>
                      <a:pt x="61" y="43"/>
                    </a:cubicBezTo>
                    <a:cubicBezTo>
                      <a:pt x="65" y="44"/>
                      <a:pt x="69" y="45"/>
                      <a:pt x="73" y="46"/>
                    </a:cubicBezTo>
                    <a:cubicBezTo>
                      <a:pt x="77" y="48"/>
                      <a:pt x="80" y="49"/>
                      <a:pt x="83" y="51"/>
                    </a:cubicBezTo>
                    <a:cubicBezTo>
                      <a:pt x="86" y="54"/>
                      <a:pt x="88" y="56"/>
                      <a:pt x="90" y="59"/>
                    </a:cubicBezTo>
                    <a:cubicBezTo>
                      <a:pt x="92" y="63"/>
                      <a:pt x="93" y="66"/>
                      <a:pt x="93" y="71"/>
                    </a:cubicBezTo>
                    <a:cubicBezTo>
                      <a:pt x="93" y="78"/>
                      <a:pt x="92" y="83"/>
                      <a:pt x="89" y="88"/>
                    </a:cubicBezTo>
                    <a:cubicBezTo>
                      <a:pt x="86" y="92"/>
                      <a:pt x="83" y="96"/>
                      <a:pt x="79" y="98"/>
                    </a:cubicBezTo>
                    <a:cubicBezTo>
                      <a:pt x="74" y="101"/>
                      <a:pt x="69" y="103"/>
                      <a:pt x="64" y="104"/>
                    </a:cubicBezTo>
                    <a:cubicBezTo>
                      <a:pt x="59" y="105"/>
                      <a:pt x="53" y="106"/>
                      <a:pt x="47" y="106"/>
                    </a:cubicBezTo>
                    <a:cubicBezTo>
                      <a:pt x="41" y="106"/>
                      <a:pt x="36" y="105"/>
                      <a:pt x="30" y="104"/>
                    </a:cubicBezTo>
                    <a:cubicBezTo>
                      <a:pt x="25" y="103"/>
                      <a:pt x="20" y="101"/>
                      <a:pt x="15" y="98"/>
                    </a:cubicBezTo>
                    <a:cubicBezTo>
                      <a:pt x="11" y="95"/>
                      <a:pt x="8" y="92"/>
                      <a:pt x="5" y="87"/>
                    </a:cubicBezTo>
                    <a:cubicBezTo>
                      <a:pt x="2" y="83"/>
                      <a:pt x="0" y="77"/>
                      <a:pt x="0" y="71"/>
                    </a:cubicBezTo>
                    <a:cubicBezTo>
                      <a:pt x="26" y="71"/>
                      <a:pt x="26" y="71"/>
                      <a:pt x="26" y="71"/>
                    </a:cubicBezTo>
                    <a:cubicBezTo>
                      <a:pt x="26" y="74"/>
                      <a:pt x="27" y="76"/>
                      <a:pt x="28" y="7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" name="Freeform 18"/>
              <p:cNvSpPr>
                <a:spLocks noEditPoints="1"/>
              </p:cNvSpPr>
              <p:nvPr userDrawn="1"/>
            </p:nvSpPr>
            <p:spPr bwMode="auto">
              <a:xfrm>
                <a:off x="1627188" y="4383088"/>
                <a:ext cx="36513" cy="177800"/>
              </a:xfrm>
              <a:custGeom>
                <a:avLst/>
                <a:gdLst>
                  <a:gd name="T0" fmla="*/ 0 w 23"/>
                  <a:gd name="T1" fmla="*/ 2147483647 h 112"/>
                  <a:gd name="T2" fmla="*/ 0 w 23"/>
                  <a:gd name="T3" fmla="*/ 0 h 112"/>
                  <a:gd name="T4" fmla="*/ 2147483647 w 23"/>
                  <a:gd name="T5" fmla="*/ 0 h 112"/>
                  <a:gd name="T6" fmla="*/ 2147483647 w 23"/>
                  <a:gd name="T7" fmla="*/ 2147483647 h 112"/>
                  <a:gd name="T8" fmla="*/ 0 w 23"/>
                  <a:gd name="T9" fmla="*/ 2147483647 h 112"/>
                  <a:gd name="T10" fmla="*/ 2147483647 w 23"/>
                  <a:gd name="T11" fmla="*/ 2147483647 h 112"/>
                  <a:gd name="T12" fmla="*/ 2147483647 w 23"/>
                  <a:gd name="T13" fmla="*/ 2147483647 h 112"/>
                  <a:gd name="T14" fmla="*/ 0 w 23"/>
                  <a:gd name="T15" fmla="*/ 2147483647 h 112"/>
                  <a:gd name="T16" fmla="*/ 0 w 23"/>
                  <a:gd name="T17" fmla="*/ 2147483647 h 112"/>
                  <a:gd name="T18" fmla="*/ 2147483647 w 23"/>
                  <a:gd name="T19" fmla="*/ 2147483647 h 11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3" h="112">
                    <a:moveTo>
                      <a:pt x="0" y="18"/>
                    </a:moveTo>
                    <a:lnTo>
                      <a:pt x="0" y="0"/>
                    </a:lnTo>
                    <a:lnTo>
                      <a:pt x="23" y="0"/>
                    </a:lnTo>
                    <a:lnTo>
                      <a:pt x="23" y="18"/>
                    </a:lnTo>
                    <a:lnTo>
                      <a:pt x="0" y="18"/>
                    </a:lnTo>
                    <a:close/>
                    <a:moveTo>
                      <a:pt x="23" y="31"/>
                    </a:moveTo>
                    <a:lnTo>
                      <a:pt x="23" y="112"/>
                    </a:lnTo>
                    <a:lnTo>
                      <a:pt x="0" y="112"/>
                    </a:lnTo>
                    <a:lnTo>
                      <a:pt x="0" y="31"/>
                    </a:lnTo>
                    <a:lnTo>
                      <a:pt x="23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3" name="Freeform 19"/>
              <p:cNvSpPr>
                <a:spLocks/>
              </p:cNvSpPr>
              <p:nvPr userDrawn="1"/>
            </p:nvSpPr>
            <p:spPr bwMode="auto">
              <a:xfrm>
                <a:off x="1685925" y="4427538"/>
                <a:ext cx="122238" cy="133350"/>
              </a:xfrm>
              <a:custGeom>
                <a:avLst/>
                <a:gdLst>
                  <a:gd name="T0" fmla="*/ 2147483647 w 94"/>
                  <a:gd name="T1" fmla="*/ 2147483647 h 103"/>
                  <a:gd name="T2" fmla="*/ 2147483647 w 94"/>
                  <a:gd name="T3" fmla="*/ 2147483647 h 103"/>
                  <a:gd name="T4" fmla="*/ 2147483647 w 94"/>
                  <a:gd name="T5" fmla="*/ 2147483647 h 103"/>
                  <a:gd name="T6" fmla="*/ 2147483647 w 94"/>
                  <a:gd name="T7" fmla="*/ 2147483647 h 103"/>
                  <a:gd name="T8" fmla="*/ 2147483647 w 94"/>
                  <a:gd name="T9" fmla="*/ 0 h 103"/>
                  <a:gd name="T10" fmla="*/ 2147483647 w 94"/>
                  <a:gd name="T11" fmla="*/ 2147483647 h 103"/>
                  <a:gd name="T12" fmla="*/ 2147483647 w 94"/>
                  <a:gd name="T13" fmla="*/ 2147483647 h 103"/>
                  <a:gd name="T14" fmla="*/ 2147483647 w 94"/>
                  <a:gd name="T15" fmla="*/ 2147483647 h 103"/>
                  <a:gd name="T16" fmla="*/ 2147483647 w 94"/>
                  <a:gd name="T17" fmla="*/ 2147483647 h 103"/>
                  <a:gd name="T18" fmla="*/ 2147483647 w 94"/>
                  <a:gd name="T19" fmla="*/ 2147483647 h 103"/>
                  <a:gd name="T20" fmla="*/ 2147483647 w 94"/>
                  <a:gd name="T21" fmla="*/ 2147483647 h 103"/>
                  <a:gd name="T22" fmla="*/ 2147483647 w 94"/>
                  <a:gd name="T23" fmla="*/ 2147483647 h 103"/>
                  <a:gd name="T24" fmla="*/ 2147483647 w 94"/>
                  <a:gd name="T25" fmla="*/ 2147483647 h 103"/>
                  <a:gd name="T26" fmla="*/ 2147483647 w 94"/>
                  <a:gd name="T27" fmla="*/ 2147483647 h 103"/>
                  <a:gd name="T28" fmla="*/ 2147483647 w 94"/>
                  <a:gd name="T29" fmla="*/ 2147483647 h 103"/>
                  <a:gd name="T30" fmla="*/ 2147483647 w 94"/>
                  <a:gd name="T31" fmla="*/ 2147483647 h 103"/>
                  <a:gd name="T32" fmla="*/ 2147483647 w 94"/>
                  <a:gd name="T33" fmla="*/ 2147483647 h 103"/>
                  <a:gd name="T34" fmla="*/ 0 w 94"/>
                  <a:gd name="T35" fmla="*/ 2147483647 h 103"/>
                  <a:gd name="T36" fmla="*/ 0 w 94"/>
                  <a:gd name="T37" fmla="*/ 2147483647 h 103"/>
                  <a:gd name="T38" fmla="*/ 2147483647 w 94"/>
                  <a:gd name="T39" fmla="*/ 2147483647 h 10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94" h="103">
                    <a:moveTo>
                      <a:pt x="26" y="3"/>
                    </a:move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7"/>
                      <a:pt x="27" y="17"/>
                      <a:pt x="27" y="17"/>
                    </a:cubicBezTo>
                    <a:cubicBezTo>
                      <a:pt x="30" y="11"/>
                      <a:pt x="35" y="7"/>
                      <a:pt x="40" y="4"/>
                    </a:cubicBezTo>
                    <a:cubicBezTo>
                      <a:pt x="46" y="2"/>
                      <a:pt x="52" y="0"/>
                      <a:pt x="57" y="0"/>
                    </a:cubicBezTo>
                    <a:cubicBezTo>
                      <a:pt x="65" y="0"/>
                      <a:pt x="71" y="1"/>
                      <a:pt x="76" y="3"/>
                    </a:cubicBezTo>
                    <a:cubicBezTo>
                      <a:pt x="80" y="5"/>
                      <a:pt x="84" y="8"/>
                      <a:pt x="87" y="12"/>
                    </a:cubicBezTo>
                    <a:cubicBezTo>
                      <a:pt x="89" y="15"/>
                      <a:pt x="91" y="20"/>
                      <a:pt x="92" y="25"/>
                    </a:cubicBezTo>
                    <a:cubicBezTo>
                      <a:pt x="94" y="30"/>
                      <a:pt x="94" y="35"/>
                      <a:pt x="94" y="42"/>
                    </a:cubicBezTo>
                    <a:cubicBezTo>
                      <a:pt x="94" y="103"/>
                      <a:pt x="94" y="103"/>
                      <a:pt x="94" y="103"/>
                    </a:cubicBezTo>
                    <a:cubicBezTo>
                      <a:pt x="67" y="103"/>
                      <a:pt x="67" y="103"/>
                      <a:pt x="67" y="103"/>
                    </a:cubicBezTo>
                    <a:cubicBezTo>
                      <a:pt x="67" y="47"/>
                      <a:pt x="67" y="47"/>
                      <a:pt x="67" y="47"/>
                    </a:cubicBezTo>
                    <a:cubicBezTo>
                      <a:pt x="67" y="38"/>
                      <a:pt x="65" y="32"/>
                      <a:pt x="63" y="28"/>
                    </a:cubicBezTo>
                    <a:cubicBezTo>
                      <a:pt x="60" y="24"/>
                      <a:pt x="56" y="22"/>
                      <a:pt x="49" y="22"/>
                    </a:cubicBezTo>
                    <a:cubicBezTo>
                      <a:pt x="41" y="22"/>
                      <a:pt x="36" y="24"/>
                      <a:pt x="33" y="29"/>
                    </a:cubicBezTo>
                    <a:cubicBezTo>
                      <a:pt x="29" y="33"/>
                      <a:pt x="28" y="41"/>
                      <a:pt x="28" y="51"/>
                    </a:cubicBezTo>
                    <a:cubicBezTo>
                      <a:pt x="28" y="103"/>
                      <a:pt x="28" y="103"/>
                      <a:pt x="28" y="103"/>
                    </a:cubicBezTo>
                    <a:cubicBezTo>
                      <a:pt x="0" y="103"/>
                      <a:pt x="0" y="103"/>
                      <a:pt x="0" y="103"/>
                    </a:cubicBezTo>
                    <a:cubicBezTo>
                      <a:pt x="0" y="3"/>
                      <a:pt x="0" y="3"/>
                      <a:pt x="0" y="3"/>
                    </a:cubicBezTo>
                    <a:lnTo>
                      <a:pt x="2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4" name="Freeform 20"/>
              <p:cNvSpPr>
                <a:spLocks noEditPoints="1"/>
              </p:cNvSpPr>
              <p:nvPr userDrawn="1"/>
            </p:nvSpPr>
            <p:spPr bwMode="auto">
              <a:xfrm>
                <a:off x="1824038" y="4427538"/>
                <a:ext cx="128588" cy="136525"/>
              </a:xfrm>
              <a:custGeom>
                <a:avLst/>
                <a:gdLst>
                  <a:gd name="T0" fmla="*/ 2147483647 w 100"/>
                  <a:gd name="T1" fmla="*/ 2147483647 h 106"/>
                  <a:gd name="T2" fmla="*/ 2147483647 w 100"/>
                  <a:gd name="T3" fmla="*/ 2147483647 h 106"/>
                  <a:gd name="T4" fmla="*/ 2147483647 w 100"/>
                  <a:gd name="T5" fmla="*/ 2147483647 h 106"/>
                  <a:gd name="T6" fmla="*/ 2147483647 w 100"/>
                  <a:gd name="T7" fmla="*/ 2147483647 h 106"/>
                  <a:gd name="T8" fmla="*/ 2147483647 w 100"/>
                  <a:gd name="T9" fmla="*/ 2147483647 h 106"/>
                  <a:gd name="T10" fmla="*/ 2147483647 w 100"/>
                  <a:gd name="T11" fmla="*/ 2147483647 h 106"/>
                  <a:gd name="T12" fmla="*/ 2147483647 w 100"/>
                  <a:gd name="T13" fmla="*/ 2147483647 h 106"/>
                  <a:gd name="T14" fmla="*/ 2147483647 w 100"/>
                  <a:gd name="T15" fmla="*/ 2147483647 h 106"/>
                  <a:gd name="T16" fmla="*/ 2147483647 w 100"/>
                  <a:gd name="T17" fmla="*/ 2147483647 h 106"/>
                  <a:gd name="T18" fmla="*/ 2147483647 w 100"/>
                  <a:gd name="T19" fmla="*/ 2147483647 h 106"/>
                  <a:gd name="T20" fmla="*/ 0 w 100"/>
                  <a:gd name="T21" fmla="*/ 2147483647 h 106"/>
                  <a:gd name="T22" fmla="*/ 2147483647 w 100"/>
                  <a:gd name="T23" fmla="*/ 2147483647 h 106"/>
                  <a:gd name="T24" fmla="*/ 2147483647 w 100"/>
                  <a:gd name="T25" fmla="*/ 2147483647 h 106"/>
                  <a:gd name="T26" fmla="*/ 2147483647 w 100"/>
                  <a:gd name="T27" fmla="*/ 2147483647 h 106"/>
                  <a:gd name="T28" fmla="*/ 2147483647 w 100"/>
                  <a:gd name="T29" fmla="*/ 0 h 106"/>
                  <a:gd name="T30" fmla="*/ 2147483647 w 100"/>
                  <a:gd name="T31" fmla="*/ 2147483647 h 106"/>
                  <a:gd name="T32" fmla="*/ 2147483647 w 100"/>
                  <a:gd name="T33" fmla="*/ 2147483647 h 106"/>
                  <a:gd name="T34" fmla="*/ 2147483647 w 100"/>
                  <a:gd name="T35" fmla="*/ 2147483647 h 106"/>
                  <a:gd name="T36" fmla="*/ 2147483647 w 100"/>
                  <a:gd name="T37" fmla="*/ 2147483647 h 106"/>
                  <a:gd name="T38" fmla="*/ 2147483647 w 100"/>
                  <a:gd name="T39" fmla="*/ 2147483647 h 106"/>
                  <a:gd name="T40" fmla="*/ 2147483647 w 100"/>
                  <a:gd name="T41" fmla="*/ 2147483647 h 106"/>
                  <a:gd name="T42" fmla="*/ 2147483647 w 100"/>
                  <a:gd name="T43" fmla="*/ 2147483647 h 106"/>
                  <a:gd name="T44" fmla="*/ 2147483647 w 100"/>
                  <a:gd name="T45" fmla="*/ 2147483647 h 106"/>
                  <a:gd name="T46" fmla="*/ 2147483647 w 100"/>
                  <a:gd name="T47" fmla="*/ 2147483647 h 106"/>
                  <a:gd name="T48" fmla="*/ 2147483647 w 100"/>
                  <a:gd name="T49" fmla="*/ 2147483647 h 106"/>
                  <a:gd name="T50" fmla="*/ 2147483647 w 100"/>
                  <a:gd name="T51" fmla="*/ 2147483647 h 106"/>
                  <a:gd name="T52" fmla="*/ 2147483647 w 100"/>
                  <a:gd name="T53" fmla="*/ 2147483647 h 106"/>
                  <a:gd name="T54" fmla="*/ 2147483647 w 100"/>
                  <a:gd name="T55" fmla="*/ 2147483647 h 106"/>
                  <a:gd name="T56" fmla="*/ 2147483647 w 100"/>
                  <a:gd name="T57" fmla="*/ 2147483647 h 10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00" h="106">
                    <a:moveTo>
                      <a:pt x="34" y="79"/>
                    </a:moveTo>
                    <a:cubicBezTo>
                      <a:pt x="39" y="83"/>
                      <a:pt x="45" y="85"/>
                      <a:pt x="52" y="85"/>
                    </a:cubicBezTo>
                    <a:cubicBezTo>
                      <a:pt x="58" y="85"/>
                      <a:pt x="63" y="84"/>
                      <a:pt x="67" y="81"/>
                    </a:cubicBezTo>
                    <a:cubicBezTo>
                      <a:pt x="71" y="78"/>
                      <a:pt x="73" y="75"/>
                      <a:pt x="74" y="72"/>
                    </a:cubicBezTo>
                    <a:cubicBezTo>
                      <a:pt x="98" y="72"/>
                      <a:pt x="98" y="72"/>
                      <a:pt x="98" y="72"/>
                    </a:cubicBezTo>
                    <a:cubicBezTo>
                      <a:pt x="94" y="84"/>
                      <a:pt x="88" y="93"/>
                      <a:pt x="80" y="98"/>
                    </a:cubicBezTo>
                    <a:cubicBezTo>
                      <a:pt x="72" y="103"/>
                      <a:pt x="63" y="106"/>
                      <a:pt x="51" y="106"/>
                    </a:cubicBezTo>
                    <a:cubicBezTo>
                      <a:pt x="43" y="106"/>
                      <a:pt x="36" y="104"/>
                      <a:pt x="30" y="102"/>
                    </a:cubicBezTo>
                    <a:cubicBezTo>
                      <a:pt x="24" y="99"/>
                      <a:pt x="18" y="96"/>
                      <a:pt x="14" y="91"/>
                    </a:cubicBezTo>
                    <a:cubicBezTo>
                      <a:pt x="10" y="87"/>
                      <a:pt x="6" y="81"/>
                      <a:pt x="4" y="75"/>
                    </a:cubicBezTo>
                    <a:cubicBezTo>
                      <a:pt x="1" y="68"/>
                      <a:pt x="0" y="61"/>
                      <a:pt x="0" y="53"/>
                    </a:cubicBezTo>
                    <a:cubicBezTo>
                      <a:pt x="0" y="46"/>
                      <a:pt x="1" y="39"/>
                      <a:pt x="4" y="32"/>
                    </a:cubicBezTo>
                    <a:cubicBezTo>
                      <a:pt x="6" y="26"/>
                      <a:pt x="10" y="20"/>
                      <a:pt x="14" y="16"/>
                    </a:cubicBezTo>
                    <a:cubicBezTo>
                      <a:pt x="19" y="11"/>
                      <a:pt x="24" y="7"/>
                      <a:pt x="31" y="4"/>
                    </a:cubicBezTo>
                    <a:cubicBezTo>
                      <a:pt x="37" y="2"/>
                      <a:pt x="44" y="0"/>
                      <a:pt x="51" y="0"/>
                    </a:cubicBezTo>
                    <a:cubicBezTo>
                      <a:pt x="60" y="0"/>
                      <a:pt x="67" y="2"/>
                      <a:pt x="74" y="5"/>
                    </a:cubicBezTo>
                    <a:cubicBezTo>
                      <a:pt x="80" y="9"/>
                      <a:pt x="85" y="13"/>
                      <a:pt x="89" y="19"/>
                    </a:cubicBezTo>
                    <a:cubicBezTo>
                      <a:pt x="93" y="24"/>
                      <a:pt x="96" y="30"/>
                      <a:pt x="98" y="38"/>
                    </a:cubicBezTo>
                    <a:cubicBezTo>
                      <a:pt x="100" y="45"/>
                      <a:pt x="100" y="52"/>
                      <a:pt x="100" y="60"/>
                    </a:cubicBezTo>
                    <a:cubicBezTo>
                      <a:pt x="28" y="60"/>
                      <a:pt x="28" y="60"/>
                      <a:pt x="28" y="60"/>
                    </a:cubicBezTo>
                    <a:cubicBezTo>
                      <a:pt x="28" y="69"/>
                      <a:pt x="30" y="75"/>
                      <a:pt x="34" y="79"/>
                    </a:cubicBezTo>
                    <a:close/>
                    <a:moveTo>
                      <a:pt x="66" y="27"/>
                    </a:moveTo>
                    <a:cubicBezTo>
                      <a:pt x="62" y="23"/>
                      <a:pt x="57" y="21"/>
                      <a:pt x="51" y="21"/>
                    </a:cubicBezTo>
                    <a:cubicBezTo>
                      <a:pt x="46" y="21"/>
                      <a:pt x="43" y="22"/>
                      <a:pt x="40" y="23"/>
                    </a:cubicBezTo>
                    <a:cubicBezTo>
                      <a:pt x="37" y="25"/>
                      <a:pt x="34" y="27"/>
                      <a:pt x="33" y="29"/>
                    </a:cubicBezTo>
                    <a:cubicBezTo>
                      <a:pt x="31" y="31"/>
                      <a:pt x="30" y="33"/>
                      <a:pt x="29" y="36"/>
                    </a:cubicBezTo>
                    <a:cubicBezTo>
                      <a:pt x="28" y="38"/>
                      <a:pt x="28" y="40"/>
                      <a:pt x="28" y="42"/>
                    </a:cubicBezTo>
                    <a:cubicBezTo>
                      <a:pt x="72" y="42"/>
                      <a:pt x="72" y="42"/>
                      <a:pt x="72" y="42"/>
                    </a:cubicBezTo>
                    <a:cubicBezTo>
                      <a:pt x="71" y="35"/>
                      <a:pt x="69" y="30"/>
                      <a:pt x="66" y="2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" name="Freeform 21"/>
              <p:cNvSpPr>
                <a:spLocks/>
              </p:cNvSpPr>
              <p:nvPr userDrawn="1"/>
            </p:nvSpPr>
            <p:spPr bwMode="auto">
              <a:xfrm>
                <a:off x="1963738" y="4427538"/>
                <a:ext cx="119063" cy="136525"/>
              </a:xfrm>
              <a:custGeom>
                <a:avLst/>
                <a:gdLst>
                  <a:gd name="T0" fmla="*/ 2147483647 w 93"/>
                  <a:gd name="T1" fmla="*/ 2147483647 h 106"/>
                  <a:gd name="T2" fmla="*/ 2147483647 w 93"/>
                  <a:gd name="T3" fmla="*/ 2147483647 h 106"/>
                  <a:gd name="T4" fmla="*/ 2147483647 w 93"/>
                  <a:gd name="T5" fmla="*/ 2147483647 h 106"/>
                  <a:gd name="T6" fmla="*/ 2147483647 w 93"/>
                  <a:gd name="T7" fmla="*/ 2147483647 h 106"/>
                  <a:gd name="T8" fmla="*/ 2147483647 w 93"/>
                  <a:gd name="T9" fmla="*/ 2147483647 h 106"/>
                  <a:gd name="T10" fmla="*/ 2147483647 w 93"/>
                  <a:gd name="T11" fmla="*/ 2147483647 h 106"/>
                  <a:gd name="T12" fmla="*/ 2147483647 w 93"/>
                  <a:gd name="T13" fmla="*/ 2147483647 h 106"/>
                  <a:gd name="T14" fmla="*/ 2147483647 w 93"/>
                  <a:gd name="T15" fmla="*/ 2147483647 h 106"/>
                  <a:gd name="T16" fmla="*/ 2147483647 w 93"/>
                  <a:gd name="T17" fmla="*/ 2147483647 h 106"/>
                  <a:gd name="T18" fmla="*/ 2147483647 w 93"/>
                  <a:gd name="T19" fmla="*/ 2147483647 h 106"/>
                  <a:gd name="T20" fmla="*/ 2147483647 w 93"/>
                  <a:gd name="T21" fmla="*/ 2147483647 h 106"/>
                  <a:gd name="T22" fmla="*/ 2147483647 w 93"/>
                  <a:gd name="T23" fmla="*/ 2147483647 h 106"/>
                  <a:gd name="T24" fmla="*/ 2147483647 w 93"/>
                  <a:gd name="T25" fmla="*/ 2147483647 h 106"/>
                  <a:gd name="T26" fmla="*/ 2147483647 w 93"/>
                  <a:gd name="T27" fmla="*/ 2147483647 h 106"/>
                  <a:gd name="T28" fmla="*/ 2147483647 w 93"/>
                  <a:gd name="T29" fmla="*/ 2147483647 h 106"/>
                  <a:gd name="T30" fmla="*/ 2147483647 w 93"/>
                  <a:gd name="T31" fmla="*/ 2147483647 h 106"/>
                  <a:gd name="T32" fmla="*/ 2147483647 w 93"/>
                  <a:gd name="T33" fmla="*/ 2147483647 h 106"/>
                  <a:gd name="T34" fmla="*/ 2147483647 w 93"/>
                  <a:gd name="T35" fmla="*/ 0 h 106"/>
                  <a:gd name="T36" fmla="*/ 2147483647 w 93"/>
                  <a:gd name="T37" fmla="*/ 2147483647 h 106"/>
                  <a:gd name="T38" fmla="*/ 2147483647 w 93"/>
                  <a:gd name="T39" fmla="*/ 2147483647 h 106"/>
                  <a:gd name="T40" fmla="*/ 2147483647 w 93"/>
                  <a:gd name="T41" fmla="*/ 2147483647 h 106"/>
                  <a:gd name="T42" fmla="*/ 2147483647 w 93"/>
                  <a:gd name="T43" fmla="*/ 2147483647 h 106"/>
                  <a:gd name="T44" fmla="*/ 2147483647 w 93"/>
                  <a:gd name="T45" fmla="*/ 2147483647 h 106"/>
                  <a:gd name="T46" fmla="*/ 2147483647 w 93"/>
                  <a:gd name="T47" fmla="*/ 2147483647 h 106"/>
                  <a:gd name="T48" fmla="*/ 2147483647 w 93"/>
                  <a:gd name="T49" fmla="*/ 2147483647 h 106"/>
                  <a:gd name="T50" fmla="*/ 2147483647 w 93"/>
                  <a:gd name="T51" fmla="*/ 2147483647 h 106"/>
                  <a:gd name="T52" fmla="*/ 2147483647 w 93"/>
                  <a:gd name="T53" fmla="*/ 2147483647 h 106"/>
                  <a:gd name="T54" fmla="*/ 2147483647 w 93"/>
                  <a:gd name="T55" fmla="*/ 2147483647 h 106"/>
                  <a:gd name="T56" fmla="*/ 2147483647 w 93"/>
                  <a:gd name="T57" fmla="*/ 2147483647 h 106"/>
                  <a:gd name="T58" fmla="*/ 2147483647 w 93"/>
                  <a:gd name="T59" fmla="*/ 2147483647 h 106"/>
                  <a:gd name="T60" fmla="*/ 2147483647 w 93"/>
                  <a:gd name="T61" fmla="*/ 2147483647 h 106"/>
                  <a:gd name="T62" fmla="*/ 2147483647 w 93"/>
                  <a:gd name="T63" fmla="*/ 2147483647 h 106"/>
                  <a:gd name="T64" fmla="*/ 2147483647 w 93"/>
                  <a:gd name="T65" fmla="*/ 2147483647 h 106"/>
                  <a:gd name="T66" fmla="*/ 2147483647 w 93"/>
                  <a:gd name="T67" fmla="*/ 2147483647 h 106"/>
                  <a:gd name="T68" fmla="*/ 2147483647 w 93"/>
                  <a:gd name="T69" fmla="*/ 2147483647 h 106"/>
                  <a:gd name="T70" fmla="*/ 2147483647 w 93"/>
                  <a:gd name="T71" fmla="*/ 2147483647 h 106"/>
                  <a:gd name="T72" fmla="*/ 2147483647 w 93"/>
                  <a:gd name="T73" fmla="*/ 2147483647 h 106"/>
                  <a:gd name="T74" fmla="*/ 2147483647 w 93"/>
                  <a:gd name="T75" fmla="*/ 2147483647 h 106"/>
                  <a:gd name="T76" fmla="*/ 2147483647 w 93"/>
                  <a:gd name="T77" fmla="*/ 2147483647 h 106"/>
                  <a:gd name="T78" fmla="*/ 2147483647 w 93"/>
                  <a:gd name="T79" fmla="*/ 2147483647 h 106"/>
                  <a:gd name="T80" fmla="*/ 2147483647 w 93"/>
                  <a:gd name="T81" fmla="*/ 2147483647 h 106"/>
                  <a:gd name="T82" fmla="*/ 2147483647 w 93"/>
                  <a:gd name="T83" fmla="*/ 2147483647 h 106"/>
                  <a:gd name="T84" fmla="*/ 2147483647 w 93"/>
                  <a:gd name="T85" fmla="*/ 2147483647 h 106"/>
                  <a:gd name="T86" fmla="*/ 2147483647 w 93"/>
                  <a:gd name="T87" fmla="*/ 2147483647 h 106"/>
                  <a:gd name="T88" fmla="*/ 0 w 93"/>
                  <a:gd name="T89" fmla="*/ 2147483647 h 106"/>
                  <a:gd name="T90" fmla="*/ 2147483647 w 93"/>
                  <a:gd name="T91" fmla="*/ 2147483647 h 106"/>
                  <a:gd name="T92" fmla="*/ 2147483647 w 93"/>
                  <a:gd name="T93" fmla="*/ 2147483647 h 10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93" h="106">
                    <a:moveTo>
                      <a:pt x="28" y="78"/>
                    </a:moveTo>
                    <a:cubicBezTo>
                      <a:pt x="29" y="80"/>
                      <a:pt x="31" y="82"/>
                      <a:pt x="33" y="84"/>
                    </a:cubicBezTo>
                    <a:cubicBezTo>
                      <a:pt x="35" y="85"/>
                      <a:pt x="37" y="86"/>
                      <a:pt x="39" y="87"/>
                    </a:cubicBezTo>
                    <a:cubicBezTo>
                      <a:pt x="42" y="87"/>
                      <a:pt x="44" y="88"/>
                      <a:pt x="47" y="88"/>
                    </a:cubicBezTo>
                    <a:cubicBezTo>
                      <a:pt x="49" y="88"/>
                      <a:pt x="51" y="87"/>
                      <a:pt x="53" y="87"/>
                    </a:cubicBezTo>
                    <a:cubicBezTo>
                      <a:pt x="55" y="86"/>
                      <a:pt x="57" y="86"/>
                      <a:pt x="59" y="85"/>
                    </a:cubicBezTo>
                    <a:cubicBezTo>
                      <a:pt x="61" y="84"/>
                      <a:pt x="62" y="82"/>
                      <a:pt x="63" y="81"/>
                    </a:cubicBezTo>
                    <a:cubicBezTo>
                      <a:pt x="65" y="79"/>
                      <a:pt x="65" y="77"/>
                      <a:pt x="65" y="75"/>
                    </a:cubicBezTo>
                    <a:cubicBezTo>
                      <a:pt x="65" y="71"/>
                      <a:pt x="62" y="68"/>
                      <a:pt x="57" y="65"/>
                    </a:cubicBezTo>
                    <a:cubicBezTo>
                      <a:pt x="51" y="63"/>
                      <a:pt x="44" y="61"/>
                      <a:pt x="34" y="59"/>
                    </a:cubicBezTo>
                    <a:cubicBezTo>
                      <a:pt x="30" y="58"/>
                      <a:pt x="26" y="57"/>
                      <a:pt x="22" y="56"/>
                    </a:cubicBezTo>
                    <a:cubicBezTo>
                      <a:pt x="18" y="55"/>
                      <a:pt x="15" y="53"/>
                      <a:pt x="12" y="51"/>
                    </a:cubicBezTo>
                    <a:cubicBezTo>
                      <a:pt x="9" y="49"/>
                      <a:pt x="7" y="47"/>
                      <a:pt x="5" y="44"/>
                    </a:cubicBezTo>
                    <a:cubicBezTo>
                      <a:pt x="3" y="41"/>
                      <a:pt x="2" y="37"/>
                      <a:pt x="2" y="33"/>
                    </a:cubicBezTo>
                    <a:cubicBezTo>
                      <a:pt x="2" y="26"/>
                      <a:pt x="3" y="21"/>
                      <a:pt x="6" y="17"/>
                    </a:cubicBezTo>
                    <a:cubicBezTo>
                      <a:pt x="9" y="13"/>
                      <a:pt x="12" y="9"/>
                      <a:pt x="16" y="7"/>
                    </a:cubicBezTo>
                    <a:cubicBezTo>
                      <a:pt x="20" y="4"/>
                      <a:pt x="25" y="3"/>
                      <a:pt x="30" y="2"/>
                    </a:cubicBezTo>
                    <a:cubicBezTo>
                      <a:pt x="35" y="1"/>
                      <a:pt x="40" y="0"/>
                      <a:pt x="46" y="0"/>
                    </a:cubicBezTo>
                    <a:cubicBezTo>
                      <a:pt x="51" y="0"/>
                      <a:pt x="56" y="1"/>
                      <a:pt x="62" y="2"/>
                    </a:cubicBezTo>
                    <a:cubicBezTo>
                      <a:pt x="67" y="3"/>
                      <a:pt x="71" y="5"/>
                      <a:pt x="75" y="7"/>
                    </a:cubicBezTo>
                    <a:cubicBezTo>
                      <a:pt x="79" y="10"/>
                      <a:pt x="83" y="13"/>
                      <a:pt x="85" y="17"/>
                    </a:cubicBezTo>
                    <a:cubicBezTo>
                      <a:pt x="88" y="21"/>
                      <a:pt x="89" y="26"/>
                      <a:pt x="90" y="32"/>
                    </a:cubicBezTo>
                    <a:cubicBezTo>
                      <a:pt x="64" y="32"/>
                      <a:pt x="64" y="32"/>
                      <a:pt x="64" y="32"/>
                    </a:cubicBezTo>
                    <a:cubicBezTo>
                      <a:pt x="63" y="27"/>
                      <a:pt x="61" y="23"/>
                      <a:pt x="58" y="22"/>
                    </a:cubicBezTo>
                    <a:cubicBezTo>
                      <a:pt x="54" y="20"/>
                      <a:pt x="50" y="19"/>
                      <a:pt x="45" y="19"/>
                    </a:cubicBezTo>
                    <a:cubicBezTo>
                      <a:pt x="43" y="19"/>
                      <a:pt x="42" y="19"/>
                      <a:pt x="40" y="19"/>
                    </a:cubicBezTo>
                    <a:cubicBezTo>
                      <a:pt x="38" y="19"/>
                      <a:pt x="37" y="20"/>
                      <a:pt x="35" y="20"/>
                    </a:cubicBezTo>
                    <a:cubicBezTo>
                      <a:pt x="34" y="21"/>
                      <a:pt x="32" y="22"/>
                      <a:pt x="31" y="23"/>
                    </a:cubicBezTo>
                    <a:cubicBezTo>
                      <a:pt x="30" y="24"/>
                      <a:pt x="30" y="26"/>
                      <a:pt x="30" y="28"/>
                    </a:cubicBezTo>
                    <a:cubicBezTo>
                      <a:pt x="30" y="31"/>
                      <a:pt x="31" y="33"/>
                      <a:pt x="32" y="34"/>
                    </a:cubicBezTo>
                    <a:cubicBezTo>
                      <a:pt x="34" y="36"/>
                      <a:pt x="37" y="37"/>
                      <a:pt x="40" y="38"/>
                    </a:cubicBezTo>
                    <a:cubicBezTo>
                      <a:pt x="42" y="39"/>
                      <a:pt x="46" y="40"/>
                      <a:pt x="49" y="40"/>
                    </a:cubicBezTo>
                    <a:cubicBezTo>
                      <a:pt x="53" y="41"/>
                      <a:pt x="57" y="42"/>
                      <a:pt x="61" y="43"/>
                    </a:cubicBezTo>
                    <a:cubicBezTo>
                      <a:pt x="65" y="44"/>
                      <a:pt x="69" y="45"/>
                      <a:pt x="73" y="46"/>
                    </a:cubicBezTo>
                    <a:cubicBezTo>
                      <a:pt x="76" y="48"/>
                      <a:pt x="80" y="49"/>
                      <a:pt x="83" y="51"/>
                    </a:cubicBezTo>
                    <a:cubicBezTo>
                      <a:pt x="86" y="54"/>
                      <a:pt x="88" y="56"/>
                      <a:pt x="90" y="59"/>
                    </a:cubicBezTo>
                    <a:cubicBezTo>
                      <a:pt x="92" y="63"/>
                      <a:pt x="93" y="66"/>
                      <a:pt x="93" y="71"/>
                    </a:cubicBezTo>
                    <a:cubicBezTo>
                      <a:pt x="93" y="78"/>
                      <a:pt x="91" y="83"/>
                      <a:pt x="89" y="88"/>
                    </a:cubicBezTo>
                    <a:cubicBezTo>
                      <a:pt x="86" y="92"/>
                      <a:pt x="83" y="96"/>
                      <a:pt x="78" y="98"/>
                    </a:cubicBezTo>
                    <a:cubicBezTo>
                      <a:pt x="74" y="101"/>
                      <a:pt x="69" y="103"/>
                      <a:pt x="64" y="104"/>
                    </a:cubicBezTo>
                    <a:cubicBezTo>
                      <a:pt x="58" y="105"/>
                      <a:pt x="53" y="106"/>
                      <a:pt x="47" y="106"/>
                    </a:cubicBezTo>
                    <a:cubicBezTo>
                      <a:pt x="41" y="106"/>
                      <a:pt x="35" y="105"/>
                      <a:pt x="30" y="104"/>
                    </a:cubicBezTo>
                    <a:cubicBezTo>
                      <a:pt x="24" y="103"/>
                      <a:pt x="19" y="101"/>
                      <a:pt x="15" y="98"/>
                    </a:cubicBezTo>
                    <a:cubicBezTo>
                      <a:pt x="11" y="95"/>
                      <a:pt x="7" y="92"/>
                      <a:pt x="4" y="87"/>
                    </a:cubicBezTo>
                    <a:cubicBezTo>
                      <a:pt x="2" y="83"/>
                      <a:pt x="0" y="77"/>
                      <a:pt x="0" y="71"/>
                    </a:cubicBezTo>
                    <a:cubicBezTo>
                      <a:pt x="26" y="71"/>
                      <a:pt x="26" y="71"/>
                      <a:pt x="26" y="71"/>
                    </a:cubicBezTo>
                    <a:cubicBezTo>
                      <a:pt x="26" y="74"/>
                      <a:pt x="27" y="76"/>
                      <a:pt x="28" y="7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" name="Freeform 22"/>
              <p:cNvSpPr>
                <a:spLocks/>
              </p:cNvSpPr>
              <p:nvPr userDrawn="1"/>
            </p:nvSpPr>
            <p:spPr bwMode="auto">
              <a:xfrm>
                <a:off x="2093913" y="4427538"/>
                <a:ext cx="119063" cy="136525"/>
              </a:xfrm>
              <a:custGeom>
                <a:avLst/>
                <a:gdLst>
                  <a:gd name="T0" fmla="*/ 2147483647 w 92"/>
                  <a:gd name="T1" fmla="*/ 2147483647 h 106"/>
                  <a:gd name="T2" fmla="*/ 2147483647 w 92"/>
                  <a:gd name="T3" fmla="*/ 2147483647 h 106"/>
                  <a:gd name="T4" fmla="*/ 2147483647 w 92"/>
                  <a:gd name="T5" fmla="*/ 2147483647 h 106"/>
                  <a:gd name="T6" fmla="*/ 2147483647 w 92"/>
                  <a:gd name="T7" fmla="*/ 2147483647 h 106"/>
                  <a:gd name="T8" fmla="*/ 2147483647 w 92"/>
                  <a:gd name="T9" fmla="*/ 2147483647 h 106"/>
                  <a:gd name="T10" fmla="*/ 2147483647 w 92"/>
                  <a:gd name="T11" fmla="*/ 2147483647 h 106"/>
                  <a:gd name="T12" fmla="*/ 2147483647 w 92"/>
                  <a:gd name="T13" fmla="*/ 2147483647 h 106"/>
                  <a:gd name="T14" fmla="*/ 2147483647 w 92"/>
                  <a:gd name="T15" fmla="*/ 2147483647 h 106"/>
                  <a:gd name="T16" fmla="*/ 2147483647 w 92"/>
                  <a:gd name="T17" fmla="*/ 2147483647 h 106"/>
                  <a:gd name="T18" fmla="*/ 2147483647 w 92"/>
                  <a:gd name="T19" fmla="*/ 2147483647 h 106"/>
                  <a:gd name="T20" fmla="*/ 2147483647 w 92"/>
                  <a:gd name="T21" fmla="*/ 2147483647 h 106"/>
                  <a:gd name="T22" fmla="*/ 2147483647 w 92"/>
                  <a:gd name="T23" fmla="*/ 2147483647 h 106"/>
                  <a:gd name="T24" fmla="*/ 2147483647 w 92"/>
                  <a:gd name="T25" fmla="*/ 2147483647 h 106"/>
                  <a:gd name="T26" fmla="*/ 2147483647 w 92"/>
                  <a:gd name="T27" fmla="*/ 2147483647 h 106"/>
                  <a:gd name="T28" fmla="*/ 2147483647 w 92"/>
                  <a:gd name="T29" fmla="*/ 2147483647 h 106"/>
                  <a:gd name="T30" fmla="*/ 2147483647 w 92"/>
                  <a:gd name="T31" fmla="*/ 2147483647 h 106"/>
                  <a:gd name="T32" fmla="*/ 2147483647 w 92"/>
                  <a:gd name="T33" fmla="*/ 2147483647 h 106"/>
                  <a:gd name="T34" fmla="*/ 2147483647 w 92"/>
                  <a:gd name="T35" fmla="*/ 0 h 106"/>
                  <a:gd name="T36" fmla="*/ 2147483647 w 92"/>
                  <a:gd name="T37" fmla="*/ 2147483647 h 106"/>
                  <a:gd name="T38" fmla="*/ 2147483647 w 92"/>
                  <a:gd name="T39" fmla="*/ 2147483647 h 106"/>
                  <a:gd name="T40" fmla="*/ 2147483647 w 92"/>
                  <a:gd name="T41" fmla="*/ 2147483647 h 106"/>
                  <a:gd name="T42" fmla="*/ 2147483647 w 92"/>
                  <a:gd name="T43" fmla="*/ 2147483647 h 106"/>
                  <a:gd name="T44" fmla="*/ 2147483647 w 92"/>
                  <a:gd name="T45" fmla="*/ 2147483647 h 106"/>
                  <a:gd name="T46" fmla="*/ 2147483647 w 92"/>
                  <a:gd name="T47" fmla="*/ 2147483647 h 106"/>
                  <a:gd name="T48" fmla="*/ 2147483647 w 92"/>
                  <a:gd name="T49" fmla="*/ 2147483647 h 106"/>
                  <a:gd name="T50" fmla="*/ 2147483647 w 92"/>
                  <a:gd name="T51" fmla="*/ 2147483647 h 106"/>
                  <a:gd name="T52" fmla="*/ 2147483647 w 92"/>
                  <a:gd name="T53" fmla="*/ 2147483647 h 106"/>
                  <a:gd name="T54" fmla="*/ 2147483647 w 92"/>
                  <a:gd name="T55" fmla="*/ 2147483647 h 106"/>
                  <a:gd name="T56" fmla="*/ 2147483647 w 92"/>
                  <a:gd name="T57" fmla="*/ 2147483647 h 106"/>
                  <a:gd name="T58" fmla="*/ 2147483647 w 92"/>
                  <a:gd name="T59" fmla="*/ 2147483647 h 106"/>
                  <a:gd name="T60" fmla="*/ 2147483647 w 92"/>
                  <a:gd name="T61" fmla="*/ 2147483647 h 106"/>
                  <a:gd name="T62" fmla="*/ 2147483647 w 92"/>
                  <a:gd name="T63" fmla="*/ 2147483647 h 106"/>
                  <a:gd name="T64" fmla="*/ 2147483647 w 92"/>
                  <a:gd name="T65" fmla="*/ 2147483647 h 106"/>
                  <a:gd name="T66" fmla="*/ 2147483647 w 92"/>
                  <a:gd name="T67" fmla="*/ 2147483647 h 106"/>
                  <a:gd name="T68" fmla="*/ 2147483647 w 92"/>
                  <a:gd name="T69" fmla="*/ 2147483647 h 106"/>
                  <a:gd name="T70" fmla="*/ 2147483647 w 92"/>
                  <a:gd name="T71" fmla="*/ 2147483647 h 106"/>
                  <a:gd name="T72" fmla="*/ 2147483647 w 92"/>
                  <a:gd name="T73" fmla="*/ 2147483647 h 106"/>
                  <a:gd name="T74" fmla="*/ 2147483647 w 92"/>
                  <a:gd name="T75" fmla="*/ 2147483647 h 106"/>
                  <a:gd name="T76" fmla="*/ 2147483647 w 92"/>
                  <a:gd name="T77" fmla="*/ 2147483647 h 106"/>
                  <a:gd name="T78" fmla="*/ 2147483647 w 92"/>
                  <a:gd name="T79" fmla="*/ 2147483647 h 106"/>
                  <a:gd name="T80" fmla="*/ 2147483647 w 92"/>
                  <a:gd name="T81" fmla="*/ 2147483647 h 106"/>
                  <a:gd name="T82" fmla="*/ 2147483647 w 92"/>
                  <a:gd name="T83" fmla="*/ 2147483647 h 106"/>
                  <a:gd name="T84" fmla="*/ 2147483647 w 92"/>
                  <a:gd name="T85" fmla="*/ 2147483647 h 106"/>
                  <a:gd name="T86" fmla="*/ 2147483647 w 92"/>
                  <a:gd name="T87" fmla="*/ 2147483647 h 106"/>
                  <a:gd name="T88" fmla="*/ 0 w 92"/>
                  <a:gd name="T89" fmla="*/ 2147483647 h 106"/>
                  <a:gd name="T90" fmla="*/ 2147483647 w 92"/>
                  <a:gd name="T91" fmla="*/ 2147483647 h 106"/>
                  <a:gd name="T92" fmla="*/ 2147483647 w 92"/>
                  <a:gd name="T93" fmla="*/ 2147483647 h 10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92" h="106">
                    <a:moveTo>
                      <a:pt x="27" y="78"/>
                    </a:moveTo>
                    <a:cubicBezTo>
                      <a:pt x="29" y="80"/>
                      <a:pt x="30" y="82"/>
                      <a:pt x="32" y="84"/>
                    </a:cubicBezTo>
                    <a:cubicBezTo>
                      <a:pt x="34" y="85"/>
                      <a:pt x="36" y="86"/>
                      <a:pt x="39" y="87"/>
                    </a:cubicBezTo>
                    <a:cubicBezTo>
                      <a:pt x="41" y="87"/>
                      <a:pt x="44" y="88"/>
                      <a:pt x="47" y="88"/>
                    </a:cubicBezTo>
                    <a:cubicBezTo>
                      <a:pt x="49" y="88"/>
                      <a:pt x="51" y="87"/>
                      <a:pt x="53" y="87"/>
                    </a:cubicBezTo>
                    <a:cubicBezTo>
                      <a:pt x="55" y="86"/>
                      <a:pt x="57" y="86"/>
                      <a:pt x="59" y="85"/>
                    </a:cubicBezTo>
                    <a:cubicBezTo>
                      <a:pt x="60" y="84"/>
                      <a:pt x="62" y="82"/>
                      <a:pt x="63" y="81"/>
                    </a:cubicBezTo>
                    <a:cubicBezTo>
                      <a:pt x="64" y="79"/>
                      <a:pt x="65" y="77"/>
                      <a:pt x="65" y="75"/>
                    </a:cubicBezTo>
                    <a:cubicBezTo>
                      <a:pt x="65" y="71"/>
                      <a:pt x="62" y="68"/>
                      <a:pt x="57" y="65"/>
                    </a:cubicBezTo>
                    <a:cubicBezTo>
                      <a:pt x="51" y="63"/>
                      <a:pt x="43" y="61"/>
                      <a:pt x="34" y="59"/>
                    </a:cubicBezTo>
                    <a:cubicBezTo>
                      <a:pt x="30" y="58"/>
                      <a:pt x="26" y="57"/>
                      <a:pt x="22" y="56"/>
                    </a:cubicBezTo>
                    <a:cubicBezTo>
                      <a:pt x="18" y="55"/>
                      <a:pt x="15" y="53"/>
                      <a:pt x="12" y="51"/>
                    </a:cubicBezTo>
                    <a:cubicBezTo>
                      <a:pt x="9" y="49"/>
                      <a:pt x="6" y="47"/>
                      <a:pt x="5" y="44"/>
                    </a:cubicBezTo>
                    <a:cubicBezTo>
                      <a:pt x="3" y="41"/>
                      <a:pt x="2" y="37"/>
                      <a:pt x="2" y="33"/>
                    </a:cubicBezTo>
                    <a:cubicBezTo>
                      <a:pt x="2" y="26"/>
                      <a:pt x="3" y="21"/>
                      <a:pt x="6" y="17"/>
                    </a:cubicBezTo>
                    <a:cubicBezTo>
                      <a:pt x="8" y="13"/>
                      <a:pt x="11" y="9"/>
                      <a:pt x="16" y="7"/>
                    </a:cubicBezTo>
                    <a:cubicBezTo>
                      <a:pt x="20" y="4"/>
                      <a:pt x="24" y="3"/>
                      <a:pt x="30" y="2"/>
                    </a:cubicBezTo>
                    <a:cubicBezTo>
                      <a:pt x="35" y="1"/>
                      <a:pt x="40" y="0"/>
                      <a:pt x="45" y="0"/>
                    </a:cubicBezTo>
                    <a:cubicBezTo>
                      <a:pt x="51" y="0"/>
                      <a:pt x="56" y="1"/>
                      <a:pt x="61" y="2"/>
                    </a:cubicBezTo>
                    <a:cubicBezTo>
                      <a:pt x="66" y="3"/>
                      <a:pt x="71" y="5"/>
                      <a:pt x="75" y="7"/>
                    </a:cubicBezTo>
                    <a:cubicBezTo>
                      <a:pt x="79" y="10"/>
                      <a:pt x="82" y="13"/>
                      <a:pt x="85" y="17"/>
                    </a:cubicBezTo>
                    <a:cubicBezTo>
                      <a:pt x="87" y="21"/>
                      <a:pt x="89" y="26"/>
                      <a:pt x="90" y="32"/>
                    </a:cubicBezTo>
                    <a:cubicBezTo>
                      <a:pt x="63" y="32"/>
                      <a:pt x="63" y="32"/>
                      <a:pt x="63" y="32"/>
                    </a:cubicBezTo>
                    <a:cubicBezTo>
                      <a:pt x="63" y="27"/>
                      <a:pt x="61" y="23"/>
                      <a:pt x="57" y="22"/>
                    </a:cubicBezTo>
                    <a:cubicBezTo>
                      <a:pt x="54" y="20"/>
                      <a:pt x="50" y="19"/>
                      <a:pt x="45" y="19"/>
                    </a:cubicBezTo>
                    <a:cubicBezTo>
                      <a:pt x="43" y="19"/>
                      <a:pt x="41" y="19"/>
                      <a:pt x="40" y="19"/>
                    </a:cubicBezTo>
                    <a:cubicBezTo>
                      <a:pt x="38" y="19"/>
                      <a:pt x="36" y="20"/>
                      <a:pt x="35" y="20"/>
                    </a:cubicBezTo>
                    <a:cubicBezTo>
                      <a:pt x="33" y="21"/>
                      <a:pt x="32" y="22"/>
                      <a:pt x="31" y="23"/>
                    </a:cubicBezTo>
                    <a:cubicBezTo>
                      <a:pt x="30" y="24"/>
                      <a:pt x="29" y="26"/>
                      <a:pt x="29" y="28"/>
                    </a:cubicBezTo>
                    <a:cubicBezTo>
                      <a:pt x="29" y="31"/>
                      <a:pt x="30" y="33"/>
                      <a:pt x="32" y="34"/>
                    </a:cubicBezTo>
                    <a:cubicBezTo>
                      <a:pt x="34" y="36"/>
                      <a:pt x="36" y="37"/>
                      <a:pt x="39" y="38"/>
                    </a:cubicBezTo>
                    <a:cubicBezTo>
                      <a:pt x="42" y="39"/>
                      <a:pt x="45" y="40"/>
                      <a:pt x="49" y="40"/>
                    </a:cubicBezTo>
                    <a:cubicBezTo>
                      <a:pt x="53" y="41"/>
                      <a:pt x="57" y="42"/>
                      <a:pt x="61" y="43"/>
                    </a:cubicBezTo>
                    <a:cubicBezTo>
                      <a:pt x="65" y="44"/>
                      <a:pt x="68" y="45"/>
                      <a:pt x="72" y="46"/>
                    </a:cubicBezTo>
                    <a:cubicBezTo>
                      <a:pt x="76" y="48"/>
                      <a:pt x="79" y="49"/>
                      <a:pt x="82" y="51"/>
                    </a:cubicBezTo>
                    <a:cubicBezTo>
                      <a:pt x="85" y="54"/>
                      <a:pt x="88" y="56"/>
                      <a:pt x="90" y="59"/>
                    </a:cubicBezTo>
                    <a:cubicBezTo>
                      <a:pt x="91" y="63"/>
                      <a:pt x="92" y="66"/>
                      <a:pt x="92" y="71"/>
                    </a:cubicBezTo>
                    <a:cubicBezTo>
                      <a:pt x="92" y="78"/>
                      <a:pt x="91" y="83"/>
                      <a:pt x="88" y="88"/>
                    </a:cubicBezTo>
                    <a:cubicBezTo>
                      <a:pt x="86" y="92"/>
                      <a:pt x="82" y="96"/>
                      <a:pt x="78" y="98"/>
                    </a:cubicBezTo>
                    <a:cubicBezTo>
                      <a:pt x="74" y="101"/>
                      <a:pt x="69" y="103"/>
                      <a:pt x="63" y="104"/>
                    </a:cubicBezTo>
                    <a:cubicBezTo>
                      <a:pt x="58" y="105"/>
                      <a:pt x="52" y="106"/>
                      <a:pt x="47" y="106"/>
                    </a:cubicBezTo>
                    <a:cubicBezTo>
                      <a:pt x="41" y="106"/>
                      <a:pt x="35" y="105"/>
                      <a:pt x="30" y="104"/>
                    </a:cubicBezTo>
                    <a:cubicBezTo>
                      <a:pt x="24" y="103"/>
                      <a:pt x="19" y="101"/>
                      <a:pt x="15" y="98"/>
                    </a:cubicBezTo>
                    <a:cubicBezTo>
                      <a:pt x="10" y="95"/>
                      <a:pt x="7" y="92"/>
                      <a:pt x="4" y="87"/>
                    </a:cubicBezTo>
                    <a:cubicBezTo>
                      <a:pt x="1" y="83"/>
                      <a:pt x="0" y="77"/>
                      <a:pt x="0" y="71"/>
                    </a:cubicBezTo>
                    <a:cubicBezTo>
                      <a:pt x="26" y="71"/>
                      <a:pt x="26" y="71"/>
                      <a:pt x="26" y="71"/>
                    </a:cubicBezTo>
                    <a:cubicBezTo>
                      <a:pt x="26" y="74"/>
                      <a:pt x="26" y="76"/>
                      <a:pt x="27" y="7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7" name="Freeform 23"/>
              <p:cNvSpPr>
                <a:spLocks/>
              </p:cNvSpPr>
              <p:nvPr userDrawn="1"/>
            </p:nvSpPr>
            <p:spPr bwMode="auto">
              <a:xfrm>
                <a:off x="1173163" y="4627563"/>
                <a:ext cx="150813" cy="187325"/>
              </a:xfrm>
              <a:custGeom>
                <a:avLst/>
                <a:gdLst>
                  <a:gd name="T0" fmla="*/ 2147483647 w 117"/>
                  <a:gd name="T1" fmla="*/ 2147483647 h 145"/>
                  <a:gd name="T2" fmla="*/ 2147483647 w 117"/>
                  <a:gd name="T3" fmla="*/ 2147483647 h 145"/>
                  <a:gd name="T4" fmla="*/ 2147483647 w 117"/>
                  <a:gd name="T5" fmla="*/ 2147483647 h 145"/>
                  <a:gd name="T6" fmla="*/ 2147483647 w 117"/>
                  <a:gd name="T7" fmla="*/ 2147483647 h 145"/>
                  <a:gd name="T8" fmla="*/ 2147483647 w 117"/>
                  <a:gd name="T9" fmla="*/ 2147483647 h 145"/>
                  <a:gd name="T10" fmla="*/ 2147483647 w 117"/>
                  <a:gd name="T11" fmla="*/ 2147483647 h 145"/>
                  <a:gd name="T12" fmla="*/ 2147483647 w 117"/>
                  <a:gd name="T13" fmla="*/ 2147483647 h 145"/>
                  <a:gd name="T14" fmla="*/ 2147483647 w 117"/>
                  <a:gd name="T15" fmla="*/ 2147483647 h 145"/>
                  <a:gd name="T16" fmla="*/ 2147483647 w 117"/>
                  <a:gd name="T17" fmla="*/ 2147483647 h 145"/>
                  <a:gd name="T18" fmla="*/ 2147483647 w 117"/>
                  <a:gd name="T19" fmla="*/ 2147483647 h 145"/>
                  <a:gd name="T20" fmla="*/ 2147483647 w 117"/>
                  <a:gd name="T21" fmla="*/ 2147483647 h 145"/>
                  <a:gd name="T22" fmla="*/ 2147483647 w 117"/>
                  <a:gd name="T23" fmla="*/ 2147483647 h 145"/>
                  <a:gd name="T24" fmla="*/ 2147483647 w 117"/>
                  <a:gd name="T25" fmla="*/ 2147483647 h 145"/>
                  <a:gd name="T26" fmla="*/ 2147483647 w 117"/>
                  <a:gd name="T27" fmla="*/ 2147483647 h 145"/>
                  <a:gd name="T28" fmla="*/ 2147483647 w 117"/>
                  <a:gd name="T29" fmla="*/ 2147483647 h 145"/>
                  <a:gd name="T30" fmla="*/ 2147483647 w 117"/>
                  <a:gd name="T31" fmla="*/ 2147483647 h 145"/>
                  <a:gd name="T32" fmla="*/ 2147483647 w 117"/>
                  <a:gd name="T33" fmla="*/ 2147483647 h 145"/>
                  <a:gd name="T34" fmla="*/ 2147483647 w 117"/>
                  <a:gd name="T35" fmla="*/ 2147483647 h 145"/>
                  <a:gd name="T36" fmla="*/ 2147483647 w 117"/>
                  <a:gd name="T37" fmla="*/ 2147483647 h 145"/>
                  <a:gd name="T38" fmla="*/ 2147483647 w 117"/>
                  <a:gd name="T39" fmla="*/ 0 h 145"/>
                  <a:gd name="T40" fmla="*/ 2147483647 w 117"/>
                  <a:gd name="T41" fmla="*/ 2147483647 h 145"/>
                  <a:gd name="T42" fmla="*/ 2147483647 w 117"/>
                  <a:gd name="T43" fmla="*/ 2147483647 h 145"/>
                  <a:gd name="T44" fmla="*/ 2147483647 w 117"/>
                  <a:gd name="T45" fmla="*/ 2147483647 h 145"/>
                  <a:gd name="T46" fmla="*/ 2147483647 w 117"/>
                  <a:gd name="T47" fmla="*/ 2147483647 h 145"/>
                  <a:gd name="T48" fmla="*/ 2147483647 w 117"/>
                  <a:gd name="T49" fmla="*/ 2147483647 h 145"/>
                  <a:gd name="T50" fmla="*/ 2147483647 w 117"/>
                  <a:gd name="T51" fmla="*/ 2147483647 h 145"/>
                  <a:gd name="T52" fmla="*/ 2147483647 w 117"/>
                  <a:gd name="T53" fmla="*/ 2147483647 h 145"/>
                  <a:gd name="T54" fmla="*/ 2147483647 w 117"/>
                  <a:gd name="T55" fmla="*/ 2147483647 h 145"/>
                  <a:gd name="T56" fmla="*/ 2147483647 w 117"/>
                  <a:gd name="T57" fmla="*/ 2147483647 h 145"/>
                  <a:gd name="T58" fmla="*/ 2147483647 w 117"/>
                  <a:gd name="T59" fmla="*/ 2147483647 h 145"/>
                  <a:gd name="T60" fmla="*/ 2147483647 w 117"/>
                  <a:gd name="T61" fmla="*/ 2147483647 h 145"/>
                  <a:gd name="T62" fmla="*/ 2147483647 w 117"/>
                  <a:gd name="T63" fmla="*/ 2147483647 h 145"/>
                  <a:gd name="T64" fmla="*/ 2147483647 w 117"/>
                  <a:gd name="T65" fmla="*/ 2147483647 h 145"/>
                  <a:gd name="T66" fmla="*/ 2147483647 w 117"/>
                  <a:gd name="T67" fmla="*/ 2147483647 h 145"/>
                  <a:gd name="T68" fmla="*/ 2147483647 w 117"/>
                  <a:gd name="T69" fmla="*/ 2147483647 h 145"/>
                  <a:gd name="T70" fmla="*/ 2147483647 w 117"/>
                  <a:gd name="T71" fmla="*/ 2147483647 h 145"/>
                  <a:gd name="T72" fmla="*/ 2147483647 w 117"/>
                  <a:gd name="T73" fmla="*/ 2147483647 h 145"/>
                  <a:gd name="T74" fmla="*/ 2147483647 w 117"/>
                  <a:gd name="T75" fmla="*/ 2147483647 h 145"/>
                  <a:gd name="T76" fmla="*/ 2147483647 w 117"/>
                  <a:gd name="T77" fmla="*/ 2147483647 h 145"/>
                  <a:gd name="T78" fmla="*/ 2147483647 w 117"/>
                  <a:gd name="T79" fmla="*/ 2147483647 h 145"/>
                  <a:gd name="T80" fmla="*/ 2147483647 w 117"/>
                  <a:gd name="T81" fmla="*/ 2147483647 h 145"/>
                  <a:gd name="T82" fmla="*/ 2147483647 w 117"/>
                  <a:gd name="T83" fmla="*/ 2147483647 h 145"/>
                  <a:gd name="T84" fmla="*/ 2147483647 w 117"/>
                  <a:gd name="T85" fmla="*/ 2147483647 h 145"/>
                  <a:gd name="T86" fmla="*/ 2147483647 w 117"/>
                  <a:gd name="T87" fmla="*/ 2147483647 h 145"/>
                  <a:gd name="T88" fmla="*/ 2147483647 w 117"/>
                  <a:gd name="T89" fmla="*/ 2147483647 h 145"/>
                  <a:gd name="T90" fmla="*/ 2147483647 w 117"/>
                  <a:gd name="T91" fmla="*/ 2147483647 h 145"/>
                  <a:gd name="T92" fmla="*/ 2147483647 w 117"/>
                  <a:gd name="T93" fmla="*/ 2147483647 h 145"/>
                  <a:gd name="T94" fmla="*/ 2147483647 w 117"/>
                  <a:gd name="T95" fmla="*/ 2147483647 h 145"/>
                  <a:gd name="T96" fmla="*/ 0 w 117"/>
                  <a:gd name="T97" fmla="*/ 2147483647 h 145"/>
                  <a:gd name="T98" fmla="*/ 2147483647 w 117"/>
                  <a:gd name="T99" fmla="*/ 2147483647 h 145"/>
                  <a:gd name="T100" fmla="*/ 2147483647 w 117"/>
                  <a:gd name="T101" fmla="*/ 2147483647 h 145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117" h="145">
                    <a:moveTo>
                      <a:pt x="32" y="108"/>
                    </a:moveTo>
                    <a:cubicBezTo>
                      <a:pt x="34" y="111"/>
                      <a:pt x="36" y="114"/>
                      <a:pt x="39" y="116"/>
                    </a:cubicBezTo>
                    <a:cubicBezTo>
                      <a:pt x="42" y="118"/>
                      <a:pt x="45" y="119"/>
                      <a:pt x="49" y="120"/>
                    </a:cubicBezTo>
                    <a:cubicBezTo>
                      <a:pt x="52" y="121"/>
                      <a:pt x="56" y="122"/>
                      <a:pt x="60" y="122"/>
                    </a:cubicBezTo>
                    <a:cubicBezTo>
                      <a:pt x="63" y="122"/>
                      <a:pt x="66" y="121"/>
                      <a:pt x="69" y="121"/>
                    </a:cubicBezTo>
                    <a:cubicBezTo>
                      <a:pt x="72" y="121"/>
                      <a:pt x="75" y="120"/>
                      <a:pt x="78" y="118"/>
                    </a:cubicBezTo>
                    <a:cubicBezTo>
                      <a:pt x="80" y="117"/>
                      <a:pt x="83" y="115"/>
                      <a:pt x="84" y="113"/>
                    </a:cubicBezTo>
                    <a:cubicBezTo>
                      <a:pt x="86" y="111"/>
                      <a:pt x="87" y="108"/>
                      <a:pt x="87" y="104"/>
                    </a:cubicBezTo>
                    <a:cubicBezTo>
                      <a:pt x="87" y="101"/>
                      <a:pt x="86" y="98"/>
                      <a:pt x="84" y="95"/>
                    </a:cubicBezTo>
                    <a:cubicBezTo>
                      <a:pt x="81" y="93"/>
                      <a:pt x="78" y="91"/>
                      <a:pt x="74" y="90"/>
                    </a:cubicBezTo>
                    <a:cubicBezTo>
                      <a:pt x="70" y="88"/>
                      <a:pt x="66" y="87"/>
                      <a:pt x="61" y="85"/>
                    </a:cubicBezTo>
                    <a:cubicBezTo>
                      <a:pt x="56" y="84"/>
                      <a:pt x="51" y="83"/>
                      <a:pt x="46" y="82"/>
                    </a:cubicBezTo>
                    <a:cubicBezTo>
                      <a:pt x="41" y="80"/>
                      <a:pt x="36" y="79"/>
                      <a:pt x="31" y="77"/>
                    </a:cubicBezTo>
                    <a:cubicBezTo>
                      <a:pt x="26" y="75"/>
                      <a:pt x="22" y="73"/>
                      <a:pt x="18" y="70"/>
                    </a:cubicBezTo>
                    <a:cubicBezTo>
                      <a:pt x="14" y="67"/>
                      <a:pt x="11" y="63"/>
                      <a:pt x="8" y="58"/>
                    </a:cubicBezTo>
                    <a:cubicBezTo>
                      <a:pt x="6" y="54"/>
                      <a:pt x="5" y="49"/>
                      <a:pt x="5" y="42"/>
                    </a:cubicBezTo>
                    <a:cubicBezTo>
                      <a:pt x="5" y="35"/>
                      <a:pt x="6" y="29"/>
                      <a:pt x="9" y="24"/>
                    </a:cubicBezTo>
                    <a:cubicBezTo>
                      <a:pt x="12" y="19"/>
                      <a:pt x="16" y="14"/>
                      <a:pt x="21" y="11"/>
                    </a:cubicBezTo>
                    <a:cubicBezTo>
                      <a:pt x="26" y="7"/>
                      <a:pt x="32" y="5"/>
                      <a:pt x="38" y="3"/>
                    </a:cubicBezTo>
                    <a:cubicBezTo>
                      <a:pt x="44" y="1"/>
                      <a:pt x="50" y="0"/>
                      <a:pt x="56" y="0"/>
                    </a:cubicBezTo>
                    <a:cubicBezTo>
                      <a:pt x="64" y="0"/>
                      <a:pt x="71" y="1"/>
                      <a:pt x="77" y="3"/>
                    </a:cubicBezTo>
                    <a:cubicBezTo>
                      <a:pt x="84" y="4"/>
                      <a:pt x="90" y="7"/>
                      <a:pt x="95" y="11"/>
                    </a:cubicBezTo>
                    <a:cubicBezTo>
                      <a:pt x="100" y="14"/>
                      <a:pt x="104" y="19"/>
                      <a:pt x="107" y="25"/>
                    </a:cubicBezTo>
                    <a:cubicBezTo>
                      <a:pt x="110" y="30"/>
                      <a:pt x="112" y="37"/>
                      <a:pt x="112" y="45"/>
                    </a:cubicBezTo>
                    <a:cubicBezTo>
                      <a:pt x="82" y="45"/>
                      <a:pt x="82" y="45"/>
                      <a:pt x="82" y="45"/>
                    </a:cubicBezTo>
                    <a:cubicBezTo>
                      <a:pt x="82" y="41"/>
                      <a:pt x="81" y="37"/>
                      <a:pt x="80" y="35"/>
                    </a:cubicBezTo>
                    <a:cubicBezTo>
                      <a:pt x="78" y="32"/>
                      <a:pt x="76" y="30"/>
                      <a:pt x="74" y="28"/>
                    </a:cubicBezTo>
                    <a:cubicBezTo>
                      <a:pt x="71" y="27"/>
                      <a:pt x="69" y="26"/>
                      <a:pt x="65" y="25"/>
                    </a:cubicBezTo>
                    <a:cubicBezTo>
                      <a:pt x="62" y="24"/>
                      <a:pt x="59" y="24"/>
                      <a:pt x="55" y="24"/>
                    </a:cubicBezTo>
                    <a:cubicBezTo>
                      <a:pt x="53" y="24"/>
                      <a:pt x="50" y="24"/>
                      <a:pt x="48" y="25"/>
                    </a:cubicBezTo>
                    <a:cubicBezTo>
                      <a:pt x="45" y="25"/>
                      <a:pt x="43" y="26"/>
                      <a:pt x="41" y="28"/>
                    </a:cubicBezTo>
                    <a:cubicBezTo>
                      <a:pt x="39" y="29"/>
                      <a:pt x="37" y="30"/>
                      <a:pt x="36" y="32"/>
                    </a:cubicBezTo>
                    <a:cubicBezTo>
                      <a:pt x="35" y="34"/>
                      <a:pt x="34" y="37"/>
                      <a:pt x="34" y="40"/>
                    </a:cubicBezTo>
                    <a:cubicBezTo>
                      <a:pt x="34" y="42"/>
                      <a:pt x="35" y="45"/>
                      <a:pt x="36" y="46"/>
                    </a:cubicBezTo>
                    <a:cubicBezTo>
                      <a:pt x="37" y="48"/>
                      <a:pt x="39" y="50"/>
                      <a:pt x="42" y="51"/>
                    </a:cubicBezTo>
                    <a:cubicBezTo>
                      <a:pt x="45" y="52"/>
                      <a:pt x="49" y="54"/>
                      <a:pt x="54" y="55"/>
                    </a:cubicBezTo>
                    <a:cubicBezTo>
                      <a:pt x="60" y="57"/>
                      <a:pt x="67" y="58"/>
                      <a:pt x="75" y="61"/>
                    </a:cubicBezTo>
                    <a:cubicBezTo>
                      <a:pt x="78" y="61"/>
                      <a:pt x="82" y="62"/>
                      <a:pt x="86" y="63"/>
                    </a:cubicBezTo>
                    <a:cubicBezTo>
                      <a:pt x="91" y="65"/>
                      <a:pt x="95" y="67"/>
                      <a:pt x="100" y="70"/>
                    </a:cubicBezTo>
                    <a:cubicBezTo>
                      <a:pt x="104" y="73"/>
                      <a:pt x="108" y="77"/>
                      <a:pt x="112" y="82"/>
                    </a:cubicBezTo>
                    <a:cubicBezTo>
                      <a:pt x="115" y="87"/>
                      <a:pt x="117" y="93"/>
                      <a:pt x="117" y="101"/>
                    </a:cubicBezTo>
                    <a:cubicBezTo>
                      <a:pt x="117" y="107"/>
                      <a:pt x="115" y="113"/>
                      <a:pt x="113" y="119"/>
                    </a:cubicBezTo>
                    <a:cubicBezTo>
                      <a:pt x="110" y="124"/>
                      <a:pt x="107" y="129"/>
                      <a:pt x="102" y="133"/>
                    </a:cubicBezTo>
                    <a:cubicBezTo>
                      <a:pt x="97" y="137"/>
                      <a:pt x="91" y="140"/>
                      <a:pt x="84" y="142"/>
                    </a:cubicBezTo>
                    <a:cubicBezTo>
                      <a:pt x="77" y="144"/>
                      <a:pt x="68" y="145"/>
                      <a:pt x="59" y="145"/>
                    </a:cubicBezTo>
                    <a:cubicBezTo>
                      <a:pt x="51" y="145"/>
                      <a:pt x="44" y="144"/>
                      <a:pt x="37" y="142"/>
                    </a:cubicBezTo>
                    <a:cubicBezTo>
                      <a:pt x="30" y="140"/>
                      <a:pt x="23" y="138"/>
                      <a:pt x="18" y="134"/>
                    </a:cubicBezTo>
                    <a:cubicBezTo>
                      <a:pt x="12" y="129"/>
                      <a:pt x="8" y="124"/>
                      <a:pt x="5" y="118"/>
                    </a:cubicBezTo>
                    <a:cubicBezTo>
                      <a:pt x="2" y="112"/>
                      <a:pt x="0" y="105"/>
                      <a:pt x="0" y="96"/>
                    </a:cubicBezTo>
                    <a:cubicBezTo>
                      <a:pt x="30" y="96"/>
                      <a:pt x="30" y="96"/>
                      <a:pt x="30" y="96"/>
                    </a:cubicBezTo>
                    <a:cubicBezTo>
                      <a:pt x="30" y="101"/>
                      <a:pt x="30" y="105"/>
                      <a:pt x="32" y="1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8" name="Freeform 24"/>
              <p:cNvSpPr>
                <a:spLocks noEditPoints="1"/>
              </p:cNvSpPr>
              <p:nvPr userDrawn="1"/>
            </p:nvSpPr>
            <p:spPr bwMode="auto">
              <a:xfrm>
                <a:off x="1333500" y="4678363"/>
                <a:ext cx="128588" cy="136525"/>
              </a:xfrm>
              <a:custGeom>
                <a:avLst/>
                <a:gdLst>
                  <a:gd name="T0" fmla="*/ 2147483647 w 100"/>
                  <a:gd name="T1" fmla="*/ 2147483647 h 106"/>
                  <a:gd name="T2" fmla="*/ 2147483647 w 100"/>
                  <a:gd name="T3" fmla="*/ 2147483647 h 106"/>
                  <a:gd name="T4" fmla="*/ 2147483647 w 100"/>
                  <a:gd name="T5" fmla="*/ 2147483647 h 106"/>
                  <a:gd name="T6" fmla="*/ 2147483647 w 100"/>
                  <a:gd name="T7" fmla="*/ 2147483647 h 106"/>
                  <a:gd name="T8" fmla="*/ 2147483647 w 100"/>
                  <a:gd name="T9" fmla="*/ 2147483647 h 106"/>
                  <a:gd name="T10" fmla="*/ 2147483647 w 100"/>
                  <a:gd name="T11" fmla="*/ 2147483647 h 106"/>
                  <a:gd name="T12" fmla="*/ 2147483647 w 100"/>
                  <a:gd name="T13" fmla="*/ 2147483647 h 106"/>
                  <a:gd name="T14" fmla="*/ 2147483647 w 100"/>
                  <a:gd name="T15" fmla="*/ 2147483647 h 106"/>
                  <a:gd name="T16" fmla="*/ 2147483647 w 100"/>
                  <a:gd name="T17" fmla="*/ 2147483647 h 106"/>
                  <a:gd name="T18" fmla="*/ 2147483647 w 100"/>
                  <a:gd name="T19" fmla="*/ 2147483647 h 106"/>
                  <a:gd name="T20" fmla="*/ 0 w 100"/>
                  <a:gd name="T21" fmla="*/ 2147483647 h 106"/>
                  <a:gd name="T22" fmla="*/ 2147483647 w 100"/>
                  <a:gd name="T23" fmla="*/ 2147483647 h 106"/>
                  <a:gd name="T24" fmla="*/ 2147483647 w 100"/>
                  <a:gd name="T25" fmla="*/ 2147483647 h 106"/>
                  <a:gd name="T26" fmla="*/ 2147483647 w 100"/>
                  <a:gd name="T27" fmla="*/ 2147483647 h 106"/>
                  <a:gd name="T28" fmla="*/ 2147483647 w 100"/>
                  <a:gd name="T29" fmla="*/ 0 h 106"/>
                  <a:gd name="T30" fmla="*/ 2147483647 w 100"/>
                  <a:gd name="T31" fmla="*/ 2147483647 h 106"/>
                  <a:gd name="T32" fmla="*/ 2147483647 w 100"/>
                  <a:gd name="T33" fmla="*/ 2147483647 h 106"/>
                  <a:gd name="T34" fmla="*/ 2147483647 w 100"/>
                  <a:gd name="T35" fmla="*/ 2147483647 h 106"/>
                  <a:gd name="T36" fmla="*/ 2147483647 w 100"/>
                  <a:gd name="T37" fmla="*/ 2147483647 h 106"/>
                  <a:gd name="T38" fmla="*/ 2147483647 w 100"/>
                  <a:gd name="T39" fmla="*/ 2147483647 h 106"/>
                  <a:gd name="T40" fmla="*/ 2147483647 w 100"/>
                  <a:gd name="T41" fmla="*/ 2147483647 h 106"/>
                  <a:gd name="T42" fmla="*/ 2147483647 w 100"/>
                  <a:gd name="T43" fmla="*/ 2147483647 h 106"/>
                  <a:gd name="T44" fmla="*/ 2147483647 w 100"/>
                  <a:gd name="T45" fmla="*/ 2147483647 h 106"/>
                  <a:gd name="T46" fmla="*/ 2147483647 w 100"/>
                  <a:gd name="T47" fmla="*/ 2147483647 h 106"/>
                  <a:gd name="T48" fmla="*/ 2147483647 w 100"/>
                  <a:gd name="T49" fmla="*/ 2147483647 h 106"/>
                  <a:gd name="T50" fmla="*/ 2147483647 w 100"/>
                  <a:gd name="T51" fmla="*/ 2147483647 h 106"/>
                  <a:gd name="T52" fmla="*/ 2147483647 w 100"/>
                  <a:gd name="T53" fmla="*/ 2147483647 h 106"/>
                  <a:gd name="T54" fmla="*/ 2147483647 w 100"/>
                  <a:gd name="T55" fmla="*/ 2147483647 h 106"/>
                  <a:gd name="T56" fmla="*/ 2147483647 w 100"/>
                  <a:gd name="T57" fmla="*/ 2147483647 h 10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00" h="106">
                    <a:moveTo>
                      <a:pt x="34" y="79"/>
                    </a:moveTo>
                    <a:cubicBezTo>
                      <a:pt x="38" y="83"/>
                      <a:pt x="44" y="85"/>
                      <a:pt x="52" y="85"/>
                    </a:cubicBezTo>
                    <a:cubicBezTo>
                      <a:pt x="57" y="85"/>
                      <a:pt x="62" y="84"/>
                      <a:pt x="66" y="81"/>
                    </a:cubicBezTo>
                    <a:cubicBezTo>
                      <a:pt x="70" y="78"/>
                      <a:pt x="73" y="75"/>
                      <a:pt x="74" y="72"/>
                    </a:cubicBezTo>
                    <a:cubicBezTo>
                      <a:pt x="98" y="72"/>
                      <a:pt x="98" y="72"/>
                      <a:pt x="98" y="72"/>
                    </a:cubicBezTo>
                    <a:cubicBezTo>
                      <a:pt x="94" y="84"/>
                      <a:pt x="88" y="93"/>
                      <a:pt x="80" y="98"/>
                    </a:cubicBezTo>
                    <a:cubicBezTo>
                      <a:pt x="72" y="103"/>
                      <a:pt x="62" y="106"/>
                      <a:pt x="51" y="106"/>
                    </a:cubicBezTo>
                    <a:cubicBezTo>
                      <a:pt x="43" y="106"/>
                      <a:pt x="36" y="104"/>
                      <a:pt x="30" y="102"/>
                    </a:cubicBezTo>
                    <a:cubicBezTo>
                      <a:pt x="23" y="99"/>
                      <a:pt x="18" y="96"/>
                      <a:pt x="14" y="91"/>
                    </a:cubicBezTo>
                    <a:cubicBezTo>
                      <a:pt x="9" y="86"/>
                      <a:pt x="6" y="81"/>
                      <a:pt x="3" y="74"/>
                    </a:cubicBezTo>
                    <a:cubicBezTo>
                      <a:pt x="1" y="68"/>
                      <a:pt x="0" y="61"/>
                      <a:pt x="0" y="53"/>
                    </a:cubicBezTo>
                    <a:cubicBezTo>
                      <a:pt x="0" y="46"/>
                      <a:pt x="1" y="39"/>
                      <a:pt x="3" y="32"/>
                    </a:cubicBezTo>
                    <a:cubicBezTo>
                      <a:pt x="6" y="26"/>
                      <a:pt x="9" y="20"/>
                      <a:pt x="14" y="15"/>
                    </a:cubicBezTo>
                    <a:cubicBezTo>
                      <a:pt x="18" y="11"/>
                      <a:pt x="24" y="7"/>
                      <a:pt x="30" y="4"/>
                    </a:cubicBezTo>
                    <a:cubicBezTo>
                      <a:pt x="36" y="2"/>
                      <a:pt x="43" y="0"/>
                      <a:pt x="51" y="0"/>
                    </a:cubicBezTo>
                    <a:cubicBezTo>
                      <a:pt x="59" y="0"/>
                      <a:pt x="67" y="2"/>
                      <a:pt x="73" y="5"/>
                    </a:cubicBezTo>
                    <a:cubicBezTo>
                      <a:pt x="80" y="8"/>
                      <a:pt x="85" y="13"/>
                      <a:pt x="89" y="18"/>
                    </a:cubicBezTo>
                    <a:cubicBezTo>
                      <a:pt x="93" y="24"/>
                      <a:pt x="96" y="30"/>
                      <a:pt x="98" y="37"/>
                    </a:cubicBezTo>
                    <a:cubicBezTo>
                      <a:pt x="99" y="44"/>
                      <a:pt x="100" y="52"/>
                      <a:pt x="100" y="60"/>
                    </a:cubicBezTo>
                    <a:cubicBezTo>
                      <a:pt x="27" y="60"/>
                      <a:pt x="27" y="60"/>
                      <a:pt x="27" y="60"/>
                    </a:cubicBezTo>
                    <a:cubicBezTo>
                      <a:pt x="28" y="69"/>
                      <a:pt x="30" y="75"/>
                      <a:pt x="34" y="79"/>
                    </a:cubicBezTo>
                    <a:close/>
                    <a:moveTo>
                      <a:pt x="65" y="26"/>
                    </a:moveTo>
                    <a:cubicBezTo>
                      <a:pt x="62" y="23"/>
                      <a:pt x="57" y="21"/>
                      <a:pt x="50" y="21"/>
                    </a:cubicBezTo>
                    <a:cubicBezTo>
                      <a:pt x="46" y="21"/>
                      <a:pt x="42" y="22"/>
                      <a:pt x="39" y="23"/>
                    </a:cubicBezTo>
                    <a:cubicBezTo>
                      <a:pt x="36" y="25"/>
                      <a:pt x="34" y="26"/>
                      <a:pt x="32" y="29"/>
                    </a:cubicBezTo>
                    <a:cubicBezTo>
                      <a:pt x="31" y="31"/>
                      <a:pt x="29" y="33"/>
                      <a:pt x="29" y="36"/>
                    </a:cubicBezTo>
                    <a:cubicBezTo>
                      <a:pt x="28" y="38"/>
                      <a:pt x="27" y="40"/>
                      <a:pt x="27" y="42"/>
                    </a:cubicBezTo>
                    <a:cubicBezTo>
                      <a:pt x="72" y="42"/>
                      <a:pt x="72" y="42"/>
                      <a:pt x="72" y="42"/>
                    </a:cubicBezTo>
                    <a:cubicBezTo>
                      <a:pt x="71" y="35"/>
                      <a:pt x="68" y="30"/>
                      <a:pt x="65" y="26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9" name="Freeform 25"/>
              <p:cNvSpPr>
                <a:spLocks/>
              </p:cNvSpPr>
              <p:nvPr userDrawn="1"/>
            </p:nvSpPr>
            <p:spPr bwMode="auto">
              <a:xfrm>
                <a:off x="1479550" y="4678363"/>
                <a:ext cx="82550" cy="133350"/>
              </a:xfrm>
              <a:custGeom>
                <a:avLst/>
                <a:gdLst>
                  <a:gd name="T0" fmla="*/ 2147483647 w 64"/>
                  <a:gd name="T1" fmla="*/ 2147483647 h 103"/>
                  <a:gd name="T2" fmla="*/ 2147483647 w 64"/>
                  <a:gd name="T3" fmla="*/ 2147483647 h 103"/>
                  <a:gd name="T4" fmla="*/ 2147483647 w 64"/>
                  <a:gd name="T5" fmla="*/ 2147483647 h 103"/>
                  <a:gd name="T6" fmla="*/ 2147483647 w 64"/>
                  <a:gd name="T7" fmla="*/ 2147483647 h 103"/>
                  <a:gd name="T8" fmla="*/ 2147483647 w 64"/>
                  <a:gd name="T9" fmla="*/ 2147483647 h 103"/>
                  <a:gd name="T10" fmla="*/ 2147483647 w 64"/>
                  <a:gd name="T11" fmla="*/ 2147483647 h 103"/>
                  <a:gd name="T12" fmla="*/ 2147483647 w 64"/>
                  <a:gd name="T13" fmla="*/ 0 h 103"/>
                  <a:gd name="T14" fmla="*/ 2147483647 w 64"/>
                  <a:gd name="T15" fmla="*/ 2147483647 h 103"/>
                  <a:gd name="T16" fmla="*/ 2147483647 w 64"/>
                  <a:gd name="T17" fmla="*/ 2147483647 h 103"/>
                  <a:gd name="T18" fmla="*/ 2147483647 w 64"/>
                  <a:gd name="T19" fmla="*/ 2147483647 h 103"/>
                  <a:gd name="T20" fmla="*/ 2147483647 w 64"/>
                  <a:gd name="T21" fmla="*/ 2147483647 h 103"/>
                  <a:gd name="T22" fmla="*/ 2147483647 w 64"/>
                  <a:gd name="T23" fmla="*/ 2147483647 h 103"/>
                  <a:gd name="T24" fmla="*/ 2147483647 w 64"/>
                  <a:gd name="T25" fmla="*/ 2147483647 h 103"/>
                  <a:gd name="T26" fmla="*/ 2147483647 w 64"/>
                  <a:gd name="T27" fmla="*/ 2147483647 h 103"/>
                  <a:gd name="T28" fmla="*/ 2147483647 w 64"/>
                  <a:gd name="T29" fmla="*/ 2147483647 h 103"/>
                  <a:gd name="T30" fmla="*/ 2147483647 w 64"/>
                  <a:gd name="T31" fmla="*/ 2147483647 h 103"/>
                  <a:gd name="T32" fmla="*/ 0 w 64"/>
                  <a:gd name="T33" fmla="*/ 2147483647 h 103"/>
                  <a:gd name="T34" fmla="*/ 0 w 64"/>
                  <a:gd name="T35" fmla="*/ 2147483647 h 103"/>
                  <a:gd name="T36" fmla="*/ 2147483647 w 64"/>
                  <a:gd name="T37" fmla="*/ 2147483647 h 10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4" h="103">
                    <a:moveTo>
                      <a:pt x="26" y="3"/>
                    </a:moveTo>
                    <a:cubicBezTo>
                      <a:pt x="26" y="21"/>
                      <a:pt x="26" y="21"/>
                      <a:pt x="26" y="21"/>
                    </a:cubicBezTo>
                    <a:cubicBezTo>
                      <a:pt x="27" y="21"/>
                      <a:pt x="27" y="21"/>
                      <a:pt x="27" y="21"/>
                    </a:cubicBezTo>
                    <a:cubicBezTo>
                      <a:pt x="28" y="18"/>
                      <a:pt x="30" y="16"/>
                      <a:pt x="32" y="13"/>
                    </a:cubicBezTo>
                    <a:cubicBezTo>
                      <a:pt x="34" y="10"/>
                      <a:pt x="36" y="8"/>
                      <a:pt x="39" y="6"/>
                    </a:cubicBezTo>
                    <a:cubicBezTo>
                      <a:pt x="42" y="4"/>
                      <a:pt x="45" y="3"/>
                      <a:pt x="48" y="2"/>
                    </a:cubicBezTo>
                    <a:cubicBezTo>
                      <a:pt x="52" y="1"/>
                      <a:pt x="55" y="0"/>
                      <a:pt x="58" y="0"/>
                    </a:cubicBezTo>
                    <a:cubicBezTo>
                      <a:pt x="60" y="0"/>
                      <a:pt x="62" y="1"/>
                      <a:pt x="64" y="1"/>
                    </a:cubicBezTo>
                    <a:cubicBezTo>
                      <a:pt x="64" y="27"/>
                      <a:pt x="64" y="27"/>
                      <a:pt x="64" y="27"/>
                    </a:cubicBezTo>
                    <a:cubicBezTo>
                      <a:pt x="63" y="26"/>
                      <a:pt x="62" y="26"/>
                      <a:pt x="60" y="26"/>
                    </a:cubicBezTo>
                    <a:cubicBezTo>
                      <a:pt x="58" y="26"/>
                      <a:pt x="56" y="26"/>
                      <a:pt x="55" y="26"/>
                    </a:cubicBezTo>
                    <a:cubicBezTo>
                      <a:pt x="50" y="26"/>
                      <a:pt x="45" y="27"/>
                      <a:pt x="42" y="28"/>
                    </a:cubicBezTo>
                    <a:cubicBezTo>
                      <a:pt x="38" y="30"/>
                      <a:pt x="36" y="32"/>
                      <a:pt x="33" y="35"/>
                    </a:cubicBezTo>
                    <a:cubicBezTo>
                      <a:pt x="31" y="38"/>
                      <a:pt x="30" y="41"/>
                      <a:pt x="29" y="45"/>
                    </a:cubicBezTo>
                    <a:cubicBezTo>
                      <a:pt x="28" y="49"/>
                      <a:pt x="27" y="53"/>
                      <a:pt x="27" y="58"/>
                    </a:cubicBezTo>
                    <a:cubicBezTo>
                      <a:pt x="27" y="103"/>
                      <a:pt x="27" y="103"/>
                      <a:pt x="27" y="103"/>
                    </a:cubicBezTo>
                    <a:cubicBezTo>
                      <a:pt x="0" y="103"/>
                      <a:pt x="0" y="103"/>
                      <a:pt x="0" y="103"/>
                    </a:cubicBezTo>
                    <a:cubicBezTo>
                      <a:pt x="0" y="3"/>
                      <a:pt x="0" y="3"/>
                      <a:pt x="0" y="3"/>
                    </a:cubicBezTo>
                    <a:lnTo>
                      <a:pt x="2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0" name="Freeform 26"/>
              <p:cNvSpPr>
                <a:spLocks/>
              </p:cNvSpPr>
              <p:nvPr userDrawn="1"/>
            </p:nvSpPr>
            <p:spPr bwMode="auto">
              <a:xfrm>
                <a:off x="1573213" y="4681538"/>
                <a:ext cx="127000" cy="130175"/>
              </a:xfrm>
              <a:custGeom>
                <a:avLst/>
                <a:gdLst>
                  <a:gd name="T0" fmla="*/ 2147483647 w 80"/>
                  <a:gd name="T1" fmla="*/ 2147483647 h 82"/>
                  <a:gd name="T2" fmla="*/ 0 w 80"/>
                  <a:gd name="T3" fmla="*/ 0 h 82"/>
                  <a:gd name="T4" fmla="*/ 2147483647 w 80"/>
                  <a:gd name="T5" fmla="*/ 0 h 82"/>
                  <a:gd name="T6" fmla="*/ 2147483647 w 80"/>
                  <a:gd name="T7" fmla="*/ 2147483647 h 82"/>
                  <a:gd name="T8" fmla="*/ 2147483647 w 80"/>
                  <a:gd name="T9" fmla="*/ 2147483647 h 82"/>
                  <a:gd name="T10" fmla="*/ 2147483647 w 80"/>
                  <a:gd name="T11" fmla="*/ 0 h 82"/>
                  <a:gd name="T12" fmla="*/ 2147483647 w 80"/>
                  <a:gd name="T13" fmla="*/ 0 h 82"/>
                  <a:gd name="T14" fmla="*/ 2147483647 w 80"/>
                  <a:gd name="T15" fmla="*/ 2147483647 h 82"/>
                  <a:gd name="T16" fmla="*/ 2147483647 w 80"/>
                  <a:gd name="T17" fmla="*/ 2147483647 h 8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80" h="82">
                    <a:moveTo>
                      <a:pt x="28" y="82"/>
                    </a:moveTo>
                    <a:lnTo>
                      <a:pt x="0" y="0"/>
                    </a:lnTo>
                    <a:lnTo>
                      <a:pt x="24" y="0"/>
                    </a:lnTo>
                    <a:lnTo>
                      <a:pt x="41" y="56"/>
                    </a:lnTo>
                    <a:lnTo>
                      <a:pt x="58" y="0"/>
                    </a:lnTo>
                    <a:lnTo>
                      <a:pt x="80" y="0"/>
                    </a:lnTo>
                    <a:lnTo>
                      <a:pt x="53" y="82"/>
                    </a:lnTo>
                    <a:lnTo>
                      <a:pt x="28" y="8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1" name="Freeform 27"/>
              <p:cNvSpPr>
                <a:spLocks noEditPoints="1"/>
              </p:cNvSpPr>
              <p:nvPr userDrawn="1"/>
            </p:nvSpPr>
            <p:spPr bwMode="auto">
              <a:xfrm>
                <a:off x="1712913" y="4632326"/>
                <a:ext cx="34925" cy="179388"/>
              </a:xfrm>
              <a:custGeom>
                <a:avLst/>
                <a:gdLst>
                  <a:gd name="T0" fmla="*/ 0 w 22"/>
                  <a:gd name="T1" fmla="*/ 2147483647 h 113"/>
                  <a:gd name="T2" fmla="*/ 0 w 22"/>
                  <a:gd name="T3" fmla="*/ 0 h 113"/>
                  <a:gd name="T4" fmla="*/ 2147483647 w 22"/>
                  <a:gd name="T5" fmla="*/ 0 h 113"/>
                  <a:gd name="T6" fmla="*/ 2147483647 w 22"/>
                  <a:gd name="T7" fmla="*/ 2147483647 h 113"/>
                  <a:gd name="T8" fmla="*/ 0 w 22"/>
                  <a:gd name="T9" fmla="*/ 2147483647 h 113"/>
                  <a:gd name="T10" fmla="*/ 2147483647 w 22"/>
                  <a:gd name="T11" fmla="*/ 2147483647 h 113"/>
                  <a:gd name="T12" fmla="*/ 2147483647 w 22"/>
                  <a:gd name="T13" fmla="*/ 2147483647 h 113"/>
                  <a:gd name="T14" fmla="*/ 0 w 22"/>
                  <a:gd name="T15" fmla="*/ 2147483647 h 113"/>
                  <a:gd name="T16" fmla="*/ 0 w 22"/>
                  <a:gd name="T17" fmla="*/ 2147483647 h 113"/>
                  <a:gd name="T18" fmla="*/ 2147483647 w 22"/>
                  <a:gd name="T19" fmla="*/ 2147483647 h 11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" h="113">
                    <a:moveTo>
                      <a:pt x="0" y="18"/>
                    </a:moveTo>
                    <a:lnTo>
                      <a:pt x="0" y="0"/>
                    </a:lnTo>
                    <a:lnTo>
                      <a:pt x="22" y="0"/>
                    </a:lnTo>
                    <a:lnTo>
                      <a:pt x="22" y="18"/>
                    </a:lnTo>
                    <a:lnTo>
                      <a:pt x="0" y="18"/>
                    </a:lnTo>
                    <a:close/>
                    <a:moveTo>
                      <a:pt x="22" y="31"/>
                    </a:moveTo>
                    <a:lnTo>
                      <a:pt x="22" y="113"/>
                    </a:lnTo>
                    <a:lnTo>
                      <a:pt x="0" y="113"/>
                    </a:lnTo>
                    <a:lnTo>
                      <a:pt x="0" y="31"/>
                    </a:lnTo>
                    <a:lnTo>
                      <a:pt x="22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2" name="Freeform 28"/>
              <p:cNvSpPr>
                <a:spLocks/>
              </p:cNvSpPr>
              <p:nvPr userDrawn="1"/>
            </p:nvSpPr>
            <p:spPr bwMode="auto">
              <a:xfrm>
                <a:off x="1766888" y="4678363"/>
                <a:ext cx="127000" cy="136525"/>
              </a:xfrm>
              <a:custGeom>
                <a:avLst/>
                <a:gdLst>
                  <a:gd name="T0" fmla="*/ 2147483647 w 99"/>
                  <a:gd name="T1" fmla="*/ 2147483647 h 106"/>
                  <a:gd name="T2" fmla="*/ 2147483647 w 99"/>
                  <a:gd name="T3" fmla="*/ 2147483647 h 106"/>
                  <a:gd name="T4" fmla="*/ 2147483647 w 99"/>
                  <a:gd name="T5" fmla="*/ 2147483647 h 106"/>
                  <a:gd name="T6" fmla="*/ 2147483647 w 99"/>
                  <a:gd name="T7" fmla="*/ 2147483647 h 106"/>
                  <a:gd name="T8" fmla="*/ 2147483647 w 99"/>
                  <a:gd name="T9" fmla="*/ 2147483647 h 106"/>
                  <a:gd name="T10" fmla="*/ 2147483647 w 99"/>
                  <a:gd name="T11" fmla="*/ 2147483647 h 106"/>
                  <a:gd name="T12" fmla="*/ 2147483647 w 99"/>
                  <a:gd name="T13" fmla="*/ 2147483647 h 106"/>
                  <a:gd name="T14" fmla="*/ 2147483647 w 99"/>
                  <a:gd name="T15" fmla="*/ 2147483647 h 106"/>
                  <a:gd name="T16" fmla="*/ 2147483647 w 99"/>
                  <a:gd name="T17" fmla="*/ 2147483647 h 106"/>
                  <a:gd name="T18" fmla="*/ 2147483647 w 99"/>
                  <a:gd name="T19" fmla="*/ 2147483647 h 106"/>
                  <a:gd name="T20" fmla="*/ 2147483647 w 99"/>
                  <a:gd name="T21" fmla="*/ 2147483647 h 106"/>
                  <a:gd name="T22" fmla="*/ 2147483647 w 99"/>
                  <a:gd name="T23" fmla="*/ 2147483647 h 106"/>
                  <a:gd name="T24" fmla="*/ 2147483647 w 99"/>
                  <a:gd name="T25" fmla="*/ 2147483647 h 106"/>
                  <a:gd name="T26" fmla="*/ 2147483647 w 99"/>
                  <a:gd name="T27" fmla="*/ 2147483647 h 106"/>
                  <a:gd name="T28" fmla="*/ 2147483647 w 99"/>
                  <a:gd name="T29" fmla="*/ 2147483647 h 106"/>
                  <a:gd name="T30" fmla="*/ 2147483647 w 99"/>
                  <a:gd name="T31" fmla="*/ 2147483647 h 106"/>
                  <a:gd name="T32" fmla="*/ 2147483647 w 99"/>
                  <a:gd name="T33" fmla="*/ 2147483647 h 106"/>
                  <a:gd name="T34" fmla="*/ 0 w 99"/>
                  <a:gd name="T35" fmla="*/ 2147483647 h 106"/>
                  <a:gd name="T36" fmla="*/ 2147483647 w 99"/>
                  <a:gd name="T37" fmla="*/ 2147483647 h 106"/>
                  <a:gd name="T38" fmla="*/ 2147483647 w 99"/>
                  <a:gd name="T39" fmla="*/ 2147483647 h 106"/>
                  <a:gd name="T40" fmla="*/ 2147483647 w 99"/>
                  <a:gd name="T41" fmla="*/ 2147483647 h 106"/>
                  <a:gd name="T42" fmla="*/ 2147483647 w 99"/>
                  <a:gd name="T43" fmla="*/ 0 h 106"/>
                  <a:gd name="T44" fmla="*/ 2147483647 w 99"/>
                  <a:gd name="T45" fmla="*/ 2147483647 h 106"/>
                  <a:gd name="T46" fmla="*/ 2147483647 w 99"/>
                  <a:gd name="T47" fmla="*/ 2147483647 h 106"/>
                  <a:gd name="T48" fmla="*/ 2147483647 w 99"/>
                  <a:gd name="T49" fmla="*/ 2147483647 h 106"/>
                  <a:gd name="T50" fmla="*/ 2147483647 w 99"/>
                  <a:gd name="T51" fmla="*/ 2147483647 h 106"/>
                  <a:gd name="T52" fmla="*/ 2147483647 w 99"/>
                  <a:gd name="T53" fmla="*/ 2147483647 h 106"/>
                  <a:gd name="T54" fmla="*/ 2147483647 w 99"/>
                  <a:gd name="T55" fmla="*/ 2147483647 h 10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99" h="106">
                    <a:moveTo>
                      <a:pt x="51" y="21"/>
                    </a:moveTo>
                    <a:cubicBezTo>
                      <a:pt x="47" y="21"/>
                      <a:pt x="43" y="22"/>
                      <a:pt x="40" y="24"/>
                    </a:cubicBezTo>
                    <a:cubicBezTo>
                      <a:pt x="37" y="26"/>
                      <a:pt x="35" y="28"/>
                      <a:pt x="33" y="32"/>
                    </a:cubicBezTo>
                    <a:cubicBezTo>
                      <a:pt x="31" y="35"/>
                      <a:pt x="30" y="38"/>
                      <a:pt x="29" y="42"/>
                    </a:cubicBezTo>
                    <a:cubicBezTo>
                      <a:pt x="28" y="46"/>
                      <a:pt x="28" y="50"/>
                      <a:pt x="28" y="53"/>
                    </a:cubicBezTo>
                    <a:cubicBezTo>
                      <a:pt x="28" y="57"/>
                      <a:pt x="28" y="61"/>
                      <a:pt x="29" y="64"/>
                    </a:cubicBezTo>
                    <a:cubicBezTo>
                      <a:pt x="30" y="68"/>
                      <a:pt x="31" y="72"/>
                      <a:pt x="33" y="75"/>
                    </a:cubicBezTo>
                    <a:cubicBezTo>
                      <a:pt x="34" y="78"/>
                      <a:pt x="37" y="80"/>
                      <a:pt x="40" y="82"/>
                    </a:cubicBezTo>
                    <a:cubicBezTo>
                      <a:pt x="43" y="84"/>
                      <a:pt x="46" y="85"/>
                      <a:pt x="51" y="85"/>
                    </a:cubicBezTo>
                    <a:cubicBezTo>
                      <a:pt x="57" y="85"/>
                      <a:pt x="62" y="83"/>
                      <a:pt x="66" y="79"/>
                    </a:cubicBezTo>
                    <a:cubicBezTo>
                      <a:pt x="69" y="76"/>
                      <a:pt x="72" y="71"/>
                      <a:pt x="73" y="65"/>
                    </a:cubicBezTo>
                    <a:cubicBezTo>
                      <a:pt x="99" y="65"/>
                      <a:pt x="99" y="65"/>
                      <a:pt x="99" y="65"/>
                    </a:cubicBezTo>
                    <a:cubicBezTo>
                      <a:pt x="97" y="78"/>
                      <a:pt x="92" y="88"/>
                      <a:pt x="84" y="95"/>
                    </a:cubicBezTo>
                    <a:cubicBezTo>
                      <a:pt x="75" y="102"/>
                      <a:pt x="64" y="106"/>
                      <a:pt x="51" y="106"/>
                    </a:cubicBezTo>
                    <a:cubicBezTo>
                      <a:pt x="43" y="106"/>
                      <a:pt x="36" y="104"/>
                      <a:pt x="30" y="102"/>
                    </a:cubicBezTo>
                    <a:cubicBezTo>
                      <a:pt x="24" y="99"/>
                      <a:pt x="19" y="96"/>
                      <a:pt x="14" y="91"/>
                    </a:cubicBezTo>
                    <a:cubicBezTo>
                      <a:pt x="10" y="87"/>
                      <a:pt x="6" y="81"/>
                      <a:pt x="4" y="75"/>
                    </a:cubicBezTo>
                    <a:cubicBezTo>
                      <a:pt x="2" y="69"/>
                      <a:pt x="0" y="62"/>
                      <a:pt x="0" y="54"/>
                    </a:cubicBezTo>
                    <a:cubicBezTo>
                      <a:pt x="0" y="47"/>
                      <a:pt x="1" y="39"/>
                      <a:pt x="4" y="33"/>
                    </a:cubicBezTo>
                    <a:cubicBezTo>
                      <a:pt x="6" y="26"/>
                      <a:pt x="9" y="20"/>
                      <a:pt x="14" y="16"/>
                    </a:cubicBezTo>
                    <a:cubicBezTo>
                      <a:pt x="18" y="11"/>
                      <a:pt x="23" y="7"/>
                      <a:pt x="30" y="4"/>
                    </a:cubicBezTo>
                    <a:cubicBezTo>
                      <a:pt x="36" y="2"/>
                      <a:pt x="43" y="0"/>
                      <a:pt x="51" y="0"/>
                    </a:cubicBezTo>
                    <a:cubicBezTo>
                      <a:pt x="57" y="0"/>
                      <a:pt x="63" y="1"/>
                      <a:pt x="69" y="2"/>
                    </a:cubicBezTo>
                    <a:cubicBezTo>
                      <a:pt x="74" y="4"/>
                      <a:pt x="79" y="6"/>
                      <a:pt x="83" y="10"/>
                    </a:cubicBezTo>
                    <a:cubicBezTo>
                      <a:pt x="88" y="13"/>
                      <a:pt x="91" y="17"/>
                      <a:pt x="94" y="21"/>
                    </a:cubicBezTo>
                    <a:cubicBezTo>
                      <a:pt x="97" y="26"/>
                      <a:pt x="98" y="32"/>
                      <a:pt x="99" y="38"/>
                    </a:cubicBezTo>
                    <a:cubicBezTo>
                      <a:pt x="72" y="38"/>
                      <a:pt x="72" y="38"/>
                      <a:pt x="72" y="38"/>
                    </a:cubicBezTo>
                    <a:cubicBezTo>
                      <a:pt x="70" y="27"/>
                      <a:pt x="63" y="21"/>
                      <a:pt x="51" y="2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3" name="Freeform 29"/>
              <p:cNvSpPr>
                <a:spLocks noEditPoints="1"/>
              </p:cNvSpPr>
              <p:nvPr userDrawn="1"/>
            </p:nvSpPr>
            <p:spPr bwMode="auto">
              <a:xfrm>
                <a:off x="1903413" y="4678363"/>
                <a:ext cx="130175" cy="136525"/>
              </a:xfrm>
              <a:custGeom>
                <a:avLst/>
                <a:gdLst>
                  <a:gd name="T0" fmla="*/ 2147483647 w 101"/>
                  <a:gd name="T1" fmla="*/ 2147483647 h 106"/>
                  <a:gd name="T2" fmla="*/ 2147483647 w 101"/>
                  <a:gd name="T3" fmla="*/ 2147483647 h 106"/>
                  <a:gd name="T4" fmla="*/ 2147483647 w 101"/>
                  <a:gd name="T5" fmla="*/ 2147483647 h 106"/>
                  <a:gd name="T6" fmla="*/ 2147483647 w 101"/>
                  <a:gd name="T7" fmla="*/ 2147483647 h 106"/>
                  <a:gd name="T8" fmla="*/ 2147483647 w 101"/>
                  <a:gd name="T9" fmla="*/ 2147483647 h 106"/>
                  <a:gd name="T10" fmla="*/ 2147483647 w 101"/>
                  <a:gd name="T11" fmla="*/ 2147483647 h 106"/>
                  <a:gd name="T12" fmla="*/ 2147483647 w 101"/>
                  <a:gd name="T13" fmla="*/ 2147483647 h 106"/>
                  <a:gd name="T14" fmla="*/ 2147483647 w 101"/>
                  <a:gd name="T15" fmla="*/ 2147483647 h 106"/>
                  <a:gd name="T16" fmla="*/ 2147483647 w 101"/>
                  <a:gd name="T17" fmla="*/ 2147483647 h 106"/>
                  <a:gd name="T18" fmla="*/ 2147483647 w 101"/>
                  <a:gd name="T19" fmla="*/ 2147483647 h 106"/>
                  <a:gd name="T20" fmla="*/ 0 w 101"/>
                  <a:gd name="T21" fmla="*/ 2147483647 h 106"/>
                  <a:gd name="T22" fmla="*/ 2147483647 w 101"/>
                  <a:gd name="T23" fmla="*/ 2147483647 h 106"/>
                  <a:gd name="T24" fmla="*/ 2147483647 w 101"/>
                  <a:gd name="T25" fmla="*/ 2147483647 h 106"/>
                  <a:gd name="T26" fmla="*/ 2147483647 w 101"/>
                  <a:gd name="T27" fmla="*/ 2147483647 h 106"/>
                  <a:gd name="T28" fmla="*/ 2147483647 w 101"/>
                  <a:gd name="T29" fmla="*/ 0 h 106"/>
                  <a:gd name="T30" fmla="*/ 2147483647 w 101"/>
                  <a:gd name="T31" fmla="*/ 2147483647 h 106"/>
                  <a:gd name="T32" fmla="*/ 2147483647 w 101"/>
                  <a:gd name="T33" fmla="*/ 2147483647 h 106"/>
                  <a:gd name="T34" fmla="*/ 2147483647 w 101"/>
                  <a:gd name="T35" fmla="*/ 2147483647 h 106"/>
                  <a:gd name="T36" fmla="*/ 2147483647 w 101"/>
                  <a:gd name="T37" fmla="*/ 2147483647 h 106"/>
                  <a:gd name="T38" fmla="*/ 2147483647 w 101"/>
                  <a:gd name="T39" fmla="*/ 2147483647 h 106"/>
                  <a:gd name="T40" fmla="*/ 2147483647 w 101"/>
                  <a:gd name="T41" fmla="*/ 2147483647 h 106"/>
                  <a:gd name="T42" fmla="*/ 2147483647 w 101"/>
                  <a:gd name="T43" fmla="*/ 2147483647 h 106"/>
                  <a:gd name="T44" fmla="*/ 2147483647 w 101"/>
                  <a:gd name="T45" fmla="*/ 2147483647 h 106"/>
                  <a:gd name="T46" fmla="*/ 2147483647 w 101"/>
                  <a:gd name="T47" fmla="*/ 2147483647 h 106"/>
                  <a:gd name="T48" fmla="*/ 2147483647 w 101"/>
                  <a:gd name="T49" fmla="*/ 2147483647 h 106"/>
                  <a:gd name="T50" fmla="*/ 2147483647 w 101"/>
                  <a:gd name="T51" fmla="*/ 2147483647 h 106"/>
                  <a:gd name="T52" fmla="*/ 2147483647 w 101"/>
                  <a:gd name="T53" fmla="*/ 2147483647 h 106"/>
                  <a:gd name="T54" fmla="*/ 2147483647 w 101"/>
                  <a:gd name="T55" fmla="*/ 2147483647 h 106"/>
                  <a:gd name="T56" fmla="*/ 2147483647 w 101"/>
                  <a:gd name="T57" fmla="*/ 2147483647 h 10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01" h="106">
                    <a:moveTo>
                      <a:pt x="35" y="79"/>
                    </a:moveTo>
                    <a:cubicBezTo>
                      <a:pt x="39" y="83"/>
                      <a:pt x="45" y="85"/>
                      <a:pt x="52" y="85"/>
                    </a:cubicBezTo>
                    <a:cubicBezTo>
                      <a:pt x="58" y="85"/>
                      <a:pt x="63" y="84"/>
                      <a:pt x="67" y="81"/>
                    </a:cubicBezTo>
                    <a:cubicBezTo>
                      <a:pt x="71" y="78"/>
                      <a:pt x="73" y="75"/>
                      <a:pt x="74" y="72"/>
                    </a:cubicBezTo>
                    <a:cubicBezTo>
                      <a:pt x="98" y="72"/>
                      <a:pt x="98" y="72"/>
                      <a:pt x="98" y="72"/>
                    </a:cubicBezTo>
                    <a:cubicBezTo>
                      <a:pt x="94" y="84"/>
                      <a:pt x="89" y="93"/>
                      <a:pt x="81" y="98"/>
                    </a:cubicBezTo>
                    <a:cubicBezTo>
                      <a:pt x="73" y="103"/>
                      <a:pt x="63" y="106"/>
                      <a:pt x="51" y="106"/>
                    </a:cubicBezTo>
                    <a:cubicBezTo>
                      <a:pt x="44" y="106"/>
                      <a:pt x="36" y="104"/>
                      <a:pt x="30" y="102"/>
                    </a:cubicBezTo>
                    <a:cubicBezTo>
                      <a:pt x="24" y="99"/>
                      <a:pt x="18" y="96"/>
                      <a:pt x="14" y="91"/>
                    </a:cubicBezTo>
                    <a:cubicBezTo>
                      <a:pt x="10" y="86"/>
                      <a:pt x="6" y="81"/>
                      <a:pt x="4" y="74"/>
                    </a:cubicBezTo>
                    <a:cubicBezTo>
                      <a:pt x="2" y="68"/>
                      <a:pt x="0" y="61"/>
                      <a:pt x="0" y="53"/>
                    </a:cubicBezTo>
                    <a:cubicBezTo>
                      <a:pt x="0" y="46"/>
                      <a:pt x="2" y="39"/>
                      <a:pt x="4" y="32"/>
                    </a:cubicBezTo>
                    <a:cubicBezTo>
                      <a:pt x="6" y="26"/>
                      <a:pt x="10" y="20"/>
                      <a:pt x="14" y="15"/>
                    </a:cubicBezTo>
                    <a:cubicBezTo>
                      <a:pt x="19" y="11"/>
                      <a:pt x="24" y="7"/>
                      <a:pt x="31" y="4"/>
                    </a:cubicBezTo>
                    <a:cubicBezTo>
                      <a:pt x="37" y="2"/>
                      <a:pt x="44" y="0"/>
                      <a:pt x="51" y="0"/>
                    </a:cubicBezTo>
                    <a:cubicBezTo>
                      <a:pt x="60" y="0"/>
                      <a:pt x="67" y="2"/>
                      <a:pt x="74" y="5"/>
                    </a:cubicBezTo>
                    <a:cubicBezTo>
                      <a:pt x="80" y="8"/>
                      <a:pt x="85" y="13"/>
                      <a:pt x="89" y="18"/>
                    </a:cubicBezTo>
                    <a:cubicBezTo>
                      <a:pt x="93" y="24"/>
                      <a:pt x="96" y="30"/>
                      <a:pt x="98" y="37"/>
                    </a:cubicBezTo>
                    <a:cubicBezTo>
                      <a:pt x="100" y="44"/>
                      <a:pt x="101" y="52"/>
                      <a:pt x="100" y="60"/>
                    </a:cubicBezTo>
                    <a:cubicBezTo>
                      <a:pt x="28" y="60"/>
                      <a:pt x="28" y="60"/>
                      <a:pt x="28" y="60"/>
                    </a:cubicBezTo>
                    <a:cubicBezTo>
                      <a:pt x="28" y="69"/>
                      <a:pt x="30" y="75"/>
                      <a:pt x="35" y="79"/>
                    </a:cubicBezTo>
                    <a:close/>
                    <a:moveTo>
                      <a:pt x="66" y="26"/>
                    </a:moveTo>
                    <a:cubicBezTo>
                      <a:pt x="62" y="23"/>
                      <a:pt x="57" y="21"/>
                      <a:pt x="51" y="21"/>
                    </a:cubicBezTo>
                    <a:cubicBezTo>
                      <a:pt x="46" y="21"/>
                      <a:pt x="43" y="22"/>
                      <a:pt x="40" y="23"/>
                    </a:cubicBezTo>
                    <a:cubicBezTo>
                      <a:pt x="37" y="25"/>
                      <a:pt x="35" y="26"/>
                      <a:pt x="33" y="29"/>
                    </a:cubicBezTo>
                    <a:cubicBezTo>
                      <a:pt x="31" y="31"/>
                      <a:pt x="30" y="33"/>
                      <a:pt x="29" y="36"/>
                    </a:cubicBezTo>
                    <a:cubicBezTo>
                      <a:pt x="28" y="38"/>
                      <a:pt x="28" y="40"/>
                      <a:pt x="28" y="42"/>
                    </a:cubicBezTo>
                    <a:cubicBezTo>
                      <a:pt x="73" y="42"/>
                      <a:pt x="73" y="42"/>
                      <a:pt x="73" y="42"/>
                    </a:cubicBezTo>
                    <a:cubicBezTo>
                      <a:pt x="71" y="35"/>
                      <a:pt x="69" y="30"/>
                      <a:pt x="66" y="26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4" name="Freeform 30"/>
              <p:cNvSpPr>
                <a:spLocks/>
              </p:cNvSpPr>
              <p:nvPr userDrawn="1"/>
            </p:nvSpPr>
            <p:spPr bwMode="auto">
              <a:xfrm>
                <a:off x="2043113" y="4678363"/>
                <a:ext cx="119063" cy="136525"/>
              </a:xfrm>
              <a:custGeom>
                <a:avLst/>
                <a:gdLst>
                  <a:gd name="T0" fmla="*/ 2147483647 w 93"/>
                  <a:gd name="T1" fmla="*/ 2147483647 h 106"/>
                  <a:gd name="T2" fmla="*/ 2147483647 w 93"/>
                  <a:gd name="T3" fmla="*/ 2147483647 h 106"/>
                  <a:gd name="T4" fmla="*/ 2147483647 w 93"/>
                  <a:gd name="T5" fmla="*/ 2147483647 h 106"/>
                  <a:gd name="T6" fmla="*/ 2147483647 w 93"/>
                  <a:gd name="T7" fmla="*/ 2147483647 h 106"/>
                  <a:gd name="T8" fmla="*/ 2147483647 w 93"/>
                  <a:gd name="T9" fmla="*/ 2147483647 h 106"/>
                  <a:gd name="T10" fmla="*/ 2147483647 w 93"/>
                  <a:gd name="T11" fmla="*/ 2147483647 h 106"/>
                  <a:gd name="T12" fmla="*/ 2147483647 w 93"/>
                  <a:gd name="T13" fmla="*/ 2147483647 h 106"/>
                  <a:gd name="T14" fmla="*/ 2147483647 w 93"/>
                  <a:gd name="T15" fmla="*/ 2147483647 h 106"/>
                  <a:gd name="T16" fmla="*/ 2147483647 w 93"/>
                  <a:gd name="T17" fmla="*/ 2147483647 h 106"/>
                  <a:gd name="T18" fmla="*/ 2147483647 w 93"/>
                  <a:gd name="T19" fmla="*/ 2147483647 h 106"/>
                  <a:gd name="T20" fmla="*/ 2147483647 w 93"/>
                  <a:gd name="T21" fmla="*/ 2147483647 h 106"/>
                  <a:gd name="T22" fmla="*/ 2147483647 w 93"/>
                  <a:gd name="T23" fmla="*/ 2147483647 h 106"/>
                  <a:gd name="T24" fmla="*/ 2147483647 w 93"/>
                  <a:gd name="T25" fmla="*/ 2147483647 h 106"/>
                  <a:gd name="T26" fmla="*/ 2147483647 w 93"/>
                  <a:gd name="T27" fmla="*/ 2147483647 h 106"/>
                  <a:gd name="T28" fmla="*/ 2147483647 w 93"/>
                  <a:gd name="T29" fmla="*/ 2147483647 h 106"/>
                  <a:gd name="T30" fmla="*/ 2147483647 w 93"/>
                  <a:gd name="T31" fmla="*/ 2147483647 h 106"/>
                  <a:gd name="T32" fmla="*/ 2147483647 w 93"/>
                  <a:gd name="T33" fmla="*/ 2147483647 h 106"/>
                  <a:gd name="T34" fmla="*/ 2147483647 w 93"/>
                  <a:gd name="T35" fmla="*/ 0 h 106"/>
                  <a:gd name="T36" fmla="*/ 2147483647 w 93"/>
                  <a:gd name="T37" fmla="*/ 2147483647 h 106"/>
                  <a:gd name="T38" fmla="*/ 2147483647 w 93"/>
                  <a:gd name="T39" fmla="*/ 2147483647 h 106"/>
                  <a:gd name="T40" fmla="*/ 2147483647 w 93"/>
                  <a:gd name="T41" fmla="*/ 2147483647 h 106"/>
                  <a:gd name="T42" fmla="*/ 2147483647 w 93"/>
                  <a:gd name="T43" fmla="*/ 2147483647 h 106"/>
                  <a:gd name="T44" fmla="*/ 2147483647 w 93"/>
                  <a:gd name="T45" fmla="*/ 2147483647 h 106"/>
                  <a:gd name="T46" fmla="*/ 2147483647 w 93"/>
                  <a:gd name="T47" fmla="*/ 2147483647 h 106"/>
                  <a:gd name="T48" fmla="*/ 2147483647 w 93"/>
                  <a:gd name="T49" fmla="*/ 2147483647 h 106"/>
                  <a:gd name="T50" fmla="*/ 2147483647 w 93"/>
                  <a:gd name="T51" fmla="*/ 2147483647 h 106"/>
                  <a:gd name="T52" fmla="*/ 2147483647 w 93"/>
                  <a:gd name="T53" fmla="*/ 2147483647 h 106"/>
                  <a:gd name="T54" fmla="*/ 2147483647 w 93"/>
                  <a:gd name="T55" fmla="*/ 2147483647 h 106"/>
                  <a:gd name="T56" fmla="*/ 2147483647 w 93"/>
                  <a:gd name="T57" fmla="*/ 2147483647 h 106"/>
                  <a:gd name="T58" fmla="*/ 2147483647 w 93"/>
                  <a:gd name="T59" fmla="*/ 2147483647 h 106"/>
                  <a:gd name="T60" fmla="*/ 2147483647 w 93"/>
                  <a:gd name="T61" fmla="*/ 2147483647 h 106"/>
                  <a:gd name="T62" fmla="*/ 2147483647 w 93"/>
                  <a:gd name="T63" fmla="*/ 2147483647 h 106"/>
                  <a:gd name="T64" fmla="*/ 2147483647 w 93"/>
                  <a:gd name="T65" fmla="*/ 2147483647 h 106"/>
                  <a:gd name="T66" fmla="*/ 2147483647 w 93"/>
                  <a:gd name="T67" fmla="*/ 2147483647 h 106"/>
                  <a:gd name="T68" fmla="*/ 2147483647 w 93"/>
                  <a:gd name="T69" fmla="*/ 2147483647 h 106"/>
                  <a:gd name="T70" fmla="*/ 2147483647 w 93"/>
                  <a:gd name="T71" fmla="*/ 2147483647 h 106"/>
                  <a:gd name="T72" fmla="*/ 2147483647 w 93"/>
                  <a:gd name="T73" fmla="*/ 2147483647 h 106"/>
                  <a:gd name="T74" fmla="*/ 2147483647 w 93"/>
                  <a:gd name="T75" fmla="*/ 2147483647 h 106"/>
                  <a:gd name="T76" fmla="*/ 2147483647 w 93"/>
                  <a:gd name="T77" fmla="*/ 2147483647 h 106"/>
                  <a:gd name="T78" fmla="*/ 2147483647 w 93"/>
                  <a:gd name="T79" fmla="*/ 2147483647 h 106"/>
                  <a:gd name="T80" fmla="*/ 2147483647 w 93"/>
                  <a:gd name="T81" fmla="*/ 2147483647 h 106"/>
                  <a:gd name="T82" fmla="*/ 2147483647 w 93"/>
                  <a:gd name="T83" fmla="*/ 2147483647 h 106"/>
                  <a:gd name="T84" fmla="*/ 2147483647 w 93"/>
                  <a:gd name="T85" fmla="*/ 2147483647 h 106"/>
                  <a:gd name="T86" fmla="*/ 2147483647 w 93"/>
                  <a:gd name="T87" fmla="*/ 2147483647 h 106"/>
                  <a:gd name="T88" fmla="*/ 0 w 93"/>
                  <a:gd name="T89" fmla="*/ 2147483647 h 106"/>
                  <a:gd name="T90" fmla="*/ 2147483647 w 93"/>
                  <a:gd name="T91" fmla="*/ 2147483647 h 106"/>
                  <a:gd name="T92" fmla="*/ 2147483647 w 93"/>
                  <a:gd name="T93" fmla="*/ 2147483647 h 10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93" h="106">
                    <a:moveTo>
                      <a:pt x="28" y="78"/>
                    </a:moveTo>
                    <a:cubicBezTo>
                      <a:pt x="29" y="80"/>
                      <a:pt x="31" y="82"/>
                      <a:pt x="33" y="83"/>
                    </a:cubicBezTo>
                    <a:cubicBezTo>
                      <a:pt x="35" y="85"/>
                      <a:pt x="37" y="86"/>
                      <a:pt x="39" y="86"/>
                    </a:cubicBezTo>
                    <a:cubicBezTo>
                      <a:pt x="42" y="87"/>
                      <a:pt x="45" y="87"/>
                      <a:pt x="47" y="87"/>
                    </a:cubicBezTo>
                    <a:cubicBezTo>
                      <a:pt x="49" y="87"/>
                      <a:pt x="51" y="87"/>
                      <a:pt x="53" y="87"/>
                    </a:cubicBezTo>
                    <a:cubicBezTo>
                      <a:pt x="56" y="86"/>
                      <a:pt x="57" y="85"/>
                      <a:pt x="59" y="85"/>
                    </a:cubicBezTo>
                    <a:cubicBezTo>
                      <a:pt x="61" y="84"/>
                      <a:pt x="62" y="82"/>
                      <a:pt x="64" y="81"/>
                    </a:cubicBezTo>
                    <a:cubicBezTo>
                      <a:pt x="65" y="79"/>
                      <a:pt x="65" y="77"/>
                      <a:pt x="65" y="75"/>
                    </a:cubicBezTo>
                    <a:cubicBezTo>
                      <a:pt x="65" y="70"/>
                      <a:pt x="63" y="67"/>
                      <a:pt x="57" y="65"/>
                    </a:cubicBezTo>
                    <a:cubicBezTo>
                      <a:pt x="52" y="63"/>
                      <a:pt x="44" y="61"/>
                      <a:pt x="34" y="59"/>
                    </a:cubicBezTo>
                    <a:cubicBezTo>
                      <a:pt x="30" y="58"/>
                      <a:pt x="26" y="57"/>
                      <a:pt x="22" y="56"/>
                    </a:cubicBezTo>
                    <a:cubicBezTo>
                      <a:pt x="19" y="55"/>
                      <a:pt x="15" y="53"/>
                      <a:pt x="12" y="51"/>
                    </a:cubicBezTo>
                    <a:cubicBezTo>
                      <a:pt x="9" y="49"/>
                      <a:pt x="7" y="46"/>
                      <a:pt x="5" y="43"/>
                    </a:cubicBezTo>
                    <a:cubicBezTo>
                      <a:pt x="3" y="40"/>
                      <a:pt x="2" y="37"/>
                      <a:pt x="2" y="32"/>
                    </a:cubicBezTo>
                    <a:cubicBezTo>
                      <a:pt x="2" y="26"/>
                      <a:pt x="4" y="21"/>
                      <a:pt x="6" y="16"/>
                    </a:cubicBezTo>
                    <a:cubicBezTo>
                      <a:pt x="9" y="12"/>
                      <a:pt x="12" y="9"/>
                      <a:pt x="16" y="7"/>
                    </a:cubicBezTo>
                    <a:cubicBezTo>
                      <a:pt x="20" y="4"/>
                      <a:pt x="25" y="3"/>
                      <a:pt x="30" y="2"/>
                    </a:cubicBezTo>
                    <a:cubicBezTo>
                      <a:pt x="35" y="1"/>
                      <a:pt x="41" y="0"/>
                      <a:pt x="46" y="0"/>
                    </a:cubicBezTo>
                    <a:cubicBezTo>
                      <a:pt x="51" y="0"/>
                      <a:pt x="57" y="1"/>
                      <a:pt x="62" y="2"/>
                    </a:cubicBezTo>
                    <a:cubicBezTo>
                      <a:pt x="67" y="3"/>
                      <a:pt x="71" y="4"/>
                      <a:pt x="75" y="7"/>
                    </a:cubicBezTo>
                    <a:cubicBezTo>
                      <a:pt x="79" y="9"/>
                      <a:pt x="83" y="13"/>
                      <a:pt x="85" y="17"/>
                    </a:cubicBezTo>
                    <a:cubicBezTo>
                      <a:pt x="88" y="21"/>
                      <a:pt x="90" y="26"/>
                      <a:pt x="90" y="32"/>
                    </a:cubicBezTo>
                    <a:cubicBezTo>
                      <a:pt x="64" y="32"/>
                      <a:pt x="64" y="32"/>
                      <a:pt x="64" y="32"/>
                    </a:cubicBezTo>
                    <a:cubicBezTo>
                      <a:pt x="64" y="27"/>
                      <a:pt x="62" y="23"/>
                      <a:pt x="58" y="21"/>
                    </a:cubicBezTo>
                    <a:cubicBezTo>
                      <a:pt x="54" y="20"/>
                      <a:pt x="50" y="19"/>
                      <a:pt x="45" y="19"/>
                    </a:cubicBezTo>
                    <a:cubicBezTo>
                      <a:pt x="44" y="19"/>
                      <a:pt x="42" y="19"/>
                      <a:pt x="40" y="19"/>
                    </a:cubicBezTo>
                    <a:cubicBezTo>
                      <a:pt x="38" y="19"/>
                      <a:pt x="37" y="19"/>
                      <a:pt x="35" y="20"/>
                    </a:cubicBezTo>
                    <a:cubicBezTo>
                      <a:pt x="34" y="21"/>
                      <a:pt x="32" y="22"/>
                      <a:pt x="31" y="23"/>
                    </a:cubicBezTo>
                    <a:cubicBezTo>
                      <a:pt x="30" y="24"/>
                      <a:pt x="30" y="26"/>
                      <a:pt x="30" y="28"/>
                    </a:cubicBezTo>
                    <a:cubicBezTo>
                      <a:pt x="30" y="30"/>
                      <a:pt x="31" y="32"/>
                      <a:pt x="33" y="34"/>
                    </a:cubicBezTo>
                    <a:cubicBezTo>
                      <a:pt x="34" y="35"/>
                      <a:pt x="37" y="37"/>
                      <a:pt x="40" y="38"/>
                    </a:cubicBezTo>
                    <a:cubicBezTo>
                      <a:pt x="43" y="39"/>
                      <a:pt x="46" y="39"/>
                      <a:pt x="50" y="40"/>
                    </a:cubicBezTo>
                    <a:cubicBezTo>
                      <a:pt x="53" y="41"/>
                      <a:pt x="57" y="42"/>
                      <a:pt x="61" y="43"/>
                    </a:cubicBezTo>
                    <a:cubicBezTo>
                      <a:pt x="65" y="44"/>
                      <a:pt x="69" y="45"/>
                      <a:pt x="73" y="46"/>
                    </a:cubicBezTo>
                    <a:cubicBezTo>
                      <a:pt x="77" y="47"/>
                      <a:pt x="80" y="49"/>
                      <a:pt x="83" y="51"/>
                    </a:cubicBezTo>
                    <a:cubicBezTo>
                      <a:pt x="86" y="53"/>
                      <a:pt x="88" y="56"/>
                      <a:pt x="90" y="59"/>
                    </a:cubicBezTo>
                    <a:cubicBezTo>
                      <a:pt x="92" y="62"/>
                      <a:pt x="93" y="66"/>
                      <a:pt x="93" y="71"/>
                    </a:cubicBezTo>
                    <a:cubicBezTo>
                      <a:pt x="93" y="77"/>
                      <a:pt x="91" y="83"/>
                      <a:pt x="89" y="87"/>
                    </a:cubicBezTo>
                    <a:cubicBezTo>
                      <a:pt x="86" y="92"/>
                      <a:pt x="83" y="95"/>
                      <a:pt x="78" y="98"/>
                    </a:cubicBezTo>
                    <a:cubicBezTo>
                      <a:pt x="74" y="101"/>
                      <a:pt x="69" y="103"/>
                      <a:pt x="64" y="104"/>
                    </a:cubicBezTo>
                    <a:cubicBezTo>
                      <a:pt x="58" y="105"/>
                      <a:pt x="53" y="106"/>
                      <a:pt x="47" y="106"/>
                    </a:cubicBezTo>
                    <a:cubicBezTo>
                      <a:pt x="41" y="106"/>
                      <a:pt x="36" y="105"/>
                      <a:pt x="30" y="104"/>
                    </a:cubicBezTo>
                    <a:cubicBezTo>
                      <a:pt x="25" y="103"/>
                      <a:pt x="20" y="101"/>
                      <a:pt x="15" y="98"/>
                    </a:cubicBezTo>
                    <a:cubicBezTo>
                      <a:pt x="11" y="95"/>
                      <a:pt x="7" y="92"/>
                      <a:pt x="5" y="87"/>
                    </a:cubicBezTo>
                    <a:cubicBezTo>
                      <a:pt x="2" y="83"/>
                      <a:pt x="0" y="77"/>
                      <a:pt x="0" y="70"/>
                    </a:cubicBezTo>
                    <a:cubicBezTo>
                      <a:pt x="26" y="70"/>
                      <a:pt x="26" y="70"/>
                      <a:pt x="26" y="70"/>
                    </a:cubicBezTo>
                    <a:cubicBezTo>
                      <a:pt x="26" y="73"/>
                      <a:pt x="27" y="76"/>
                      <a:pt x="28" y="7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</p:grp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4178149052"/>
      </p:ext>
    </p:extLst>
  </p:cSld>
  <p:clrMapOvr>
    <a:masterClrMapping/>
  </p:clrMapOvr>
  <p:transition spd="med">
    <p:fade/>
  </p:transition>
  <p:hf sldNum="0" hdr="0" ftr="0"/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2222362400"/>
      </p:ext>
    </p:extLst>
  </p:cSld>
  <p:clrMapOvr>
    <a:masterClrMapping/>
  </p:clrMapOvr>
  <p:transition spd="med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7" descr="icone-benefices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6113" y="195263"/>
            <a:ext cx="547687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Straight Connector 4"/>
          <p:cNvCxnSpPr/>
          <p:nvPr userDrawn="1"/>
        </p:nvCxnSpPr>
        <p:spPr>
          <a:xfrm>
            <a:off x="179388" y="663575"/>
            <a:ext cx="867568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6744068"/>
      </p:ext>
    </p:extLst>
  </p:cSld>
  <p:clrMapOvr>
    <a:masterClrMapping/>
  </p:clrMapOvr>
  <p:transition spd="med">
    <p:fade/>
  </p:transition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145506662"/>
      </p:ext>
    </p:extLst>
  </p:cSld>
  <p:clrMapOvr>
    <a:masterClrMapping/>
  </p:clrMapOvr>
  <p:transition spd="med">
    <p:fade/>
  </p:transition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7209629"/>
      </p:ext>
    </p:extLst>
  </p:cSld>
  <p:clrMapOvr>
    <a:masterClrMapping/>
  </p:clrMapOvr>
  <p:transition spd="med">
    <p:fade/>
  </p:transition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0125704"/>
      </p:ext>
    </p:extLst>
  </p:cSld>
  <p:clrMapOvr>
    <a:masterClrMapping/>
  </p:clrMapOvr>
  <p:transition spd="med">
    <p:fade/>
  </p:transition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0176889"/>
      </p:ext>
    </p:extLst>
  </p:cSld>
  <p:clrMapOvr>
    <a:masterClrMapping/>
  </p:clrMapOvr>
  <p:transition spd="med">
    <p:fade/>
  </p:transition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6833915"/>
      </p:ext>
    </p:extLst>
  </p:cSld>
  <p:clrMapOvr>
    <a:masterClrMapping/>
  </p:clrMapOvr>
  <p:transition spd="med">
    <p:fade/>
  </p:transition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9829118"/>
      </p:ext>
    </p:extLst>
  </p:cSld>
  <p:clrMapOvr>
    <a:masterClrMapping/>
  </p:clrMapOvr>
  <p:transition spd="med">
    <p:fade/>
  </p:transition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03053258"/>
      </p:ext>
    </p:extLst>
  </p:cSld>
  <p:clrMapOvr>
    <a:masterClrMapping/>
  </p:clrMapOvr>
  <p:transition spd="med">
    <p:fade/>
  </p:transition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2788"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grpSp>
        <p:nvGrpSpPr>
          <p:cNvPr id="6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5pPr>
              <a:lvl6pPr marL="18811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6pPr>
              <a:lvl7pPr marL="23383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7pPr>
              <a:lvl8pPr marL="27955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8pPr>
              <a:lvl9pPr marL="32527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smtClean="0">
                <a:solidFill>
                  <a:srgbClr val="FF6600"/>
                </a:solidFill>
                <a:latin typeface="Helvetica 75 Bold" pitchFamily="34" charset="0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7 w 104"/>
                <a:gd name="T1" fmla="*/ 2147483647 h 122"/>
                <a:gd name="T2" fmla="*/ 2147483647 w 104"/>
                <a:gd name="T3" fmla="*/ 2147483647 h 122"/>
                <a:gd name="T4" fmla="*/ 2147483647 w 104"/>
                <a:gd name="T5" fmla="*/ 2147483647 h 122"/>
                <a:gd name="T6" fmla="*/ 2147483647 w 104"/>
                <a:gd name="T7" fmla="*/ 2147483647 h 122"/>
                <a:gd name="T8" fmla="*/ 2147483647 w 104"/>
                <a:gd name="T9" fmla="*/ 2147483647 h 122"/>
                <a:gd name="T10" fmla="*/ 2147483647 w 104"/>
                <a:gd name="T11" fmla="*/ 2147483647 h 122"/>
                <a:gd name="T12" fmla="*/ 2147483647 w 104"/>
                <a:gd name="T13" fmla="*/ 2147483647 h 122"/>
                <a:gd name="T14" fmla="*/ 0 w 104"/>
                <a:gd name="T15" fmla="*/ 2147483647 h 122"/>
                <a:gd name="T16" fmla="*/ 2147483647 w 104"/>
                <a:gd name="T17" fmla="*/ 2147483647 h 122"/>
                <a:gd name="T18" fmla="*/ 2147483647 w 104"/>
                <a:gd name="T19" fmla="*/ 2147483647 h 122"/>
                <a:gd name="T20" fmla="*/ 2147483647 w 104"/>
                <a:gd name="T21" fmla="*/ 2147483647 h 122"/>
                <a:gd name="T22" fmla="*/ 2147483647 w 104"/>
                <a:gd name="T23" fmla="*/ 2147483647 h 122"/>
                <a:gd name="T24" fmla="*/ 2147483647 w 104"/>
                <a:gd name="T25" fmla="*/ 2147483647 h 122"/>
                <a:gd name="T26" fmla="*/ 2147483647 w 104"/>
                <a:gd name="T27" fmla="*/ 0 h 122"/>
                <a:gd name="T28" fmla="*/ 2147483647 w 104"/>
                <a:gd name="T29" fmla="*/ 2147483647 h 122"/>
                <a:gd name="T30" fmla="*/ 2147483647 w 104"/>
                <a:gd name="T31" fmla="*/ 2147483647 h 122"/>
                <a:gd name="T32" fmla="*/ 2147483647 w 104"/>
                <a:gd name="T33" fmla="*/ 2147483647 h 122"/>
                <a:gd name="T34" fmla="*/ 2147483647 w 104"/>
                <a:gd name="T35" fmla="*/ 2147483647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7 h 120"/>
                <a:gd name="T2" fmla="*/ 2147483647 w 105"/>
                <a:gd name="T3" fmla="*/ 2147483647 h 120"/>
                <a:gd name="T4" fmla="*/ 2147483647 w 105"/>
                <a:gd name="T5" fmla="*/ 2147483647 h 120"/>
                <a:gd name="T6" fmla="*/ 2147483647 w 105"/>
                <a:gd name="T7" fmla="*/ 0 h 120"/>
                <a:gd name="T8" fmla="*/ 2147483647 w 105"/>
                <a:gd name="T9" fmla="*/ 2147483647 h 120"/>
                <a:gd name="T10" fmla="*/ 2147483647 w 105"/>
                <a:gd name="T11" fmla="*/ 2147483647 h 120"/>
                <a:gd name="T12" fmla="*/ 2147483647 w 105"/>
                <a:gd name="T13" fmla="*/ 2147483647 h 120"/>
                <a:gd name="T14" fmla="*/ 2147483647 w 105"/>
                <a:gd name="T15" fmla="*/ 2147483647 h 120"/>
                <a:gd name="T16" fmla="*/ 2147483647 w 105"/>
                <a:gd name="T17" fmla="*/ 2147483647 h 120"/>
                <a:gd name="T18" fmla="*/ 2147483647 w 105"/>
                <a:gd name="T19" fmla="*/ 2147483647 h 120"/>
                <a:gd name="T20" fmla="*/ 2147483647 w 105"/>
                <a:gd name="T21" fmla="*/ 2147483647 h 120"/>
                <a:gd name="T22" fmla="*/ 0 w 105"/>
                <a:gd name="T23" fmla="*/ 2147483647 h 120"/>
                <a:gd name="T24" fmla="*/ 0 w 105"/>
                <a:gd name="T25" fmla="*/ 2147483647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7 w 109"/>
                <a:gd name="T1" fmla="*/ 2147483647 h 122"/>
                <a:gd name="T2" fmla="*/ 2147483647 w 109"/>
                <a:gd name="T3" fmla="*/ 2147483647 h 122"/>
                <a:gd name="T4" fmla="*/ 2147483647 w 109"/>
                <a:gd name="T5" fmla="*/ 2147483647 h 122"/>
                <a:gd name="T6" fmla="*/ 2147483647 w 109"/>
                <a:gd name="T7" fmla="*/ 2147483647 h 122"/>
                <a:gd name="T8" fmla="*/ 2147483647 w 109"/>
                <a:gd name="T9" fmla="*/ 2147483647 h 122"/>
                <a:gd name="T10" fmla="*/ 0 w 109"/>
                <a:gd name="T11" fmla="*/ 2147483647 h 122"/>
                <a:gd name="T12" fmla="*/ 2147483647 w 109"/>
                <a:gd name="T13" fmla="*/ 0 h 122"/>
                <a:gd name="T14" fmla="*/ 2147483647 w 109"/>
                <a:gd name="T15" fmla="*/ 2147483647 h 122"/>
                <a:gd name="T16" fmla="*/ 2147483647 w 109"/>
                <a:gd name="T17" fmla="*/ 2147483647 h 122"/>
                <a:gd name="T18" fmla="*/ 2147483647 w 109"/>
                <a:gd name="T19" fmla="*/ 2147483647 h 122"/>
                <a:gd name="T20" fmla="*/ 2147483647 w 109"/>
                <a:gd name="T21" fmla="*/ 2147483647 h 122"/>
                <a:gd name="T22" fmla="*/ 2147483647 w 109"/>
                <a:gd name="T23" fmla="*/ 2147483647 h 122"/>
                <a:gd name="T24" fmla="*/ 2147483647 w 109"/>
                <a:gd name="T25" fmla="*/ 2147483647 h 122"/>
                <a:gd name="T26" fmla="*/ 2147483647 w 109"/>
                <a:gd name="T27" fmla="*/ 2147483647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7 w 116"/>
                <a:gd name="T1" fmla="*/ 2147483647 h 124"/>
                <a:gd name="T2" fmla="*/ 2147483647 w 116"/>
                <a:gd name="T3" fmla="*/ 2147483647 h 124"/>
                <a:gd name="T4" fmla="*/ 2147483647 w 116"/>
                <a:gd name="T5" fmla="*/ 2147483647 h 124"/>
                <a:gd name="T6" fmla="*/ 2147483647 w 116"/>
                <a:gd name="T7" fmla="*/ 2147483647 h 124"/>
                <a:gd name="T8" fmla="*/ 2147483647 w 116"/>
                <a:gd name="T9" fmla="*/ 2147483647 h 124"/>
                <a:gd name="T10" fmla="*/ 2147483647 w 116"/>
                <a:gd name="T11" fmla="*/ 2147483647 h 124"/>
                <a:gd name="T12" fmla="*/ 0 w 116"/>
                <a:gd name="T13" fmla="*/ 2147483647 h 124"/>
                <a:gd name="T14" fmla="*/ 2147483647 w 116"/>
                <a:gd name="T15" fmla="*/ 0 h 124"/>
                <a:gd name="T16" fmla="*/ 2147483647 w 116"/>
                <a:gd name="T17" fmla="*/ 2147483647 h 124"/>
                <a:gd name="T18" fmla="*/ 2147483647 w 116"/>
                <a:gd name="T19" fmla="*/ 2147483647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7 h 120"/>
                <a:gd name="T2" fmla="*/ 2147483647 w 66"/>
                <a:gd name="T3" fmla="*/ 2147483647 h 120"/>
                <a:gd name="T4" fmla="*/ 2147483647 w 66"/>
                <a:gd name="T5" fmla="*/ 2147483647 h 120"/>
                <a:gd name="T6" fmla="*/ 2147483647 w 66"/>
                <a:gd name="T7" fmla="*/ 0 h 120"/>
                <a:gd name="T8" fmla="*/ 2147483647 w 66"/>
                <a:gd name="T9" fmla="*/ 2147483647 h 120"/>
                <a:gd name="T10" fmla="*/ 2147483647 w 66"/>
                <a:gd name="T11" fmla="*/ 2147483647 h 120"/>
                <a:gd name="T12" fmla="*/ 2147483647 w 66"/>
                <a:gd name="T13" fmla="*/ 2147483647 h 120"/>
                <a:gd name="T14" fmla="*/ 2147483647 w 66"/>
                <a:gd name="T15" fmla="*/ 2147483647 h 120"/>
                <a:gd name="T16" fmla="*/ 2147483647 w 66"/>
                <a:gd name="T17" fmla="*/ 2147483647 h 120"/>
                <a:gd name="T18" fmla="*/ 0 w 66"/>
                <a:gd name="T19" fmla="*/ 2147483647 h 120"/>
                <a:gd name="T20" fmla="*/ 0 w 66"/>
                <a:gd name="T21" fmla="*/ 2147483647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7 w 110"/>
                <a:gd name="T1" fmla="*/ 2147483647 h 166"/>
                <a:gd name="T2" fmla="*/ 2147483647 w 110"/>
                <a:gd name="T3" fmla="*/ 2147483647 h 166"/>
                <a:gd name="T4" fmla="*/ 2147483647 w 110"/>
                <a:gd name="T5" fmla="*/ 2147483647 h 166"/>
                <a:gd name="T6" fmla="*/ 2147483647 w 110"/>
                <a:gd name="T7" fmla="*/ 2147483647 h 166"/>
                <a:gd name="T8" fmla="*/ 2147483647 w 110"/>
                <a:gd name="T9" fmla="*/ 2147483647 h 166"/>
                <a:gd name="T10" fmla="*/ 2147483647 w 110"/>
                <a:gd name="T11" fmla="*/ 2147483647 h 166"/>
                <a:gd name="T12" fmla="*/ 2147483647 w 110"/>
                <a:gd name="T13" fmla="*/ 2147483647 h 166"/>
                <a:gd name="T14" fmla="*/ 2147483647 w 110"/>
                <a:gd name="T15" fmla="*/ 2147483647 h 166"/>
                <a:gd name="T16" fmla="*/ 2147483647 w 110"/>
                <a:gd name="T17" fmla="*/ 2147483647 h 166"/>
                <a:gd name="T18" fmla="*/ 2147483647 w 110"/>
                <a:gd name="T19" fmla="*/ 2147483647 h 166"/>
                <a:gd name="T20" fmla="*/ 0 w 110"/>
                <a:gd name="T21" fmla="*/ 2147483647 h 166"/>
                <a:gd name="T22" fmla="*/ 2147483647 w 110"/>
                <a:gd name="T23" fmla="*/ 0 h 166"/>
                <a:gd name="T24" fmla="*/ 2147483647 w 110"/>
                <a:gd name="T25" fmla="*/ 2147483647 h 166"/>
                <a:gd name="T26" fmla="*/ 2147483647 w 110"/>
                <a:gd name="T27" fmla="*/ 2147483647 h 166"/>
                <a:gd name="T28" fmla="*/ 2147483647 w 110"/>
                <a:gd name="T29" fmla="*/ 2147483647 h 166"/>
                <a:gd name="T30" fmla="*/ 2147483647 w 110"/>
                <a:gd name="T31" fmla="*/ 2147483647 h 166"/>
                <a:gd name="T32" fmla="*/ 2147483647 w 110"/>
                <a:gd name="T33" fmla="*/ 2147483647 h 166"/>
                <a:gd name="T34" fmla="*/ 2147483647 w 110"/>
                <a:gd name="T35" fmla="*/ 2147483647 h 166"/>
                <a:gd name="T36" fmla="*/ 2147483647 w 110"/>
                <a:gd name="T37" fmla="*/ 2147483647 h 166"/>
                <a:gd name="T38" fmla="*/ 2147483647 w 110"/>
                <a:gd name="T39" fmla="*/ 2147483647 h 166"/>
                <a:gd name="T40" fmla="*/ 2147483647 w 110"/>
                <a:gd name="T41" fmla="*/ 2147483647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7 w 195"/>
                <a:gd name="T1" fmla="*/ 2147483647 h 92"/>
                <a:gd name="T2" fmla="*/ 2147483647 w 195"/>
                <a:gd name="T3" fmla="*/ 2147483647 h 92"/>
                <a:gd name="T4" fmla="*/ 2147483647 w 195"/>
                <a:gd name="T5" fmla="*/ 2147483647 h 92"/>
                <a:gd name="T6" fmla="*/ 2147483647 w 195"/>
                <a:gd name="T7" fmla="*/ 2147483647 h 92"/>
                <a:gd name="T8" fmla="*/ 2147483647 w 195"/>
                <a:gd name="T9" fmla="*/ 2147483647 h 92"/>
                <a:gd name="T10" fmla="*/ 2147483647 w 195"/>
                <a:gd name="T11" fmla="*/ 2147483647 h 92"/>
                <a:gd name="T12" fmla="*/ 2147483647 w 195"/>
                <a:gd name="T13" fmla="*/ 2147483647 h 92"/>
                <a:gd name="T14" fmla="*/ 2147483647 w 195"/>
                <a:gd name="T15" fmla="*/ 2147483647 h 92"/>
                <a:gd name="T16" fmla="*/ 2147483647 w 195"/>
                <a:gd name="T17" fmla="*/ 2147483647 h 92"/>
                <a:gd name="T18" fmla="*/ 2147483647 w 195"/>
                <a:gd name="T19" fmla="*/ 2147483647 h 92"/>
                <a:gd name="T20" fmla="*/ 2147483647 w 195"/>
                <a:gd name="T21" fmla="*/ 0 h 92"/>
                <a:gd name="T22" fmla="*/ 2147483647 w 195"/>
                <a:gd name="T23" fmla="*/ 0 h 92"/>
                <a:gd name="T24" fmla="*/ 2147483647 w 195"/>
                <a:gd name="T25" fmla="*/ 2147483647 h 92"/>
                <a:gd name="T26" fmla="*/ 2147483647 w 195"/>
                <a:gd name="T27" fmla="*/ 0 h 92"/>
                <a:gd name="T28" fmla="*/ 2147483647 w 195"/>
                <a:gd name="T29" fmla="*/ 0 h 92"/>
                <a:gd name="T30" fmla="*/ 2147483647 w 195"/>
                <a:gd name="T31" fmla="*/ 2147483647 h 92"/>
                <a:gd name="T32" fmla="*/ 2147483647 w 195"/>
                <a:gd name="T33" fmla="*/ 2147483647 h 92"/>
                <a:gd name="T34" fmla="*/ 2147483647 w 195"/>
                <a:gd name="T35" fmla="*/ 2147483647 h 92"/>
                <a:gd name="T36" fmla="*/ 2147483647 w 195"/>
                <a:gd name="T37" fmla="*/ 2147483647 h 92"/>
                <a:gd name="T38" fmla="*/ 2147483647 w 195"/>
                <a:gd name="T39" fmla="*/ 2147483647 h 92"/>
                <a:gd name="T40" fmla="*/ 2147483647 w 195"/>
                <a:gd name="T41" fmla="*/ 2147483647 h 92"/>
                <a:gd name="T42" fmla="*/ 0 w 195"/>
                <a:gd name="T43" fmla="*/ 2147483647 h 92"/>
                <a:gd name="T44" fmla="*/ 0 w 195"/>
                <a:gd name="T45" fmla="*/ 0 h 92"/>
                <a:gd name="T46" fmla="*/ 2147483647 w 195"/>
                <a:gd name="T47" fmla="*/ 0 h 92"/>
                <a:gd name="T48" fmla="*/ 2147483647 w 195"/>
                <a:gd name="T49" fmla="*/ 2147483647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850416600"/>
      </p:ext>
    </p:extLst>
  </p:cSld>
  <p:clrMapOvr>
    <a:masterClrMapping/>
  </p:clrMapOvr>
  <p:transition spd="med">
    <p:fade/>
  </p:transition>
  <p:hf sldNum="0" hdr="0" ftr="0"/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1932425487"/>
      </p:ext>
    </p:extLst>
  </p:cSld>
  <p:clrMapOvr>
    <a:masterClrMapping/>
  </p:clrMapOvr>
  <p:transition spd="med">
    <p:fade/>
  </p:transition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269217877"/>
      </p:ext>
    </p:extLst>
  </p:cSld>
  <p:clrMapOvr>
    <a:masterClrMapping/>
  </p:clrMapOvr>
  <p:transition spd="med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5F5F5"/>
              </a:clrFrom>
              <a:clrTo>
                <a:srgbClr val="F5F5F5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5963" y="96838"/>
            <a:ext cx="631825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Straight Connector 4"/>
          <p:cNvCxnSpPr/>
          <p:nvPr userDrawn="1"/>
        </p:nvCxnSpPr>
        <p:spPr>
          <a:xfrm>
            <a:off x="350838" y="663575"/>
            <a:ext cx="8639175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re 1"/>
          <p:cNvSpPr>
            <a:spLocks noGrp="1"/>
          </p:cNvSpPr>
          <p:nvPr>
            <p:ph type="title"/>
          </p:nvPr>
        </p:nvSpPr>
        <p:spPr>
          <a:xfrm>
            <a:off x="339725" y="339741"/>
            <a:ext cx="8470900" cy="621329"/>
          </a:xfrm>
        </p:spPr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0410213"/>
      </p:ext>
    </p:extLst>
  </p:cSld>
  <p:clrMapOvr>
    <a:masterClrMapping/>
  </p:clrMapOvr>
  <p:transition spd="med">
    <p:fade/>
  </p:transition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6439310"/>
      </p:ext>
    </p:extLst>
  </p:cSld>
  <p:clrMapOvr>
    <a:masterClrMapping/>
  </p:clrMapOvr>
  <p:transition spd="med">
    <p:fade/>
  </p:transition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1700025"/>
      </p:ext>
    </p:extLst>
  </p:cSld>
  <p:clrMapOvr>
    <a:masterClrMapping/>
  </p:clrMapOvr>
  <p:transition spd="med">
    <p:fade/>
  </p:transition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3425142"/>
      </p:ext>
    </p:extLst>
  </p:cSld>
  <p:clrMapOvr>
    <a:masterClrMapping/>
  </p:clrMapOvr>
  <p:transition spd="med">
    <p:fade/>
  </p:transition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0582852"/>
      </p:ext>
    </p:extLst>
  </p:cSld>
  <p:clrMapOvr>
    <a:masterClrMapping/>
  </p:clrMapOvr>
  <p:transition spd="med">
    <p:fade/>
  </p:transition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1539442"/>
      </p:ext>
    </p:extLst>
  </p:cSld>
  <p:clrMapOvr>
    <a:masterClrMapping/>
  </p:clrMapOvr>
  <p:transition spd="med">
    <p:fade/>
  </p:transition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3432836"/>
      </p:ext>
    </p:extLst>
  </p:cSld>
  <p:clrMapOvr>
    <a:masterClrMapping/>
  </p:clrMapOvr>
  <p:transition spd="med">
    <p:fade/>
  </p:transition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2"/>
          <p:cNvGrpSpPr>
            <a:grpSpLocks/>
          </p:cNvGrpSpPr>
          <p:nvPr userDrawn="1"/>
        </p:nvGrpSpPr>
        <p:grpSpPr bwMode="auto">
          <a:xfrm>
            <a:off x="314325" y="4233863"/>
            <a:ext cx="612775" cy="612775"/>
            <a:chOff x="313535" y="4233863"/>
            <a:chExt cx="612775" cy="612775"/>
          </a:xfrm>
        </p:grpSpPr>
        <p:sp>
          <p:nvSpPr>
            <p:cNvPr id="6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712788"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1pPr>
              <a:lvl2pPr defTabSz="712788"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2pPr>
              <a:lvl3pPr defTabSz="712788"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3pPr>
              <a:lvl4pPr defTabSz="712788"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4pPr>
              <a:lvl5pPr defTabSz="712788"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5pPr>
              <a:lvl6pPr marL="1881188" indent="401638" defTabSz="7127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6pPr>
              <a:lvl7pPr marL="2338388" indent="401638" defTabSz="7127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7pPr>
              <a:lvl8pPr marL="2795588" indent="401638" defTabSz="7127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8pPr>
              <a:lvl9pPr marL="3252788" indent="401638" defTabSz="7127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mtClean="0">
                <a:solidFill>
                  <a:srgbClr val="000000"/>
                </a:solidFill>
              </a:endParaRPr>
            </a:p>
          </p:txBody>
        </p:sp>
        <p:sp>
          <p:nvSpPr>
            <p:cNvPr id="7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2147483647 w 93"/>
                <a:gd name="T1" fmla="*/ 2147483647 h 109"/>
                <a:gd name="T2" fmla="*/ 2147483647 w 93"/>
                <a:gd name="T3" fmla="*/ 2147483647 h 109"/>
                <a:gd name="T4" fmla="*/ 0 w 93"/>
                <a:gd name="T5" fmla="*/ 2147483647 h 109"/>
                <a:gd name="T6" fmla="*/ 2147483647 w 93"/>
                <a:gd name="T7" fmla="*/ 2147483647 h 109"/>
                <a:gd name="T8" fmla="*/ 2147483647 w 93"/>
                <a:gd name="T9" fmla="*/ 2147483647 h 109"/>
                <a:gd name="T10" fmla="*/ 2147483647 w 93"/>
                <a:gd name="T11" fmla="*/ 2147483647 h 109"/>
                <a:gd name="T12" fmla="*/ 2147483647 w 93"/>
                <a:gd name="T13" fmla="*/ 2147483647 h 109"/>
                <a:gd name="T14" fmla="*/ 2147483647 w 93"/>
                <a:gd name="T15" fmla="*/ 2147483647 h 109"/>
                <a:gd name="T16" fmla="*/ 2147483647 w 93"/>
                <a:gd name="T17" fmla="*/ 0 h 109"/>
                <a:gd name="T18" fmla="*/ 2147483647 w 93"/>
                <a:gd name="T19" fmla="*/ 2147483647 h 109"/>
                <a:gd name="T20" fmla="*/ 2147483647 w 93"/>
                <a:gd name="T21" fmla="*/ 2147483647 h 109"/>
                <a:gd name="T22" fmla="*/ 2147483647 w 93"/>
                <a:gd name="T23" fmla="*/ 2147483647 h 109"/>
                <a:gd name="T24" fmla="*/ 2147483647 w 93"/>
                <a:gd name="T25" fmla="*/ 2147483647 h 109"/>
                <a:gd name="T26" fmla="*/ 2147483647 w 93"/>
                <a:gd name="T27" fmla="*/ 2147483647 h 109"/>
                <a:gd name="T28" fmla="*/ 2147483647 w 93"/>
                <a:gd name="T29" fmla="*/ 2147483647 h 109"/>
                <a:gd name="T30" fmla="*/ 2147483647 w 93"/>
                <a:gd name="T31" fmla="*/ 2147483647 h 109"/>
                <a:gd name="T32" fmla="*/ 2147483647 w 93"/>
                <a:gd name="T33" fmla="*/ 2147483647 h 109"/>
                <a:gd name="T34" fmla="*/ 2147483647 w 93"/>
                <a:gd name="T35" fmla="*/ 2147483647 h 10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2147483647 h 108"/>
                <a:gd name="T2" fmla="*/ 2147483647 w 94"/>
                <a:gd name="T3" fmla="*/ 2147483647 h 108"/>
                <a:gd name="T4" fmla="*/ 2147483647 w 94"/>
                <a:gd name="T5" fmla="*/ 2147483647 h 108"/>
                <a:gd name="T6" fmla="*/ 2147483647 w 94"/>
                <a:gd name="T7" fmla="*/ 0 h 108"/>
                <a:gd name="T8" fmla="*/ 2147483647 w 94"/>
                <a:gd name="T9" fmla="*/ 2147483647 h 108"/>
                <a:gd name="T10" fmla="*/ 2147483647 w 94"/>
                <a:gd name="T11" fmla="*/ 2147483647 h 108"/>
                <a:gd name="T12" fmla="*/ 2147483647 w 94"/>
                <a:gd name="T13" fmla="*/ 2147483647 h 108"/>
                <a:gd name="T14" fmla="*/ 2147483647 w 94"/>
                <a:gd name="T15" fmla="*/ 2147483647 h 108"/>
                <a:gd name="T16" fmla="*/ 2147483647 w 94"/>
                <a:gd name="T17" fmla="*/ 2147483647 h 108"/>
                <a:gd name="T18" fmla="*/ 2147483647 w 94"/>
                <a:gd name="T19" fmla="*/ 2147483647 h 108"/>
                <a:gd name="T20" fmla="*/ 2147483647 w 94"/>
                <a:gd name="T21" fmla="*/ 2147483647 h 108"/>
                <a:gd name="T22" fmla="*/ 0 w 94"/>
                <a:gd name="T23" fmla="*/ 2147483647 h 108"/>
                <a:gd name="T24" fmla="*/ 0 w 94"/>
                <a:gd name="T25" fmla="*/ 2147483647 h 10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2147483647 w 98"/>
                <a:gd name="T1" fmla="*/ 2147483647 h 110"/>
                <a:gd name="T2" fmla="*/ 0 w 98"/>
                <a:gd name="T3" fmla="*/ 2147483647 h 110"/>
                <a:gd name="T4" fmla="*/ 2147483647 w 98"/>
                <a:gd name="T5" fmla="*/ 0 h 110"/>
                <a:gd name="T6" fmla="*/ 2147483647 w 98"/>
                <a:gd name="T7" fmla="*/ 2147483647 h 110"/>
                <a:gd name="T8" fmla="*/ 2147483647 w 98"/>
                <a:gd name="T9" fmla="*/ 2147483647 h 110"/>
                <a:gd name="T10" fmla="*/ 2147483647 w 98"/>
                <a:gd name="T11" fmla="*/ 2147483647 h 110"/>
                <a:gd name="T12" fmla="*/ 2147483647 w 98"/>
                <a:gd name="T13" fmla="*/ 2147483647 h 110"/>
                <a:gd name="T14" fmla="*/ 2147483647 w 98"/>
                <a:gd name="T15" fmla="*/ 2147483647 h 110"/>
                <a:gd name="T16" fmla="*/ 2147483647 w 98"/>
                <a:gd name="T17" fmla="*/ 2147483647 h 110"/>
                <a:gd name="T18" fmla="*/ 2147483647 w 98"/>
                <a:gd name="T19" fmla="*/ 2147483647 h 110"/>
                <a:gd name="T20" fmla="*/ 2147483647 w 98"/>
                <a:gd name="T21" fmla="*/ 2147483647 h 110"/>
                <a:gd name="T22" fmla="*/ 2147483647 w 98"/>
                <a:gd name="T23" fmla="*/ 2147483647 h 110"/>
                <a:gd name="T24" fmla="*/ 2147483647 w 98"/>
                <a:gd name="T25" fmla="*/ 2147483647 h 110"/>
                <a:gd name="T26" fmla="*/ 2147483647 w 98"/>
                <a:gd name="T27" fmla="*/ 2147483647 h 11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2147483647 w 104"/>
                <a:gd name="T1" fmla="*/ 2147483647 h 111"/>
                <a:gd name="T2" fmla="*/ 0 w 104"/>
                <a:gd name="T3" fmla="*/ 2147483647 h 111"/>
                <a:gd name="T4" fmla="*/ 2147483647 w 104"/>
                <a:gd name="T5" fmla="*/ 0 h 111"/>
                <a:gd name="T6" fmla="*/ 2147483647 w 104"/>
                <a:gd name="T7" fmla="*/ 2147483647 h 111"/>
                <a:gd name="T8" fmla="*/ 2147483647 w 104"/>
                <a:gd name="T9" fmla="*/ 2147483647 h 111"/>
                <a:gd name="T10" fmla="*/ 2147483647 w 104"/>
                <a:gd name="T11" fmla="*/ 2147483647 h 111"/>
                <a:gd name="T12" fmla="*/ 2147483647 w 104"/>
                <a:gd name="T13" fmla="*/ 2147483647 h 111"/>
                <a:gd name="T14" fmla="*/ 2147483647 w 104"/>
                <a:gd name="T15" fmla="*/ 2147483647 h 111"/>
                <a:gd name="T16" fmla="*/ 2147483647 w 104"/>
                <a:gd name="T17" fmla="*/ 2147483647 h 111"/>
                <a:gd name="T18" fmla="*/ 2147483647 w 104"/>
                <a:gd name="T19" fmla="*/ 2147483647 h 1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2147483647 h 108"/>
                <a:gd name="T2" fmla="*/ 2147483647 w 59"/>
                <a:gd name="T3" fmla="*/ 2147483647 h 108"/>
                <a:gd name="T4" fmla="*/ 2147483647 w 59"/>
                <a:gd name="T5" fmla="*/ 2147483647 h 108"/>
                <a:gd name="T6" fmla="*/ 2147483647 w 59"/>
                <a:gd name="T7" fmla="*/ 0 h 108"/>
                <a:gd name="T8" fmla="*/ 2147483647 w 59"/>
                <a:gd name="T9" fmla="*/ 2147483647 h 108"/>
                <a:gd name="T10" fmla="*/ 2147483647 w 59"/>
                <a:gd name="T11" fmla="*/ 2147483647 h 108"/>
                <a:gd name="T12" fmla="*/ 2147483647 w 59"/>
                <a:gd name="T13" fmla="*/ 2147483647 h 108"/>
                <a:gd name="T14" fmla="*/ 2147483647 w 59"/>
                <a:gd name="T15" fmla="*/ 2147483647 h 108"/>
                <a:gd name="T16" fmla="*/ 2147483647 w 59"/>
                <a:gd name="T17" fmla="*/ 2147483647 h 108"/>
                <a:gd name="T18" fmla="*/ 0 w 59"/>
                <a:gd name="T19" fmla="*/ 2147483647 h 108"/>
                <a:gd name="T20" fmla="*/ 0 w 59"/>
                <a:gd name="T21" fmla="*/ 2147483647 h 10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2147483647 w 98"/>
                <a:gd name="T1" fmla="*/ 2147483647 h 149"/>
                <a:gd name="T2" fmla="*/ 2147483647 w 98"/>
                <a:gd name="T3" fmla="*/ 2147483647 h 149"/>
                <a:gd name="T4" fmla="*/ 2147483647 w 98"/>
                <a:gd name="T5" fmla="*/ 2147483647 h 149"/>
                <a:gd name="T6" fmla="*/ 2147483647 w 98"/>
                <a:gd name="T7" fmla="*/ 2147483647 h 149"/>
                <a:gd name="T8" fmla="*/ 2147483647 w 98"/>
                <a:gd name="T9" fmla="*/ 2147483647 h 149"/>
                <a:gd name="T10" fmla="*/ 2147483647 w 98"/>
                <a:gd name="T11" fmla="*/ 2147483647 h 149"/>
                <a:gd name="T12" fmla="*/ 2147483647 w 98"/>
                <a:gd name="T13" fmla="*/ 2147483647 h 149"/>
                <a:gd name="T14" fmla="*/ 2147483647 w 98"/>
                <a:gd name="T15" fmla="*/ 2147483647 h 149"/>
                <a:gd name="T16" fmla="*/ 2147483647 w 98"/>
                <a:gd name="T17" fmla="*/ 2147483647 h 149"/>
                <a:gd name="T18" fmla="*/ 2147483647 w 98"/>
                <a:gd name="T19" fmla="*/ 2147483647 h 149"/>
                <a:gd name="T20" fmla="*/ 2147483647 w 98"/>
                <a:gd name="T21" fmla="*/ 2147483647 h 149"/>
                <a:gd name="T22" fmla="*/ 2147483647 w 98"/>
                <a:gd name="T23" fmla="*/ 2147483647 h 149"/>
                <a:gd name="T24" fmla="*/ 2147483647 w 98"/>
                <a:gd name="T25" fmla="*/ 2147483647 h 149"/>
                <a:gd name="T26" fmla="*/ 2147483647 w 98"/>
                <a:gd name="T27" fmla="*/ 2147483647 h 149"/>
                <a:gd name="T28" fmla="*/ 2147483647 w 98"/>
                <a:gd name="T29" fmla="*/ 2147483647 h 149"/>
                <a:gd name="T30" fmla="*/ 0 w 98"/>
                <a:gd name="T31" fmla="*/ 2147483647 h 149"/>
                <a:gd name="T32" fmla="*/ 2147483647 w 98"/>
                <a:gd name="T33" fmla="*/ 0 h 149"/>
                <a:gd name="T34" fmla="*/ 2147483647 w 98"/>
                <a:gd name="T35" fmla="*/ 2147483647 h 149"/>
                <a:gd name="T36" fmla="*/ 2147483647 w 98"/>
                <a:gd name="T37" fmla="*/ 2147483647 h 149"/>
                <a:gd name="T38" fmla="*/ 2147483647 w 98"/>
                <a:gd name="T39" fmla="*/ 2147483647 h 149"/>
                <a:gd name="T40" fmla="*/ 2147483647 w 98"/>
                <a:gd name="T41" fmla="*/ 2147483647 h 14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2147483647 w 37"/>
                <a:gd name="T1" fmla="*/ 2147483647 h 17"/>
                <a:gd name="T2" fmla="*/ 2147483647 w 37"/>
                <a:gd name="T3" fmla="*/ 2147483647 h 17"/>
                <a:gd name="T4" fmla="*/ 2147483647 w 37"/>
                <a:gd name="T5" fmla="*/ 2147483647 h 17"/>
                <a:gd name="T6" fmla="*/ 2147483647 w 37"/>
                <a:gd name="T7" fmla="*/ 2147483647 h 17"/>
                <a:gd name="T8" fmla="*/ 2147483647 w 37"/>
                <a:gd name="T9" fmla="*/ 2147483647 h 17"/>
                <a:gd name="T10" fmla="*/ 0 w 37"/>
                <a:gd name="T11" fmla="*/ 2147483647 h 17"/>
                <a:gd name="T12" fmla="*/ 0 w 37"/>
                <a:gd name="T13" fmla="*/ 0 h 17"/>
                <a:gd name="T14" fmla="*/ 2147483647 w 37"/>
                <a:gd name="T15" fmla="*/ 0 h 17"/>
                <a:gd name="T16" fmla="*/ 2147483647 w 37"/>
                <a:gd name="T17" fmla="*/ 2147483647 h 17"/>
                <a:gd name="T18" fmla="*/ 2147483647 w 37"/>
                <a:gd name="T19" fmla="*/ 2147483647 h 17"/>
                <a:gd name="T20" fmla="*/ 2147483647 w 37"/>
                <a:gd name="T21" fmla="*/ 2147483647 h 17"/>
                <a:gd name="T22" fmla="*/ 2147483647 w 37"/>
                <a:gd name="T23" fmla="*/ 2147483647 h 17"/>
                <a:gd name="T24" fmla="*/ 2147483647 w 37"/>
                <a:gd name="T25" fmla="*/ 2147483647 h 17"/>
                <a:gd name="T26" fmla="*/ 2147483647 w 37"/>
                <a:gd name="T27" fmla="*/ 2147483647 h 17"/>
                <a:gd name="T28" fmla="*/ 2147483647 w 37"/>
                <a:gd name="T29" fmla="*/ 2147483647 h 17"/>
                <a:gd name="T30" fmla="*/ 2147483647 w 37"/>
                <a:gd name="T31" fmla="*/ 2147483647 h 17"/>
                <a:gd name="T32" fmla="*/ 2147483647 w 37"/>
                <a:gd name="T33" fmla="*/ 2147483647 h 17"/>
                <a:gd name="T34" fmla="*/ 2147483647 w 37"/>
                <a:gd name="T35" fmla="*/ 2147483647 h 17"/>
                <a:gd name="T36" fmla="*/ 2147483647 w 37"/>
                <a:gd name="T37" fmla="*/ 2147483647 h 17"/>
                <a:gd name="T38" fmla="*/ 2147483647 w 37"/>
                <a:gd name="T39" fmla="*/ 0 h 17"/>
                <a:gd name="T40" fmla="*/ 2147483647 w 37"/>
                <a:gd name="T41" fmla="*/ 0 h 17"/>
                <a:gd name="T42" fmla="*/ 2147483647 w 37"/>
                <a:gd name="T43" fmla="*/ 2147483647 h 17"/>
                <a:gd name="T44" fmla="*/ 2147483647 w 37"/>
                <a:gd name="T45" fmla="*/ 0 h 17"/>
                <a:gd name="T46" fmla="*/ 2147483647 w 37"/>
                <a:gd name="T47" fmla="*/ 0 h 17"/>
                <a:gd name="T48" fmla="*/ 2147483647 w 37"/>
                <a:gd name="T49" fmla="*/ 2147483647 h 1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35" y="267618"/>
            <a:ext cx="4829289" cy="2304131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 dirty="0"/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5800726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314325" y="2704144"/>
            <a:ext cx="4827547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3797698"/>
      </p:ext>
    </p:extLst>
  </p:cSld>
  <p:clrMapOvr>
    <a:masterClrMapping/>
  </p:clrMapOvr>
  <p:transition spd="med">
    <p:fade/>
  </p:transition>
  <p:hf sldNum="0" hdr="0"/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5"/>
          <p:cNvSpPr txBox="1">
            <a:spLocks noChangeArrowheads="1"/>
          </p:cNvSpPr>
          <p:nvPr userDrawn="1"/>
        </p:nvSpPr>
        <p:spPr bwMode="auto">
          <a:xfrm>
            <a:off x="619125" y="4749800"/>
            <a:ext cx="9017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1pPr>
            <a:lvl2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2pPr>
            <a:lvl3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3pPr>
            <a:lvl4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4pPr>
            <a:lvl5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5pPr>
            <a:lvl6pPr marL="18811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6pPr>
            <a:lvl7pPr marL="23383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7pPr>
            <a:lvl8pPr marL="27955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8pPr>
            <a:lvl9pPr marL="32527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GB" altLang="fr-FR" sz="800" smtClean="0">
                <a:solidFill>
                  <a:srgbClr val="FFFFFF"/>
                </a:solidFill>
                <a:latin typeface="Helvetica 75 Bold" pitchFamily="34" charset="0"/>
              </a:rPr>
              <a:t>Orange Restricte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200" y="1181100"/>
            <a:ext cx="3968055" cy="3370262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64795" y="1181100"/>
            <a:ext cx="3964880" cy="337026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13199" y="268288"/>
            <a:ext cx="8516475" cy="741362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3473807"/>
      </p:ext>
    </p:extLst>
  </p:cSld>
  <p:clrMapOvr>
    <a:masterClrMapping/>
  </p:clrMapOvr>
  <p:transition spd="med">
    <p:fade/>
  </p:transition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4"/>
          <p:cNvSpPr txBox="1">
            <a:spLocks noChangeArrowheads="1"/>
          </p:cNvSpPr>
          <p:nvPr userDrawn="1"/>
        </p:nvSpPr>
        <p:spPr bwMode="auto">
          <a:xfrm>
            <a:off x="619125" y="4749800"/>
            <a:ext cx="9017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1pPr>
            <a:lvl2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2pPr>
            <a:lvl3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3pPr>
            <a:lvl4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4pPr>
            <a:lvl5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5pPr>
            <a:lvl6pPr marL="18811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6pPr>
            <a:lvl7pPr marL="23383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7pPr>
            <a:lvl8pPr marL="27955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8pPr>
            <a:lvl9pPr marL="32527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GB" altLang="fr-FR" sz="800" smtClean="0">
                <a:solidFill>
                  <a:srgbClr val="FFFFFF"/>
                </a:solidFill>
                <a:latin typeface="Helvetica 75 Bold" pitchFamily="34" charset="0"/>
              </a:rPr>
              <a:t>Orange Restricte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4418077"/>
      </p:ext>
    </p:extLst>
  </p:cSld>
  <p:clrMapOvr>
    <a:masterClrMapping/>
  </p:clrMapOvr>
  <p:transition spd="med">
    <p:fade/>
  </p:transition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>
            <a:spLocks noChangeArrowheads="1"/>
          </p:cNvSpPr>
          <p:nvPr userDrawn="1"/>
        </p:nvSpPr>
        <p:spPr bwMode="auto">
          <a:xfrm>
            <a:off x="619125" y="4749800"/>
            <a:ext cx="9017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1pPr>
            <a:lvl2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2pPr>
            <a:lvl3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3pPr>
            <a:lvl4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4pPr>
            <a:lvl5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5pPr>
            <a:lvl6pPr marL="18811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6pPr>
            <a:lvl7pPr marL="23383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7pPr>
            <a:lvl8pPr marL="27955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8pPr>
            <a:lvl9pPr marL="32527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GB" altLang="fr-FR" sz="800" smtClean="0">
                <a:solidFill>
                  <a:srgbClr val="FFFFFF"/>
                </a:solidFill>
                <a:latin typeface="Helvetica 75 Bold" pitchFamily="34" charset="0"/>
              </a:rPr>
              <a:t>Orange Restricted</a:t>
            </a:r>
          </a:p>
        </p:txBody>
      </p:sp>
    </p:spTree>
    <p:extLst>
      <p:ext uri="{BB962C8B-B14F-4D97-AF65-F5344CB8AC3E}">
        <p14:creationId xmlns:p14="http://schemas.microsoft.com/office/powerpoint/2010/main" val="653848258"/>
      </p:ext>
    </p:extLst>
  </p:cSld>
  <p:clrMapOvr>
    <a:masterClrMapping/>
  </p:clrMapOvr>
  <p:transition spd="med"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5255225"/>
      </p:ext>
    </p:extLst>
  </p:cSld>
  <p:clrMapOvr>
    <a:masterClrMapping/>
  </p:clrMapOvr>
  <p:transition spd="med">
    <p:fade/>
  </p:transition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ull Bleed Medi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rgbClr val="000000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18485940"/>
      </p:ext>
    </p:extLst>
  </p:cSld>
  <p:clrMapOvr>
    <a:masterClrMapping/>
  </p:clrMapOvr>
  <p:transition spd="med">
    <p:fade/>
  </p:transition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2788"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grpSp>
        <p:nvGrpSpPr>
          <p:cNvPr id="6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5pPr>
              <a:lvl6pPr marL="18811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6pPr>
              <a:lvl7pPr marL="23383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7pPr>
              <a:lvl8pPr marL="27955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8pPr>
              <a:lvl9pPr marL="32527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smtClean="0">
                <a:solidFill>
                  <a:srgbClr val="FF6600"/>
                </a:solidFill>
                <a:latin typeface="Helvetica 75 Bold" pitchFamily="34" charset="0"/>
                <a:cs typeface="+mn-cs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7 w 104"/>
                <a:gd name="T1" fmla="*/ 2147483647 h 122"/>
                <a:gd name="T2" fmla="*/ 2147483647 w 104"/>
                <a:gd name="T3" fmla="*/ 2147483647 h 122"/>
                <a:gd name="T4" fmla="*/ 2147483647 w 104"/>
                <a:gd name="T5" fmla="*/ 2147483647 h 122"/>
                <a:gd name="T6" fmla="*/ 2147483647 w 104"/>
                <a:gd name="T7" fmla="*/ 2147483647 h 122"/>
                <a:gd name="T8" fmla="*/ 2147483647 w 104"/>
                <a:gd name="T9" fmla="*/ 2147483647 h 122"/>
                <a:gd name="T10" fmla="*/ 2147483647 w 104"/>
                <a:gd name="T11" fmla="*/ 2147483647 h 122"/>
                <a:gd name="T12" fmla="*/ 2147483647 w 104"/>
                <a:gd name="T13" fmla="*/ 2147483647 h 122"/>
                <a:gd name="T14" fmla="*/ 0 w 104"/>
                <a:gd name="T15" fmla="*/ 2147483647 h 122"/>
                <a:gd name="T16" fmla="*/ 2147483647 w 104"/>
                <a:gd name="T17" fmla="*/ 2147483647 h 122"/>
                <a:gd name="T18" fmla="*/ 2147483647 w 104"/>
                <a:gd name="T19" fmla="*/ 2147483647 h 122"/>
                <a:gd name="T20" fmla="*/ 2147483647 w 104"/>
                <a:gd name="T21" fmla="*/ 2147483647 h 122"/>
                <a:gd name="T22" fmla="*/ 2147483647 w 104"/>
                <a:gd name="T23" fmla="*/ 2147483647 h 122"/>
                <a:gd name="T24" fmla="*/ 2147483647 w 104"/>
                <a:gd name="T25" fmla="*/ 2147483647 h 122"/>
                <a:gd name="T26" fmla="*/ 2147483647 w 104"/>
                <a:gd name="T27" fmla="*/ 0 h 122"/>
                <a:gd name="T28" fmla="*/ 2147483647 w 104"/>
                <a:gd name="T29" fmla="*/ 2147483647 h 122"/>
                <a:gd name="T30" fmla="*/ 2147483647 w 104"/>
                <a:gd name="T31" fmla="*/ 2147483647 h 122"/>
                <a:gd name="T32" fmla="*/ 2147483647 w 104"/>
                <a:gd name="T33" fmla="*/ 2147483647 h 122"/>
                <a:gd name="T34" fmla="*/ 2147483647 w 104"/>
                <a:gd name="T35" fmla="*/ 2147483647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7 h 120"/>
                <a:gd name="T2" fmla="*/ 2147483647 w 105"/>
                <a:gd name="T3" fmla="*/ 2147483647 h 120"/>
                <a:gd name="T4" fmla="*/ 2147483647 w 105"/>
                <a:gd name="T5" fmla="*/ 2147483647 h 120"/>
                <a:gd name="T6" fmla="*/ 2147483647 w 105"/>
                <a:gd name="T7" fmla="*/ 0 h 120"/>
                <a:gd name="T8" fmla="*/ 2147483647 w 105"/>
                <a:gd name="T9" fmla="*/ 2147483647 h 120"/>
                <a:gd name="T10" fmla="*/ 2147483647 w 105"/>
                <a:gd name="T11" fmla="*/ 2147483647 h 120"/>
                <a:gd name="T12" fmla="*/ 2147483647 w 105"/>
                <a:gd name="T13" fmla="*/ 2147483647 h 120"/>
                <a:gd name="T14" fmla="*/ 2147483647 w 105"/>
                <a:gd name="T15" fmla="*/ 2147483647 h 120"/>
                <a:gd name="T16" fmla="*/ 2147483647 w 105"/>
                <a:gd name="T17" fmla="*/ 2147483647 h 120"/>
                <a:gd name="T18" fmla="*/ 2147483647 w 105"/>
                <a:gd name="T19" fmla="*/ 2147483647 h 120"/>
                <a:gd name="T20" fmla="*/ 2147483647 w 105"/>
                <a:gd name="T21" fmla="*/ 2147483647 h 120"/>
                <a:gd name="T22" fmla="*/ 0 w 105"/>
                <a:gd name="T23" fmla="*/ 2147483647 h 120"/>
                <a:gd name="T24" fmla="*/ 0 w 105"/>
                <a:gd name="T25" fmla="*/ 2147483647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7 w 109"/>
                <a:gd name="T1" fmla="*/ 2147483647 h 122"/>
                <a:gd name="T2" fmla="*/ 2147483647 w 109"/>
                <a:gd name="T3" fmla="*/ 2147483647 h 122"/>
                <a:gd name="T4" fmla="*/ 2147483647 w 109"/>
                <a:gd name="T5" fmla="*/ 2147483647 h 122"/>
                <a:gd name="T6" fmla="*/ 2147483647 w 109"/>
                <a:gd name="T7" fmla="*/ 2147483647 h 122"/>
                <a:gd name="T8" fmla="*/ 2147483647 w 109"/>
                <a:gd name="T9" fmla="*/ 2147483647 h 122"/>
                <a:gd name="T10" fmla="*/ 0 w 109"/>
                <a:gd name="T11" fmla="*/ 2147483647 h 122"/>
                <a:gd name="T12" fmla="*/ 2147483647 w 109"/>
                <a:gd name="T13" fmla="*/ 0 h 122"/>
                <a:gd name="T14" fmla="*/ 2147483647 w 109"/>
                <a:gd name="T15" fmla="*/ 2147483647 h 122"/>
                <a:gd name="T16" fmla="*/ 2147483647 w 109"/>
                <a:gd name="T17" fmla="*/ 2147483647 h 122"/>
                <a:gd name="T18" fmla="*/ 2147483647 w 109"/>
                <a:gd name="T19" fmla="*/ 2147483647 h 122"/>
                <a:gd name="T20" fmla="*/ 2147483647 w 109"/>
                <a:gd name="T21" fmla="*/ 2147483647 h 122"/>
                <a:gd name="T22" fmla="*/ 2147483647 w 109"/>
                <a:gd name="T23" fmla="*/ 2147483647 h 122"/>
                <a:gd name="T24" fmla="*/ 2147483647 w 109"/>
                <a:gd name="T25" fmla="*/ 2147483647 h 122"/>
                <a:gd name="T26" fmla="*/ 2147483647 w 109"/>
                <a:gd name="T27" fmla="*/ 2147483647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7 w 116"/>
                <a:gd name="T1" fmla="*/ 2147483647 h 124"/>
                <a:gd name="T2" fmla="*/ 2147483647 w 116"/>
                <a:gd name="T3" fmla="*/ 2147483647 h 124"/>
                <a:gd name="T4" fmla="*/ 2147483647 w 116"/>
                <a:gd name="T5" fmla="*/ 2147483647 h 124"/>
                <a:gd name="T6" fmla="*/ 2147483647 w 116"/>
                <a:gd name="T7" fmla="*/ 2147483647 h 124"/>
                <a:gd name="T8" fmla="*/ 2147483647 w 116"/>
                <a:gd name="T9" fmla="*/ 2147483647 h 124"/>
                <a:gd name="T10" fmla="*/ 2147483647 w 116"/>
                <a:gd name="T11" fmla="*/ 2147483647 h 124"/>
                <a:gd name="T12" fmla="*/ 0 w 116"/>
                <a:gd name="T13" fmla="*/ 2147483647 h 124"/>
                <a:gd name="T14" fmla="*/ 2147483647 w 116"/>
                <a:gd name="T15" fmla="*/ 0 h 124"/>
                <a:gd name="T16" fmla="*/ 2147483647 w 116"/>
                <a:gd name="T17" fmla="*/ 2147483647 h 124"/>
                <a:gd name="T18" fmla="*/ 2147483647 w 116"/>
                <a:gd name="T19" fmla="*/ 2147483647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7 h 120"/>
                <a:gd name="T2" fmla="*/ 2147483647 w 66"/>
                <a:gd name="T3" fmla="*/ 2147483647 h 120"/>
                <a:gd name="T4" fmla="*/ 2147483647 w 66"/>
                <a:gd name="T5" fmla="*/ 2147483647 h 120"/>
                <a:gd name="T6" fmla="*/ 2147483647 w 66"/>
                <a:gd name="T7" fmla="*/ 0 h 120"/>
                <a:gd name="T8" fmla="*/ 2147483647 w 66"/>
                <a:gd name="T9" fmla="*/ 2147483647 h 120"/>
                <a:gd name="T10" fmla="*/ 2147483647 w 66"/>
                <a:gd name="T11" fmla="*/ 2147483647 h 120"/>
                <a:gd name="T12" fmla="*/ 2147483647 w 66"/>
                <a:gd name="T13" fmla="*/ 2147483647 h 120"/>
                <a:gd name="T14" fmla="*/ 2147483647 w 66"/>
                <a:gd name="T15" fmla="*/ 2147483647 h 120"/>
                <a:gd name="T16" fmla="*/ 2147483647 w 66"/>
                <a:gd name="T17" fmla="*/ 2147483647 h 120"/>
                <a:gd name="T18" fmla="*/ 0 w 66"/>
                <a:gd name="T19" fmla="*/ 2147483647 h 120"/>
                <a:gd name="T20" fmla="*/ 0 w 66"/>
                <a:gd name="T21" fmla="*/ 2147483647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7 w 110"/>
                <a:gd name="T1" fmla="*/ 2147483647 h 166"/>
                <a:gd name="T2" fmla="*/ 2147483647 w 110"/>
                <a:gd name="T3" fmla="*/ 2147483647 h 166"/>
                <a:gd name="T4" fmla="*/ 2147483647 w 110"/>
                <a:gd name="T5" fmla="*/ 2147483647 h 166"/>
                <a:gd name="T6" fmla="*/ 2147483647 w 110"/>
                <a:gd name="T7" fmla="*/ 2147483647 h 166"/>
                <a:gd name="T8" fmla="*/ 2147483647 w 110"/>
                <a:gd name="T9" fmla="*/ 2147483647 h 166"/>
                <a:gd name="T10" fmla="*/ 2147483647 w 110"/>
                <a:gd name="T11" fmla="*/ 2147483647 h 166"/>
                <a:gd name="T12" fmla="*/ 2147483647 w 110"/>
                <a:gd name="T13" fmla="*/ 2147483647 h 166"/>
                <a:gd name="T14" fmla="*/ 2147483647 w 110"/>
                <a:gd name="T15" fmla="*/ 2147483647 h 166"/>
                <a:gd name="T16" fmla="*/ 2147483647 w 110"/>
                <a:gd name="T17" fmla="*/ 2147483647 h 166"/>
                <a:gd name="T18" fmla="*/ 2147483647 w 110"/>
                <a:gd name="T19" fmla="*/ 2147483647 h 166"/>
                <a:gd name="T20" fmla="*/ 0 w 110"/>
                <a:gd name="T21" fmla="*/ 2147483647 h 166"/>
                <a:gd name="T22" fmla="*/ 2147483647 w 110"/>
                <a:gd name="T23" fmla="*/ 0 h 166"/>
                <a:gd name="T24" fmla="*/ 2147483647 w 110"/>
                <a:gd name="T25" fmla="*/ 2147483647 h 166"/>
                <a:gd name="T26" fmla="*/ 2147483647 w 110"/>
                <a:gd name="T27" fmla="*/ 2147483647 h 166"/>
                <a:gd name="T28" fmla="*/ 2147483647 w 110"/>
                <a:gd name="T29" fmla="*/ 2147483647 h 166"/>
                <a:gd name="T30" fmla="*/ 2147483647 w 110"/>
                <a:gd name="T31" fmla="*/ 2147483647 h 166"/>
                <a:gd name="T32" fmla="*/ 2147483647 w 110"/>
                <a:gd name="T33" fmla="*/ 2147483647 h 166"/>
                <a:gd name="T34" fmla="*/ 2147483647 w 110"/>
                <a:gd name="T35" fmla="*/ 2147483647 h 166"/>
                <a:gd name="T36" fmla="*/ 2147483647 w 110"/>
                <a:gd name="T37" fmla="*/ 2147483647 h 166"/>
                <a:gd name="T38" fmla="*/ 2147483647 w 110"/>
                <a:gd name="T39" fmla="*/ 2147483647 h 166"/>
                <a:gd name="T40" fmla="*/ 2147483647 w 110"/>
                <a:gd name="T41" fmla="*/ 2147483647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7 w 195"/>
                <a:gd name="T1" fmla="*/ 2147483647 h 92"/>
                <a:gd name="T2" fmla="*/ 2147483647 w 195"/>
                <a:gd name="T3" fmla="*/ 2147483647 h 92"/>
                <a:gd name="T4" fmla="*/ 2147483647 w 195"/>
                <a:gd name="T5" fmla="*/ 2147483647 h 92"/>
                <a:gd name="T6" fmla="*/ 2147483647 w 195"/>
                <a:gd name="T7" fmla="*/ 2147483647 h 92"/>
                <a:gd name="T8" fmla="*/ 2147483647 w 195"/>
                <a:gd name="T9" fmla="*/ 2147483647 h 92"/>
                <a:gd name="T10" fmla="*/ 2147483647 w 195"/>
                <a:gd name="T11" fmla="*/ 2147483647 h 92"/>
                <a:gd name="T12" fmla="*/ 2147483647 w 195"/>
                <a:gd name="T13" fmla="*/ 2147483647 h 92"/>
                <a:gd name="T14" fmla="*/ 2147483647 w 195"/>
                <a:gd name="T15" fmla="*/ 2147483647 h 92"/>
                <a:gd name="T16" fmla="*/ 2147483647 w 195"/>
                <a:gd name="T17" fmla="*/ 2147483647 h 92"/>
                <a:gd name="T18" fmla="*/ 2147483647 w 195"/>
                <a:gd name="T19" fmla="*/ 2147483647 h 92"/>
                <a:gd name="T20" fmla="*/ 2147483647 w 195"/>
                <a:gd name="T21" fmla="*/ 0 h 92"/>
                <a:gd name="T22" fmla="*/ 2147483647 w 195"/>
                <a:gd name="T23" fmla="*/ 0 h 92"/>
                <a:gd name="T24" fmla="*/ 2147483647 w 195"/>
                <a:gd name="T25" fmla="*/ 2147483647 h 92"/>
                <a:gd name="T26" fmla="*/ 2147483647 w 195"/>
                <a:gd name="T27" fmla="*/ 0 h 92"/>
                <a:gd name="T28" fmla="*/ 2147483647 w 195"/>
                <a:gd name="T29" fmla="*/ 0 h 92"/>
                <a:gd name="T30" fmla="*/ 2147483647 w 195"/>
                <a:gd name="T31" fmla="*/ 2147483647 h 92"/>
                <a:gd name="T32" fmla="*/ 2147483647 w 195"/>
                <a:gd name="T33" fmla="*/ 2147483647 h 92"/>
                <a:gd name="T34" fmla="*/ 2147483647 w 195"/>
                <a:gd name="T35" fmla="*/ 2147483647 h 92"/>
                <a:gd name="T36" fmla="*/ 2147483647 w 195"/>
                <a:gd name="T37" fmla="*/ 2147483647 h 92"/>
                <a:gd name="T38" fmla="*/ 2147483647 w 195"/>
                <a:gd name="T39" fmla="*/ 2147483647 h 92"/>
                <a:gd name="T40" fmla="*/ 2147483647 w 195"/>
                <a:gd name="T41" fmla="*/ 2147483647 h 92"/>
                <a:gd name="T42" fmla="*/ 0 w 195"/>
                <a:gd name="T43" fmla="*/ 2147483647 h 92"/>
                <a:gd name="T44" fmla="*/ 0 w 195"/>
                <a:gd name="T45" fmla="*/ 0 h 92"/>
                <a:gd name="T46" fmla="*/ 2147483647 w 195"/>
                <a:gd name="T47" fmla="*/ 0 h 92"/>
                <a:gd name="T48" fmla="*/ 2147483647 w 195"/>
                <a:gd name="T49" fmla="*/ 2147483647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800251496"/>
      </p:ext>
    </p:extLst>
  </p:cSld>
  <p:clrMapOvr>
    <a:masterClrMapping/>
  </p:clrMapOvr>
  <p:transition spd="med">
    <p:fade/>
  </p:transition>
  <p:hf sldNum="0" hdr="0" ftr="0"/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933815453"/>
      </p:ext>
    </p:extLst>
  </p:cSld>
  <p:clrMapOvr>
    <a:masterClrMapping/>
  </p:clrMapOvr>
  <p:transition spd="med">
    <p:fade/>
  </p:transition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112750295"/>
      </p:ext>
    </p:extLst>
  </p:cSld>
  <p:clrMapOvr>
    <a:masterClrMapping/>
  </p:clrMapOvr>
  <p:transition spd="med">
    <p:fade/>
  </p:transition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2354977"/>
      </p:ext>
    </p:extLst>
  </p:cSld>
  <p:clrMapOvr>
    <a:masterClrMapping/>
  </p:clrMapOvr>
  <p:transition spd="med">
    <p:fade/>
  </p:transition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6568678"/>
      </p:ext>
    </p:extLst>
  </p:cSld>
  <p:clrMapOvr>
    <a:masterClrMapping/>
  </p:clrMapOvr>
  <p:transition spd="med">
    <p:fade/>
  </p:transition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791290"/>
      </p:ext>
    </p:extLst>
  </p:cSld>
  <p:clrMapOvr>
    <a:masterClrMapping/>
  </p:clrMapOvr>
  <p:transition spd="med">
    <p:fade/>
  </p:transition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978073"/>
      </p:ext>
    </p:extLst>
  </p:cSld>
  <p:clrMapOvr>
    <a:masterClrMapping/>
  </p:clrMapOvr>
  <p:transition spd="med">
    <p:fade/>
  </p:transition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0902574"/>
      </p:ext>
    </p:extLst>
  </p:cSld>
  <p:clrMapOvr>
    <a:masterClrMapping/>
  </p:clrMapOvr>
  <p:transition spd="med">
    <p:fade/>
  </p:transition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8989718"/>
      </p:ext>
    </p:extLst>
  </p:cSld>
  <p:clrMapOvr>
    <a:masterClrMapping/>
  </p:clrMapOvr>
  <p:transition spd="med"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GBLG1056\Desktop\images\Orange Business Services logo 080714\digital\PNG\obs_left_rgb_black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188" y="4300538"/>
            <a:ext cx="1901825" cy="83026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31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67" y="339726"/>
            <a:ext cx="2301875" cy="3460750"/>
          </a:xfrm>
        </p:spPr>
        <p:txBody>
          <a:bodyPr tIns="109720"/>
          <a:lstStyle>
            <a:lvl1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04631536"/>
      </p:ext>
    </p:extLst>
  </p:cSld>
  <p:clrMapOvr>
    <a:masterClrMapping/>
  </p:clrMapOvr>
  <p:transition spd="med">
    <p:fade/>
  </p:transition>
  <p:hf sldNum="0" hdr="0" ftr="0"/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2"/>
          <p:cNvGrpSpPr>
            <a:grpSpLocks/>
          </p:cNvGrpSpPr>
          <p:nvPr userDrawn="1"/>
        </p:nvGrpSpPr>
        <p:grpSpPr bwMode="auto">
          <a:xfrm>
            <a:off x="314325" y="4233863"/>
            <a:ext cx="612775" cy="612775"/>
            <a:chOff x="313535" y="4233863"/>
            <a:chExt cx="612775" cy="612775"/>
          </a:xfrm>
        </p:grpSpPr>
        <p:sp>
          <p:nvSpPr>
            <p:cNvPr id="6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712788"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1pPr>
              <a:lvl2pPr defTabSz="712788"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2pPr>
              <a:lvl3pPr defTabSz="712788"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3pPr>
              <a:lvl4pPr defTabSz="712788"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4pPr>
              <a:lvl5pPr defTabSz="712788"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5pPr>
              <a:lvl6pPr marL="1881188" indent="401638" defTabSz="7127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6pPr>
              <a:lvl7pPr marL="2338388" indent="401638" defTabSz="7127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7pPr>
              <a:lvl8pPr marL="2795588" indent="401638" defTabSz="7127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8pPr>
              <a:lvl9pPr marL="3252788" indent="401638" defTabSz="7127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mtClean="0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7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2147483647 w 93"/>
                <a:gd name="T1" fmla="*/ 2147483647 h 109"/>
                <a:gd name="T2" fmla="*/ 2147483647 w 93"/>
                <a:gd name="T3" fmla="*/ 2147483647 h 109"/>
                <a:gd name="T4" fmla="*/ 0 w 93"/>
                <a:gd name="T5" fmla="*/ 2147483647 h 109"/>
                <a:gd name="T6" fmla="*/ 2147483647 w 93"/>
                <a:gd name="T7" fmla="*/ 2147483647 h 109"/>
                <a:gd name="T8" fmla="*/ 2147483647 w 93"/>
                <a:gd name="T9" fmla="*/ 2147483647 h 109"/>
                <a:gd name="T10" fmla="*/ 2147483647 w 93"/>
                <a:gd name="T11" fmla="*/ 2147483647 h 109"/>
                <a:gd name="T12" fmla="*/ 2147483647 w 93"/>
                <a:gd name="T13" fmla="*/ 2147483647 h 109"/>
                <a:gd name="T14" fmla="*/ 2147483647 w 93"/>
                <a:gd name="T15" fmla="*/ 2147483647 h 109"/>
                <a:gd name="T16" fmla="*/ 2147483647 w 93"/>
                <a:gd name="T17" fmla="*/ 0 h 109"/>
                <a:gd name="T18" fmla="*/ 2147483647 w 93"/>
                <a:gd name="T19" fmla="*/ 2147483647 h 109"/>
                <a:gd name="T20" fmla="*/ 2147483647 w 93"/>
                <a:gd name="T21" fmla="*/ 2147483647 h 109"/>
                <a:gd name="T22" fmla="*/ 2147483647 w 93"/>
                <a:gd name="T23" fmla="*/ 2147483647 h 109"/>
                <a:gd name="T24" fmla="*/ 2147483647 w 93"/>
                <a:gd name="T25" fmla="*/ 2147483647 h 109"/>
                <a:gd name="T26" fmla="*/ 2147483647 w 93"/>
                <a:gd name="T27" fmla="*/ 2147483647 h 109"/>
                <a:gd name="T28" fmla="*/ 2147483647 w 93"/>
                <a:gd name="T29" fmla="*/ 2147483647 h 109"/>
                <a:gd name="T30" fmla="*/ 2147483647 w 93"/>
                <a:gd name="T31" fmla="*/ 2147483647 h 109"/>
                <a:gd name="T32" fmla="*/ 2147483647 w 93"/>
                <a:gd name="T33" fmla="*/ 2147483647 h 109"/>
                <a:gd name="T34" fmla="*/ 2147483647 w 93"/>
                <a:gd name="T35" fmla="*/ 2147483647 h 10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2147483647 h 108"/>
                <a:gd name="T2" fmla="*/ 2147483647 w 94"/>
                <a:gd name="T3" fmla="*/ 2147483647 h 108"/>
                <a:gd name="T4" fmla="*/ 2147483647 w 94"/>
                <a:gd name="T5" fmla="*/ 2147483647 h 108"/>
                <a:gd name="T6" fmla="*/ 2147483647 w 94"/>
                <a:gd name="T7" fmla="*/ 0 h 108"/>
                <a:gd name="T8" fmla="*/ 2147483647 w 94"/>
                <a:gd name="T9" fmla="*/ 2147483647 h 108"/>
                <a:gd name="T10" fmla="*/ 2147483647 w 94"/>
                <a:gd name="T11" fmla="*/ 2147483647 h 108"/>
                <a:gd name="T12" fmla="*/ 2147483647 w 94"/>
                <a:gd name="T13" fmla="*/ 2147483647 h 108"/>
                <a:gd name="T14" fmla="*/ 2147483647 w 94"/>
                <a:gd name="T15" fmla="*/ 2147483647 h 108"/>
                <a:gd name="T16" fmla="*/ 2147483647 w 94"/>
                <a:gd name="T17" fmla="*/ 2147483647 h 108"/>
                <a:gd name="T18" fmla="*/ 2147483647 w 94"/>
                <a:gd name="T19" fmla="*/ 2147483647 h 108"/>
                <a:gd name="T20" fmla="*/ 2147483647 w 94"/>
                <a:gd name="T21" fmla="*/ 2147483647 h 108"/>
                <a:gd name="T22" fmla="*/ 0 w 94"/>
                <a:gd name="T23" fmla="*/ 2147483647 h 108"/>
                <a:gd name="T24" fmla="*/ 0 w 94"/>
                <a:gd name="T25" fmla="*/ 2147483647 h 10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2147483647 w 98"/>
                <a:gd name="T1" fmla="*/ 2147483647 h 110"/>
                <a:gd name="T2" fmla="*/ 0 w 98"/>
                <a:gd name="T3" fmla="*/ 2147483647 h 110"/>
                <a:gd name="T4" fmla="*/ 2147483647 w 98"/>
                <a:gd name="T5" fmla="*/ 0 h 110"/>
                <a:gd name="T6" fmla="*/ 2147483647 w 98"/>
                <a:gd name="T7" fmla="*/ 2147483647 h 110"/>
                <a:gd name="T8" fmla="*/ 2147483647 w 98"/>
                <a:gd name="T9" fmla="*/ 2147483647 h 110"/>
                <a:gd name="T10" fmla="*/ 2147483647 w 98"/>
                <a:gd name="T11" fmla="*/ 2147483647 h 110"/>
                <a:gd name="T12" fmla="*/ 2147483647 w 98"/>
                <a:gd name="T13" fmla="*/ 2147483647 h 110"/>
                <a:gd name="T14" fmla="*/ 2147483647 w 98"/>
                <a:gd name="T15" fmla="*/ 2147483647 h 110"/>
                <a:gd name="T16" fmla="*/ 2147483647 w 98"/>
                <a:gd name="T17" fmla="*/ 2147483647 h 110"/>
                <a:gd name="T18" fmla="*/ 2147483647 w 98"/>
                <a:gd name="T19" fmla="*/ 2147483647 h 110"/>
                <a:gd name="T20" fmla="*/ 2147483647 w 98"/>
                <a:gd name="T21" fmla="*/ 2147483647 h 110"/>
                <a:gd name="T22" fmla="*/ 2147483647 w 98"/>
                <a:gd name="T23" fmla="*/ 2147483647 h 110"/>
                <a:gd name="T24" fmla="*/ 2147483647 w 98"/>
                <a:gd name="T25" fmla="*/ 2147483647 h 110"/>
                <a:gd name="T26" fmla="*/ 2147483647 w 98"/>
                <a:gd name="T27" fmla="*/ 2147483647 h 11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2147483647 w 104"/>
                <a:gd name="T1" fmla="*/ 2147483647 h 111"/>
                <a:gd name="T2" fmla="*/ 0 w 104"/>
                <a:gd name="T3" fmla="*/ 2147483647 h 111"/>
                <a:gd name="T4" fmla="*/ 2147483647 w 104"/>
                <a:gd name="T5" fmla="*/ 0 h 111"/>
                <a:gd name="T6" fmla="*/ 2147483647 w 104"/>
                <a:gd name="T7" fmla="*/ 2147483647 h 111"/>
                <a:gd name="T8" fmla="*/ 2147483647 w 104"/>
                <a:gd name="T9" fmla="*/ 2147483647 h 111"/>
                <a:gd name="T10" fmla="*/ 2147483647 w 104"/>
                <a:gd name="T11" fmla="*/ 2147483647 h 111"/>
                <a:gd name="T12" fmla="*/ 2147483647 w 104"/>
                <a:gd name="T13" fmla="*/ 2147483647 h 111"/>
                <a:gd name="T14" fmla="*/ 2147483647 w 104"/>
                <a:gd name="T15" fmla="*/ 2147483647 h 111"/>
                <a:gd name="T16" fmla="*/ 2147483647 w 104"/>
                <a:gd name="T17" fmla="*/ 2147483647 h 111"/>
                <a:gd name="T18" fmla="*/ 2147483647 w 104"/>
                <a:gd name="T19" fmla="*/ 2147483647 h 1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2147483647 h 108"/>
                <a:gd name="T2" fmla="*/ 2147483647 w 59"/>
                <a:gd name="T3" fmla="*/ 2147483647 h 108"/>
                <a:gd name="T4" fmla="*/ 2147483647 w 59"/>
                <a:gd name="T5" fmla="*/ 2147483647 h 108"/>
                <a:gd name="T6" fmla="*/ 2147483647 w 59"/>
                <a:gd name="T7" fmla="*/ 0 h 108"/>
                <a:gd name="T8" fmla="*/ 2147483647 w 59"/>
                <a:gd name="T9" fmla="*/ 2147483647 h 108"/>
                <a:gd name="T10" fmla="*/ 2147483647 w 59"/>
                <a:gd name="T11" fmla="*/ 2147483647 h 108"/>
                <a:gd name="T12" fmla="*/ 2147483647 w 59"/>
                <a:gd name="T13" fmla="*/ 2147483647 h 108"/>
                <a:gd name="T14" fmla="*/ 2147483647 w 59"/>
                <a:gd name="T15" fmla="*/ 2147483647 h 108"/>
                <a:gd name="T16" fmla="*/ 2147483647 w 59"/>
                <a:gd name="T17" fmla="*/ 2147483647 h 108"/>
                <a:gd name="T18" fmla="*/ 0 w 59"/>
                <a:gd name="T19" fmla="*/ 2147483647 h 108"/>
                <a:gd name="T20" fmla="*/ 0 w 59"/>
                <a:gd name="T21" fmla="*/ 2147483647 h 10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2147483647 w 98"/>
                <a:gd name="T1" fmla="*/ 2147483647 h 149"/>
                <a:gd name="T2" fmla="*/ 2147483647 w 98"/>
                <a:gd name="T3" fmla="*/ 2147483647 h 149"/>
                <a:gd name="T4" fmla="*/ 2147483647 w 98"/>
                <a:gd name="T5" fmla="*/ 2147483647 h 149"/>
                <a:gd name="T6" fmla="*/ 2147483647 w 98"/>
                <a:gd name="T7" fmla="*/ 2147483647 h 149"/>
                <a:gd name="T8" fmla="*/ 2147483647 w 98"/>
                <a:gd name="T9" fmla="*/ 2147483647 h 149"/>
                <a:gd name="T10" fmla="*/ 2147483647 w 98"/>
                <a:gd name="T11" fmla="*/ 2147483647 h 149"/>
                <a:gd name="T12" fmla="*/ 2147483647 w 98"/>
                <a:gd name="T13" fmla="*/ 2147483647 h 149"/>
                <a:gd name="T14" fmla="*/ 2147483647 w 98"/>
                <a:gd name="T15" fmla="*/ 2147483647 h 149"/>
                <a:gd name="T16" fmla="*/ 2147483647 w 98"/>
                <a:gd name="T17" fmla="*/ 2147483647 h 149"/>
                <a:gd name="T18" fmla="*/ 2147483647 w 98"/>
                <a:gd name="T19" fmla="*/ 2147483647 h 149"/>
                <a:gd name="T20" fmla="*/ 2147483647 w 98"/>
                <a:gd name="T21" fmla="*/ 2147483647 h 149"/>
                <a:gd name="T22" fmla="*/ 2147483647 w 98"/>
                <a:gd name="T23" fmla="*/ 2147483647 h 149"/>
                <a:gd name="T24" fmla="*/ 2147483647 w 98"/>
                <a:gd name="T25" fmla="*/ 2147483647 h 149"/>
                <a:gd name="T26" fmla="*/ 2147483647 w 98"/>
                <a:gd name="T27" fmla="*/ 2147483647 h 149"/>
                <a:gd name="T28" fmla="*/ 2147483647 w 98"/>
                <a:gd name="T29" fmla="*/ 2147483647 h 149"/>
                <a:gd name="T30" fmla="*/ 0 w 98"/>
                <a:gd name="T31" fmla="*/ 2147483647 h 149"/>
                <a:gd name="T32" fmla="*/ 2147483647 w 98"/>
                <a:gd name="T33" fmla="*/ 0 h 149"/>
                <a:gd name="T34" fmla="*/ 2147483647 w 98"/>
                <a:gd name="T35" fmla="*/ 2147483647 h 149"/>
                <a:gd name="T36" fmla="*/ 2147483647 w 98"/>
                <a:gd name="T37" fmla="*/ 2147483647 h 149"/>
                <a:gd name="T38" fmla="*/ 2147483647 w 98"/>
                <a:gd name="T39" fmla="*/ 2147483647 h 149"/>
                <a:gd name="T40" fmla="*/ 2147483647 w 98"/>
                <a:gd name="T41" fmla="*/ 2147483647 h 14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2147483647 w 37"/>
                <a:gd name="T1" fmla="*/ 2147483647 h 17"/>
                <a:gd name="T2" fmla="*/ 2147483647 w 37"/>
                <a:gd name="T3" fmla="*/ 2147483647 h 17"/>
                <a:gd name="T4" fmla="*/ 2147483647 w 37"/>
                <a:gd name="T5" fmla="*/ 2147483647 h 17"/>
                <a:gd name="T6" fmla="*/ 2147483647 w 37"/>
                <a:gd name="T7" fmla="*/ 2147483647 h 17"/>
                <a:gd name="T8" fmla="*/ 2147483647 w 37"/>
                <a:gd name="T9" fmla="*/ 2147483647 h 17"/>
                <a:gd name="T10" fmla="*/ 0 w 37"/>
                <a:gd name="T11" fmla="*/ 2147483647 h 17"/>
                <a:gd name="T12" fmla="*/ 0 w 37"/>
                <a:gd name="T13" fmla="*/ 0 h 17"/>
                <a:gd name="T14" fmla="*/ 2147483647 w 37"/>
                <a:gd name="T15" fmla="*/ 0 h 17"/>
                <a:gd name="T16" fmla="*/ 2147483647 w 37"/>
                <a:gd name="T17" fmla="*/ 2147483647 h 17"/>
                <a:gd name="T18" fmla="*/ 2147483647 w 37"/>
                <a:gd name="T19" fmla="*/ 2147483647 h 17"/>
                <a:gd name="T20" fmla="*/ 2147483647 w 37"/>
                <a:gd name="T21" fmla="*/ 2147483647 h 17"/>
                <a:gd name="T22" fmla="*/ 2147483647 w 37"/>
                <a:gd name="T23" fmla="*/ 2147483647 h 17"/>
                <a:gd name="T24" fmla="*/ 2147483647 w 37"/>
                <a:gd name="T25" fmla="*/ 2147483647 h 17"/>
                <a:gd name="T26" fmla="*/ 2147483647 w 37"/>
                <a:gd name="T27" fmla="*/ 2147483647 h 17"/>
                <a:gd name="T28" fmla="*/ 2147483647 w 37"/>
                <a:gd name="T29" fmla="*/ 2147483647 h 17"/>
                <a:gd name="T30" fmla="*/ 2147483647 w 37"/>
                <a:gd name="T31" fmla="*/ 2147483647 h 17"/>
                <a:gd name="T32" fmla="*/ 2147483647 w 37"/>
                <a:gd name="T33" fmla="*/ 2147483647 h 17"/>
                <a:gd name="T34" fmla="*/ 2147483647 w 37"/>
                <a:gd name="T35" fmla="*/ 2147483647 h 17"/>
                <a:gd name="T36" fmla="*/ 2147483647 w 37"/>
                <a:gd name="T37" fmla="*/ 2147483647 h 17"/>
                <a:gd name="T38" fmla="*/ 2147483647 w 37"/>
                <a:gd name="T39" fmla="*/ 0 h 17"/>
                <a:gd name="T40" fmla="*/ 2147483647 w 37"/>
                <a:gd name="T41" fmla="*/ 0 h 17"/>
                <a:gd name="T42" fmla="*/ 2147483647 w 37"/>
                <a:gd name="T43" fmla="*/ 2147483647 h 17"/>
                <a:gd name="T44" fmla="*/ 2147483647 w 37"/>
                <a:gd name="T45" fmla="*/ 0 h 17"/>
                <a:gd name="T46" fmla="*/ 2147483647 w 37"/>
                <a:gd name="T47" fmla="*/ 0 h 17"/>
                <a:gd name="T48" fmla="*/ 2147483647 w 37"/>
                <a:gd name="T49" fmla="*/ 2147483647 h 1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35" y="267618"/>
            <a:ext cx="4829289" cy="2304131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 dirty="0"/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5800726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314325" y="2704144"/>
            <a:ext cx="4827547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3218596"/>
      </p:ext>
    </p:extLst>
  </p:cSld>
  <p:clrMapOvr>
    <a:masterClrMapping/>
  </p:clrMapOvr>
  <p:transition spd="med">
    <p:fade/>
  </p:transition>
  <p:hf sldNum="0" hdr="0"/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5"/>
          <p:cNvSpPr txBox="1">
            <a:spLocks noChangeArrowheads="1"/>
          </p:cNvSpPr>
          <p:nvPr userDrawn="1"/>
        </p:nvSpPr>
        <p:spPr bwMode="auto">
          <a:xfrm>
            <a:off x="619125" y="4749800"/>
            <a:ext cx="9017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1pPr>
            <a:lvl2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2pPr>
            <a:lvl3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3pPr>
            <a:lvl4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4pPr>
            <a:lvl5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5pPr>
            <a:lvl6pPr marL="18811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6pPr>
            <a:lvl7pPr marL="23383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7pPr>
            <a:lvl8pPr marL="27955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8pPr>
            <a:lvl9pPr marL="32527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GB" altLang="fr-FR" sz="800" smtClean="0">
                <a:solidFill>
                  <a:srgbClr val="FFFFFF"/>
                </a:solidFill>
                <a:latin typeface="Helvetica 75 Bold" pitchFamily="34" charset="0"/>
                <a:cs typeface="+mn-cs"/>
              </a:rPr>
              <a:t>Orange Restricte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200" y="1181100"/>
            <a:ext cx="3968055" cy="3370262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64795" y="1181100"/>
            <a:ext cx="3964880" cy="337026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13199" y="268288"/>
            <a:ext cx="8516475" cy="741362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6813445"/>
      </p:ext>
    </p:extLst>
  </p:cSld>
  <p:clrMapOvr>
    <a:masterClrMapping/>
  </p:clrMapOvr>
  <p:transition spd="med">
    <p:fade/>
  </p:transition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4"/>
          <p:cNvSpPr txBox="1">
            <a:spLocks noChangeArrowheads="1"/>
          </p:cNvSpPr>
          <p:nvPr userDrawn="1"/>
        </p:nvSpPr>
        <p:spPr bwMode="auto">
          <a:xfrm>
            <a:off x="619125" y="4749800"/>
            <a:ext cx="9017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1pPr>
            <a:lvl2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2pPr>
            <a:lvl3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3pPr>
            <a:lvl4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4pPr>
            <a:lvl5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5pPr>
            <a:lvl6pPr marL="18811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6pPr>
            <a:lvl7pPr marL="23383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7pPr>
            <a:lvl8pPr marL="27955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8pPr>
            <a:lvl9pPr marL="32527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GB" altLang="fr-FR" sz="800" smtClean="0">
                <a:solidFill>
                  <a:srgbClr val="FFFFFF"/>
                </a:solidFill>
                <a:latin typeface="Helvetica 75 Bold" pitchFamily="34" charset="0"/>
                <a:cs typeface="+mn-cs"/>
              </a:rPr>
              <a:t>Orange Restricte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47234947"/>
      </p:ext>
    </p:extLst>
  </p:cSld>
  <p:clrMapOvr>
    <a:masterClrMapping/>
  </p:clrMapOvr>
  <p:transition spd="med">
    <p:fade/>
  </p:transition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>
            <a:spLocks noChangeArrowheads="1"/>
          </p:cNvSpPr>
          <p:nvPr userDrawn="1"/>
        </p:nvSpPr>
        <p:spPr bwMode="auto">
          <a:xfrm>
            <a:off x="619125" y="4749800"/>
            <a:ext cx="9017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1pPr>
            <a:lvl2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2pPr>
            <a:lvl3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3pPr>
            <a:lvl4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4pPr>
            <a:lvl5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5pPr>
            <a:lvl6pPr marL="18811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6pPr>
            <a:lvl7pPr marL="23383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7pPr>
            <a:lvl8pPr marL="27955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8pPr>
            <a:lvl9pPr marL="32527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GB" altLang="fr-FR" sz="800" smtClean="0">
                <a:solidFill>
                  <a:srgbClr val="FFFFFF"/>
                </a:solidFill>
                <a:latin typeface="Helvetica 75 Bold" pitchFamily="34" charset="0"/>
                <a:cs typeface="+mn-cs"/>
              </a:rPr>
              <a:t>Orange Restricted</a:t>
            </a:r>
          </a:p>
        </p:txBody>
      </p:sp>
    </p:spTree>
    <p:extLst>
      <p:ext uri="{BB962C8B-B14F-4D97-AF65-F5344CB8AC3E}">
        <p14:creationId xmlns:p14="http://schemas.microsoft.com/office/powerpoint/2010/main" val="1921907134"/>
      </p:ext>
    </p:extLst>
  </p:cSld>
  <p:clrMapOvr>
    <a:masterClrMapping/>
  </p:clrMapOvr>
  <p:transition spd="med">
    <p:fade/>
  </p:transition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ull Bleed Medi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rgbClr val="000000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063449"/>
      </p:ext>
    </p:extLst>
  </p:cSld>
  <p:clrMapOvr>
    <a:masterClrMapping/>
  </p:clrMapOvr>
  <p:transition spd="med">
    <p:fade/>
  </p:transition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2788"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grpSp>
        <p:nvGrpSpPr>
          <p:cNvPr id="6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5pPr>
              <a:lvl6pPr marL="18811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6pPr>
              <a:lvl7pPr marL="23383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7pPr>
              <a:lvl8pPr marL="27955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8pPr>
              <a:lvl9pPr marL="32527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smtClean="0">
                <a:solidFill>
                  <a:srgbClr val="FF6600"/>
                </a:solidFill>
                <a:latin typeface="Helvetica 75 Bold" pitchFamily="34" charset="0"/>
                <a:cs typeface="+mn-cs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7 w 104"/>
                <a:gd name="T1" fmla="*/ 2147483647 h 122"/>
                <a:gd name="T2" fmla="*/ 2147483647 w 104"/>
                <a:gd name="T3" fmla="*/ 2147483647 h 122"/>
                <a:gd name="T4" fmla="*/ 2147483647 w 104"/>
                <a:gd name="T5" fmla="*/ 2147483647 h 122"/>
                <a:gd name="T6" fmla="*/ 2147483647 w 104"/>
                <a:gd name="T7" fmla="*/ 2147483647 h 122"/>
                <a:gd name="T8" fmla="*/ 2147483647 w 104"/>
                <a:gd name="T9" fmla="*/ 2147483647 h 122"/>
                <a:gd name="T10" fmla="*/ 2147483647 w 104"/>
                <a:gd name="T11" fmla="*/ 2147483647 h 122"/>
                <a:gd name="T12" fmla="*/ 2147483647 w 104"/>
                <a:gd name="T13" fmla="*/ 2147483647 h 122"/>
                <a:gd name="T14" fmla="*/ 0 w 104"/>
                <a:gd name="T15" fmla="*/ 2147483647 h 122"/>
                <a:gd name="T16" fmla="*/ 2147483647 w 104"/>
                <a:gd name="T17" fmla="*/ 2147483647 h 122"/>
                <a:gd name="T18" fmla="*/ 2147483647 w 104"/>
                <a:gd name="T19" fmla="*/ 2147483647 h 122"/>
                <a:gd name="T20" fmla="*/ 2147483647 w 104"/>
                <a:gd name="T21" fmla="*/ 2147483647 h 122"/>
                <a:gd name="T22" fmla="*/ 2147483647 w 104"/>
                <a:gd name="T23" fmla="*/ 2147483647 h 122"/>
                <a:gd name="T24" fmla="*/ 2147483647 w 104"/>
                <a:gd name="T25" fmla="*/ 2147483647 h 122"/>
                <a:gd name="T26" fmla="*/ 2147483647 w 104"/>
                <a:gd name="T27" fmla="*/ 0 h 122"/>
                <a:gd name="T28" fmla="*/ 2147483647 w 104"/>
                <a:gd name="T29" fmla="*/ 2147483647 h 122"/>
                <a:gd name="T30" fmla="*/ 2147483647 w 104"/>
                <a:gd name="T31" fmla="*/ 2147483647 h 122"/>
                <a:gd name="T32" fmla="*/ 2147483647 w 104"/>
                <a:gd name="T33" fmla="*/ 2147483647 h 122"/>
                <a:gd name="T34" fmla="*/ 2147483647 w 104"/>
                <a:gd name="T35" fmla="*/ 2147483647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7 h 120"/>
                <a:gd name="T2" fmla="*/ 2147483647 w 105"/>
                <a:gd name="T3" fmla="*/ 2147483647 h 120"/>
                <a:gd name="T4" fmla="*/ 2147483647 w 105"/>
                <a:gd name="T5" fmla="*/ 2147483647 h 120"/>
                <a:gd name="T6" fmla="*/ 2147483647 w 105"/>
                <a:gd name="T7" fmla="*/ 0 h 120"/>
                <a:gd name="T8" fmla="*/ 2147483647 w 105"/>
                <a:gd name="T9" fmla="*/ 2147483647 h 120"/>
                <a:gd name="T10" fmla="*/ 2147483647 w 105"/>
                <a:gd name="T11" fmla="*/ 2147483647 h 120"/>
                <a:gd name="T12" fmla="*/ 2147483647 w 105"/>
                <a:gd name="T13" fmla="*/ 2147483647 h 120"/>
                <a:gd name="T14" fmla="*/ 2147483647 w 105"/>
                <a:gd name="T15" fmla="*/ 2147483647 h 120"/>
                <a:gd name="T16" fmla="*/ 2147483647 w 105"/>
                <a:gd name="T17" fmla="*/ 2147483647 h 120"/>
                <a:gd name="T18" fmla="*/ 2147483647 w 105"/>
                <a:gd name="T19" fmla="*/ 2147483647 h 120"/>
                <a:gd name="T20" fmla="*/ 2147483647 w 105"/>
                <a:gd name="T21" fmla="*/ 2147483647 h 120"/>
                <a:gd name="T22" fmla="*/ 0 w 105"/>
                <a:gd name="T23" fmla="*/ 2147483647 h 120"/>
                <a:gd name="T24" fmla="*/ 0 w 105"/>
                <a:gd name="T25" fmla="*/ 2147483647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7 w 109"/>
                <a:gd name="T1" fmla="*/ 2147483647 h 122"/>
                <a:gd name="T2" fmla="*/ 2147483647 w 109"/>
                <a:gd name="T3" fmla="*/ 2147483647 h 122"/>
                <a:gd name="T4" fmla="*/ 2147483647 w 109"/>
                <a:gd name="T5" fmla="*/ 2147483647 h 122"/>
                <a:gd name="T6" fmla="*/ 2147483647 w 109"/>
                <a:gd name="T7" fmla="*/ 2147483647 h 122"/>
                <a:gd name="T8" fmla="*/ 2147483647 w 109"/>
                <a:gd name="T9" fmla="*/ 2147483647 h 122"/>
                <a:gd name="T10" fmla="*/ 0 w 109"/>
                <a:gd name="T11" fmla="*/ 2147483647 h 122"/>
                <a:gd name="T12" fmla="*/ 2147483647 w 109"/>
                <a:gd name="T13" fmla="*/ 0 h 122"/>
                <a:gd name="T14" fmla="*/ 2147483647 w 109"/>
                <a:gd name="T15" fmla="*/ 2147483647 h 122"/>
                <a:gd name="T16" fmla="*/ 2147483647 w 109"/>
                <a:gd name="T17" fmla="*/ 2147483647 h 122"/>
                <a:gd name="T18" fmla="*/ 2147483647 w 109"/>
                <a:gd name="T19" fmla="*/ 2147483647 h 122"/>
                <a:gd name="T20" fmla="*/ 2147483647 w 109"/>
                <a:gd name="T21" fmla="*/ 2147483647 h 122"/>
                <a:gd name="T22" fmla="*/ 2147483647 w 109"/>
                <a:gd name="T23" fmla="*/ 2147483647 h 122"/>
                <a:gd name="T24" fmla="*/ 2147483647 w 109"/>
                <a:gd name="T25" fmla="*/ 2147483647 h 122"/>
                <a:gd name="T26" fmla="*/ 2147483647 w 109"/>
                <a:gd name="T27" fmla="*/ 2147483647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7 w 116"/>
                <a:gd name="T1" fmla="*/ 2147483647 h 124"/>
                <a:gd name="T2" fmla="*/ 2147483647 w 116"/>
                <a:gd name="T3" fmla="*/ 2147483647 h 124"/>
                <a:gd name="T4" fmla="*/ 2147483647 w 116"/>
                <a:gd name="T5" fmla="*/ 2147483647 h 124"/>
                <a:gd name="T6" fmla="*/ 2147483647 w 116"/>
                <a:gd name="T7" fmla="*/ 2147483647 h 124"/>
                <a:gd name="T8" fmla="*/ 2147483647 w 116"/>
                <a:gd name="T9" fmla="*/ 2147483647 h 124"/>
                <a:gd name="T10" fmla="*/ 2147483647 w 116"/>
                <a:gd name="T11" fmla="*/ 2147483647 h 124"/>
                <a:gd name="T12" fmla="*/ 0 w 116"/>
                <a:gd name="T13" fmla="*/ 2147483647 h 124"/>
                <a:gd name="T14" fmla="*/ 2147483647 w 116"/>
                <a:gd name="T15" fmla="*/ 0 h 124"/>
                <a:gd name="T16" fmla="*/ 2147483647 w 116"/>
                <a:gd name="T17" fmla="*/ 2147483647 h 124"/>
                <a:gd name="T18" fmla="*/ 2147483647 w 116"/>
                <a:gd name="T19" fmla="*/ 2147483647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7 h 120"/>
                <a:gd name="T2" fmla="*/ 2147483647 w 66"/>
                <a:gd name="T3" fmla="*/ 2147483647 h 120"/>
                <a:gd name="T4" fmla="*/ 2147483647 w 66"/>
                <a:gd name="T5" fmla="*/ 2147483647 h 120"/>
                <a:gd name="T6" fmla="*/ 2147483647 w 66"/>
                <a:gd name="T7" fmla="*/ 0 h 120"/>
                <a:gd name="T8" fmla="*/ 2147483647 w 66"/>
                <a:gd name="T9" fmla="*/ 2147483647 h 120"/>
                <a:gd name="T10" fmla="*/ 2147483647 w 66"/>
                <a:gd name="T11" fmla="*/ 2147483647 h 120"/>
                <a:gd name="T12" fmla="*/ 2147483647 w 66"/>
                <a:gd name="T13" fmla="*/ 2147483647 h 120"/>
                <a:gd name="T14" fmla="*/ 2147483647 w 66"/>
                <a:gd name="T15" fmla="*/ 2147483647 h 120"/>
                <a:gd name="T16" fmla="*/ 2147483647 w 66"/>
                <a:gd name="T17" fmla="*/ 2147483647 h 120"/>
                <a:gd name="T18" fmla="*/ 0 w 66"/>
                <a:gd name="T19" fmla="*/ 2147483647 h 120"/>
                <a:gd name="T20" fmla="*/ 0 w 66"/>
                <a:gd name="T21" fmla="*/ 2147483647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7 w 110"/>
                <a:gd name="T1" fmla="*/ 2147483647 h 166"/>
                <a:gd name="T2" fmla="*/ 2147483647 w 110"/>
                <a:gd name="T3" fmla="*/ 2147483647 h 166"/>
                <a:gd name="T4" fmla="*/ 2147483647 w 110"/>
                <a:gd name="T5" fmla="*/ 2147483647 h 166"/>
                <a:gd name="T6" fmla="*/ 2147483647 w 110"/>
                <a:gd name="T7" fmla="*/ 2147483647 h 166"/>
                <a:gd name="T8" fmla="*/ 2147483647 w 110"/>
                <a:gd name="T9" fmla="*/ 2147483647 h 166"/>
                <a:gd name="T10" fmla="*/ 2147483647 w 110"/>
                <a:gd name="T11" fmla="*/ 2147483647 h 166"/>
                <a:gd name="T12" fmla="*/ 2147483647 w 110"/>
                <a:gd name="T13" fmla="*/ 2147483647 h 166"/>
                <a:gd name="T14" fmla="*/ 2147483647 w 110"/>
                <a:gd name="T15" fmla="*/ 2147483647 h 166"/>
                <a:gd name="T16" fmla="*/ 2147483647 w 110"/>
                <a:gd name="T17" fmla="*/ 2147483647 h 166"/>
                <a:gd name="T18" fmla="*/ 2147483647 w 110"/>
                <a:gd name="T19" fmla="*/ 2147483647 h 166"/>
                <a:gd name="T20" fmla="*/ 0 w 110"/>
                <a:gd name="T21" fmla="*/ 2147483647 h 166"/>
                <a:gd name="T22" fmla="*/ 2147483647 w 110"/>
                <a:gd name="T23" fmla="*/ 0 h 166"/>
                <a:gd name="T24" fmla="*/ 2147483647 w 110"/>
                <a:gd name="T25" fmla="*/ 2147483647 h 166"/>
                <a:gd name="T26" fmla="*/ 2147483647 w 110"/>
                <a:gd name="T27" fmla="*/ 2147483647 h 166"/>
                <a:gd name="T28" fmla="*/ 2147483647 w 110"/>
                <a:gd name="T29" fmla="*/ 2147483647 h 166"/>
                <a:gd name="T30" fmla="*/ 2147483647 w 110"/>
                <a:gd name="T31" fmla="*/ 2147483647 h 166"/>
                <a:gd name="T32" fmla="*/ 2147483647 w 110"/>
                <a:gd name="T33" fmla="*/ 2147483647 h 166"/>
                <a:gd name="T34" fmla="*/ 2147483647 w 110"/>
                <a:gd name="T35" fmla="*/ 2147483647 h 166"/>
                <a:gd name="T36" fmla="*/ 2147483647 w 110"/>
                <a:gd name="T37" fmla="*/ 2147483647 h 166"/>
                <a:gd name="T38" fmla="*/ 2147483647 w 110"/>
                <a:gd name="T39" fmla="*/ 2147483647 h 166"/>
                <a:gd name="T40" fmla="*/ 2147483647 w 110"/>
                <a:gd name="T41" fmla="*/ 2147483647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7 w 195"/>
                <a:gd name="T1" fmla="*/ 2147483647 h 92"/>
                <a:gd name="T2" fmla="*/ 2147483647 w 195"/>
                <a:gd name="T3" fmla="*/ 2147483647 h 92"/>
                <a:gd name="T4" fmla="*/ 2147483647 w 195"/>
                <a:gd name="T5" fmla="*/ 2147483647 h 92"/>
                <a:gd name="T6" fmla="*/ 2147483647 w 195"/>
                <a:gd name="T7" fmla="*/ 2147483647 h 92"/>
                <a:gd name="T8" fmla="*/ 2147483647 w 195"/>
                <a:gd name="T9" fmla="*/ 2147483647 h 92"/>
                <a:gd name="T10" fmla="*/ 2147483647 w 195"/>
                <a:gd name="T11" fmla="*/ 2147483647 h 92"/>
                <a:gd name="T12" fmla="*/ 2147483647 w 195"/>
                <a:gd name="T13" fmla="*/ 2147483647 h 92"/>
                <a:gd name="T14" fmla="*/ 2147483647 w 195"/>
                <a:gd name="T15" fmla="*/ 2147483647 h 92"/>
                <a:gd name="T16" fmla="*/ 2147483647 w 195"/>
                <a:gd name="T17" fmla="*/ 2147483647 h 92"/>
                <a:gd name="T18" fmla="*/ 2147483647 w 195"/>
                <a:gd name="T19" fmla="*/ 2147483647 h 92"/>
                <a:gd name="T20" fmla="*/ 2147483647 w 195"/>
                <a:gd name="T21" fmla="*/ 0 h 92"/>
                <a:gd name="T22" fmla="*/ 2147483647 w 195"/>
                <a:gd name="T23" fmla="*/ 0 h 92"/>
                <a:gd name="T24" fmla="*/ 2147483647 w 195"/>
                <a:gd name="T25" fmla="*/ 2147483647 h 92"/>
                <a:gd name="T26" fmla="*/ 2147483647 w 195"/>
                <a:gd name="T27" fmla="*/ 0 h 92"/>
                <a:gd name="T28" fmla="*/ 2147483647 w 195"/>
                <a:gd name="T29" fmla="*/ 0 h 92"/>
                <a:gd name="T30" fmla="*/ 2147483647 w 195"/>
                <a:gd name="T31" fmla="*/ 2147483647 h 92"/>
                <a:gd name="T32" fmla="*/ 2147483647 w 195"/>
                <a:gd name="T33" fmla="*/ 2147483647 h 92"/>
                <a:gd name="T34" fmla="*/ 2147483647 w 195"/>
                <a:gd name="T35" fmla="*/ 2147483647 h 92"/>
                <a:gd name="T36" fmla="*/ 2147483647 w 195"/>
                <a:gd name="T37" fmla="*/ 2147483647 h 92"/>
                <a:gd name="T38" fmla="*/ 2147483647 w 195"/>
                <a:gd name="T39" fmla="*/ 2147483647 h 92"/>
                <a:gd name="T40" fmla="*/ 2147483647 w 195"/>
                <a:gd name="T41" fmla="*/ 2147483647 h 92"/>
                <a:gd name="T42" fmla="*/ 0 w 195"/>
                <a:gd name="T43" fmla="*/ 2147483647 h 92"/>
                <a:gd name="T44" fmla="*/ 0 w 195"/>
                <a:gd name="T45" fmla="*/ 0 h 92"/>
                <a:gd name="T46" fmla="*/ 2147483647 w 195"/>
                <a:gd name="T47" fmla="*/ 0 h 92"/>
                <a:gd name="T48" fmla="*/ 2147483647 w 195"/>
                <a:gd name="T49" fmla="*/ 2147483647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810405830"/>
      </p:ext>
    </p:extLst>
  </p:cSld>
  <p:clrMapOvr>
    <a:masterClrMapping/>
  </p:clrMapOvr>
  <p:transition spd="med">
    <p:fade/>
  </p:transition>
  <p:hf sldNum="0" hdr="0" ftr="0"/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1752267856"/>
      </p:ext>
    </p:extLst>
  </p:cSld>
  <p:clrMapOvr>
    <a:masterClrMapping/>
  </p:clrMapOvr>
  <p:transition spd="med">
    <p:fade/>
  </p:transition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585118107"/>
      </p:ext>
    </p:extLst>
  </p:cSld>
  <p:clrMapOvr>
    <a:masterClrMapping/>
  </p:clrMapOvr>
  <p:transition spd="med">
    <p:fade/>
  </p:transition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7115927"/>
      </p:ext>
    </p:extLst>
  </p:cSld>
  <p:clrMapOvr>
    <a:masterClrMapping/>
  </p:clrMapOvr>
  <p:transition spd="med">
    <p:fade/>
  </p:transition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58695"/>
      </p:ext>
    </p:extLst>
  </p:cSld>
  <p:clrMapOvr>
    <a:masterClrMapping/>
  </p:clrMapOvr>
  <p:transition spd="med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8" r="661"/>
          <a:stretch>
            <a:fillRect/>
          </a:stretch>
        </p:blipFill>
        <p:spPr bwMode="auto">
          <a:xfrm>
            <a:off x="0" y="2386013"/>
            <a:ext cx="9144000" cy="1092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404" name="Rectangle 4"/>
          <p:cNvSpPr>
            <a:spLocks noGrp="1" noChangeArrowheads="1"/>
          </p:cNvSpPr>
          <p:nvPr>
            <p:ph type="ctrTitle"/>
          </p:nvPr>
        </p:nvSpPr>
        <p:spPr>
          <a:xfrm>
            <a:off x="3297248" y="2131219"/>
            <a:ext cx="5522911" cy="1196814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5400">
                <a:latin typeface="Helvetica 35 Thin" pitchFamily="34" charset="0"/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74512213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1064236"/>
      </p:ext>
    </p:extLst>
  </p:cSld>
  <p:clrMapOvr>
    <a:masterClrMapping/>
  </p:clrMapOvr>
  <p:transition spd="med">
    <p:fade/>
  </p:transition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8118423"/>
      </p:ext>
    </p:extLst>
  </p:cSld>
  <p:clrMapOvr>
    <a:masterClrMapping/>
  </p:clrMapOvr>
  <p:transition spd="med">
    <p:fade/>
  </p:transition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3775400"/>
      </p:ext>
    </p:extLst>
  </p:cSld>
  <p:clrMapOvr>
    <a:masterClrMapping/>
  </p:clrMapOvr>
  <p:transition spd="med">
    <p:fade/>
  </p:transition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11262033"/>
      </p:ext>
    </p:extLst>
  </p:cSld>
  <p:clrMapOvr>
    <a:masterClrMapping/>
  </p:clrMapOvr>
  <p:transition spd="med">
    <p:fade/>
  </p:transition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2"/>
          <p:cNvGrpSpPr>
            <a:grpSpLocks/>
          </p:cNvGrpSpPr>
          <p:nvPr userDrawn="1"/>
        </p:nvGrpSpPr>
        <p:grpSpPr bwMode="auto">
          <a:xfrm>
            <a:off x="314325" y="4233863"/>
            <a:ext cx="612775" cy="612775"/>
            <a:chOff x="313535" y="4233863"/>
            <a:chExt cx="612775" cy="612775"/>
          </a:xfrm>
        </p:grpSpPr>
        <p:sp>
          <p:nvSpPr>
            <p:cNvPr id="6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712788"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1pPr>
              <a:lvl2pPr defTabSz="712788"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2pPr>
              <a:lvl3pPr defTabSz="712788"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3pPr>
              <a:lvl4pPr defTabSz="712788"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4pPr>
              <a:lvl5pPr defTabSz="712788"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5pPr>
              <a:lvl6pPr marL="1881188" indent="401638" defTabSz="7127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6pPr>
              <a:lvl7pPr marL="2338388" indent="401638" defTabSz="7127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7pPr>
              <a:lvl8pPr marL="2795588" indent="401638" defTabSz="7127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8pPr>
              <a:lvl9pPr marL="3252788" indent="401638" defTabSz="7127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mtClean="0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7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2147483647 w 93"/>
                <a:gd name="T1" fmla="*/ 2147483647 h 109"/>
                <a:gd name="T2" fmla="*/ 2147483647 w 93"/>
                <a:gd name="T3" fmla="*/ 2147483647 h 109"/>
                <a:gd name="T4" fmla="*/ 0 w 93"/>
                <a:gd name="T5" fmla="*/ 2147483647 h 109"/>
                <a:gd name="T6" fmla="*/ 2147483647 w 93"/>
                <a:gd name="T7" fmla="*/ 2147483647 h 109"/>
                <a:gd name="T8" fmla="*/ 2147483647 w 93"/>
                <a:gd name="T9" fmla="*/ 2147483647 h 109"/>
                <a:gd name="T10" fmla="*/ 2147483647 w 93"/>
                <a:gd name="T11" fmla="*/ 2147483647 h 109"/>
                <a:gd name="T12" fmla="*/ 2147483647 w 93"/>
                <a:gd name="T13" fmla="*/ 2147483647 h 109"/>
                <a:gd name="T14" fmla="*/ 2147483647 w 93"/>
                <a:gd name="T15" fmla="*/ 2147483647 h 109"/>
                <a:gd name="T16" fmla="*/ 2147483647 w 93"/>
                <a:gd name="T17" fmla="*/ 0 h 109"/>
                <a:gd name="T18" fmla="*/ 2147483647 w 93"/>
                <a:gd name="T19" fmla="*/ 2147483647 h 109"/>
                <a:gd name="T20" fmla="*/ 2147483647 w 93"/>
                <a:gd name="T21" fmla="*/ 2147483647 h 109"/>
                <a:gd name="T22" fmla="*/ 2147483647 w 93"/>
                <a:gd name="T23" fmla="*/ 2147483647 h 109"/>
                <a:gd name="T24" fmla="*/ 2147483647 w 93"/>
                <a:gd name="T25" fmla="*/ 2147483647 h 109"/>
                <a:gd name="T26" fmla="*/ 2147483647 w 93"/>
                <a:gd name="T27" fmla="*/ 2147483647 h 109"/>
                <a:gd name="T28" fmla="*/ 2147483647 w 93"/>
                <a:gd name="T29" fmla="*/ 2147483647 h 109"/>
                <a:gd name="T30" fmla="*/ 2147483647 w 93"/>
                <a:gd name="T31" fmla="*/ 2147483647 h 109"/>
                <a:gd name="T32" fmla="*/ 2147483647 w 93"/>
                <a:gd name="T33" fmla="*/ 2147483647 h 109"/>
                <a:gd name="T34" fmla="*/ 2147483647 w 93"/>
                <a:gd name="T35" fmla="*/ 2147483647 h 10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2147483647 h 108"/>
                <a:gd name="T2" fmla="*/ 2147483647 w 94"/>
                <a:gd name="T3" fmla="*/ 2147483647 h 108"/>
                <a:gd name="T4" fmla="*/ 2147483647 w 94"/>
                <a:gd name="T5" fmla="*/ 2147483647 h 108"/>
                <a:gd name="T6" fmla="*/ 2147483647 w 94"/>
                <a:gd name="T7" fmla="*/ 0 h 108"/>
                <a:gd name="T8" fmla="*/ 2147483647 w 94"/>
                <a:gd name="T9" fmla="*/ 2147483647 h 108"/>
                <a:gd name="T10" fmla="*/ 2147483647 w 94"/>
                <a:gd name="T11" fmla="*/ 2147483647 h 108"/>
                <a:gd name="T12" fmla="*/ 2147483647 w 94"/>
                <a:gd name="T13" fmla="*/ 2147483647 h 108"/>
                <a:gd name="T14" fmla="*/ 2147483647 w 94"/>
                <a:gd name="T15" fmla="*/ 2147483647 h 108"/>
                <a:gd name="T16" fmla="*/ 2147483647 w 94"/>
                <a:gd name="T17" fmla="*/ 2147483647 h 108"/>
                <a:gd name="T18" fmla="*/ 2147483647 w 94"/>
                <a:gd name="T19" fmla="*/ 2147483647 h 108"/>
                <a:gd name="T20" fmla="*/ 2147483647 w 94"/>
                <a:gd name="T21" fmla="*/ 2147483647 h 108"/>
                <a:gd name="T22" fmla="*/ 0 w 94"/>
                <a:gd name="T23" fmla="*/ 2147483647 h 108"/>
                <a:gd name="T24" fmla="*/ 0 w 94"/>
                <a:gd name="T25" fmla="*/ 2147483647 h 10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2147483647 w 98"/>
                <a:gd name="T1" fmla="*/ 2147483647 h 110"/>
                <a:gd name="T2" fmla="*/ 0 w 98"/>
                <a:gd name="T3" fmla="*/ 2147483647 h 110"/>
                <a:gd name="T4" fmla="*/ 2147483647 w 98"/>
                <a:gd name="T5" fmla="*/ 0 h 110"/>
                <a:gd name="T6" fmla="*/ 2147483647 w 98"/>
                <a:gd name="T7" fmla="*/ 2147483647 h 110"/>
                <a:gd name="T8" fmla="*/ 2147483647 w 98"/>
                <a:gd name="T9" fmla="*/ 2147483647 h 110"/>
                <a:gd name="T10" fmla="*/ 2147483647 w 98"/>
                <a:gd name="T11" fmla="*/ 2147483647 h 110"/>
                <a:gd name="T12" fmla="*/ 2147483647 w 98"/>
                <a:gd name="T13" fmla="*/ 2147483647 h 110"/>
                <a:gd name="T14" fmla="*/ 2147483647 w 98"/>
                <a:gd name="T15" fmla="*/ 2147483647 h 110"/>
                <a:gd name="T16" fmla="*/ 2147483647 w 98"/>
                <a:gd name="T17" fmla="*/ 2147483647 h 110"/>
                <a:gd name="T18" fmla="*/ 2147483647 w 98"/>
                <a:gd name="T19" fmla="*/ 2147483647 h 110"/>
                <a:gd name="T20" fmla="*/ 2147483647 w 98"/>
                <a:gd name="T21" fmla="*/ 2147483647 h 110"/>
                <a:gd name="T22" fmla="*/ 2147483647 w 98"/>
                <a:gd name="T23" fmla="*/ 2147483647 h 110"/>
                <a:gd name="T24" fmla="*/ 2147483647 w 98"/>
                <a:gd name="T25" fmla="*/ 2147483647 h 110"/>
                <a:gd name="T26" fmla="*/ 2147483647 w 98"/>
                <a:gd name="T27" fmla="*/ 2147483647 h 11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2147483647 w 104"/>
                <a:gd name="T1" fmla="*/ 2147483647 h 111"/>
                <a:gd name="T2" fmla="*/ 0 w 104"/>
                <a:gd name="T3" fmla="*/ 2147483647 h 111"/>
                <a:gd name="T4" fmla="*/ 2147483647 w 104"/>
                <a:gd name="T5" fmla="*/ 0 h 111"/>
                <a:gd name="T6" fmla="*/ 2147483647 w 104"/>
                <a:gd name="T7" fmla="*/ 2147483647 h 111"/>
                <a:gd name="T8" fmla="*/ 2147483647 w 104"/>
                <a:gd name="T9" fmla="*/ 2147483647 h 111"/>
                <a:gd name="T10" fmla="*/ 2147483647 w 104"/>
                <a:gd name="T11" fmla="*/ 2147483647 h 111"/>
                <a:gd name="T12" fmla="*/ 2147483647 w 104"/>
                <a:gd name="T13" fmla="*/ 2147483647 h 111"/>
                <a:gd name="T14" fmla="*/ 2147483647 w 104"/>
                <a:gd name="T15" fmla="*/ 2147483647 h 111"/>
                <a:gd name="T16" fmla="*/ 2147483647 w 104"/>
                <a:gd name="T17" fmla="*/ 2147483647 h 111"/>
                <a:gd name="T18" fmla="*/ 2147483647 w 104"/>
                <a:gd name="T19" fmla="*/ 2147483647 h 1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2147483647 h 108"/>
                <a:gd name="T2" fmla="*/ 2147483647 w 59"/>
                <a:gd name="T3" fmla="*/ 2147483647 h 108"/>
                <a:gd name="T4" fmla="*/ 2147483647 w 59"/>
                <a:gd name="T5" fmla="*/ 2147483647 h 108"/>
                <a:gd name="T6" fmla="*/ 2147483647 w 59"/>
                <a:gd name="T7" fmla="*/ 0 h 108"/>
                <a:gd name="T8" fmla="*/ 2147483647 w 59"/>
                <a:gd name="T9" fmla="*/ 2147483647 h 108"/>
                <a:gd name="T10" fmla="*/ 2147483647 w 59"/>
                <a:gd name="T11" fmla="*/ 2147483647 h 108"/>
                <a:gd name="T12" fmla="*/ 2147483647 w 59"/>
                <a:gd name="T13" fmla="*/ 2147483647 h 108"/>
                <a:gd name="T14" fmla="*/ 2147483647 w 59"/>
                <a:gd name="T15" fmla="*/ 2147483647 h 108"/>
                <a:gd name="T16" fmla="*/ 2147483647 w 59"/>
                <a:gd name="T17" fmla="*/ 2147483647 h 108"/>
                <a:gd name="T18" fmla="*/ 0 w 59"/>
                <a:gd name="T19" fmla="*/ 2147483647 h 108"/>
                <a:gd name="T20" fmla="*/ 0 w 59"/>
                <a:gd name="T21" fmla="*/ 2147483647 h 10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2147483647 w 98"/>
                <a:gd name="T1" fmla="*/ 2147483647 h 149"/>
                <a:gd name="T2" fmla="*/ 2147483647 w 98"/>
                <a:gd name="T3" fmla="*/ 2147483647 h 149"/>
                <a:gd name="T4" fmla="*/ 2147483647 w 98"/>
                <a:gd name="T5" fmla="*/ 2147483647 h 149"/>
                <a:gd name="T6" fmla="*/ 2147483647 w 98"/>
                <a:gd name="T7" fmla="*/ 2147483647 h 149"/>
                <a:gd name="T8" fmla="*/ 2147483647 w 98"/>
                <a:gd name="T9" fmla="*/ 2147483647 h 149"/>
                <a:gd name="T10" fmla="*/ 2147483647 w 98"/>
                <a:gd name="T11" fmla="*/ 2147483647 h 149"/>
                <a:gd name="T12" fmla="*/ 2147483647 w 98"/>
                <a:gd name="T13" fmla="*/ 2147483647 h 149"/>
                <a:gd name="T14" fmla="*/ 2147483647 w 98"/>
                <a:gd name="T15" fmla="*/ 2147483647 h 149"/>
                <a:gd name="T16" fmla="*/ 2147483647 w 98"/>
                <a:gd name="T17" fmla="*/ 2147483647 h 149"/>
                <a:gd name="T18" fmla="*/ 2147483647 w 98"/>
                <a:gd name="T19" fmla="*/ 2147483647 h 149"/>
                <a:gd name="T20" fmla="*/ 2147483647 w 98"/>
                <a:gd name="T21" fmla="*/ 2147483647 h 149"/>
                <a:gd name="T22" fmla="*/ 2147483647 w 98"/>
                <a:gd name="T23" fmla="*/ 2147483647 h 149"/>
                <a:gd name="T24" fmla="*/ 2147483647 w 98"/>
                <a:gd name="T25" fmla="*/ 2147483647 h 149"/>
                <a:gd name="T26" fmla="*/ 2147483647 w 98"/>
                <a:gd name="T27" fmla="*/ 2147483647 h 149"/>
                <a:gd name="T28" fmla="*/ 2147483647 w 98"/>
                <a:gd name="T29" fmla="*/ 2147483647 h 149"/>
                <a:gd name="T30" fmla="*/ 0 w 98"/>
                <a:gd name="T31" fmla="*/ 2147483647 h 149"/>
                <a:gd name="T32" fmla="*/ 2147483647 w 98"/>
                <a:gd name="T33" fmla="*/ 0 h 149"/>
                <a:gd name="T34" fmla="*/ 2147483647 w 98"/>
                <a:gd name="T35" fmla="*/ 2147483647 h 149"/>
                <a:gd name="T36" fmla="*/ 2147483647 w 98"/>
                <a:gd name="T37" fmla="*/ 2147483647 h 149"/>
                <a:gd name="T38" fmla="*/ 2147483647 w 98"/>
                <a:gd name="T39" fmla="*/ 2147483647 h 149"/>
                <a:gd name="T40" fmla="*/ 2147483647 w 98"/>
                <a:gd name="T41" fmla="*/ 2147483647 h 14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2147483647 w 37"/>
                <a:gd name="T1" fmla="*/ 2147483647 h 17"/>
                <a:gd name="T2" fmla="*/ 2147483647 w 37"/>
                <a:gd name="T3" fmla="*/ 2147483647 h 17"/>
                <a:gd name="T4" fmla="*/ 2147483647 w 37"/>
                <a:gd name="T5" fmla="*/ 2147483647 h 17"/>
                <a:gd name="T6" fmla="*/ 2147483647 w 37"/>
                <a:gd name="T7" fmla="*/ 2147483647 h 17"/>
                <a:gd name="T8" fmla="*/ 2147483647 w 37"/>
                <a:gd name="T9" fmla="*/ 2147483647 h 17"/>
                <a:gd name="T10" fmla="*/ 0 w 37"/>
                <a:gd name="T11" fmla="*/ 2147483647 h 17"/>
                <a:gd name="T12" fmla="*/ 0 w 37"/>
                <a:gd name="T13" fmla="*/ 0 h 17"/>
                <a:gd name="T14" fmla="*/ 2147483647 w 37"/>
                <a:gd name="T15" fmla="*/ 0 h 17"/>
                <a:gd name="T16" fmla="*/ 2147483647 w 37"/>
                <a:gd name="T17" fmla="*/ 2147483647 h 17"/>
                <a:gd name="T18" fmla="*/ 2147483647 w 37"/>
                <a:gd name="T19" fmla="*/ 2147483647 h 17"/>
                <a:gd name="T20" fmla="*/ 2147483647 w 37"/>
                <a:gd name="T21" fmla="*/ 2147483647 h 17"/>
                <a:gd name="T22" fmla="*/ 2147483647 w 37"/>
                <a:gd name="T23" fmla="*/ 2147483647 h 17"/>
                <a:gd name="T24" fmla="*/ 2147483647 w 37"/>
                <a:gd name="T25" fmla="*/ 2147483647 h 17"/>
                <a:gd name="T26" fmla="*/ 2147483647 w 37"/>
                <a:gd name="T27" fmla="*/ 2147483647 h 17"/>
                <a:gd name="T28" fmla="*/ 2147483647 w 37"/>
                <a:gd name="T29" fmla="*/ 2147483647 h 17"/>
                <a:gd name="T30" fmla="*/ 2147483647 w 37"/>
                <a:gd name="T31" fmla="*/ 2147483647 h 17"/>
                <a:gd name="T32" fmla="*/ 2147483647 w 37"/>
                <a:gd name="T33" fmla="*/ 2147483647 h 17"/>
                <a:gd name="T34" fmla="*/ 2147483647 w 37"/>
                <a:gd name="T35" fmla="*/ 2147483647 h 17"/>
                <a:gd name="T36" fmla="*/ 2147483647 w 37"/>
                <a:gd name="T37" fmla="*/ 2147483647 h 17"/>
                <a:gd name="T38" fmla="*/ 2147483647 w 37"/>
                <a:gd name="T39" fmla="*/ 0 h 17"/>
                <a:gd name="T40" fmla="*/ 2147483647 w 37"/>
                <a:gd name="T41" fmla="*/ 0 h 17"/>
                <a:gd name="T42" fmla="*/ 2147483647 w 37"/>
                <a:gd name="T43" fmla="*/ 2147483647 h 17"/>
                <a:gd name="T44" fmla="*/ 2147483647 w 37"/>
                <a:gd name="T45" fmla="*/ 0 h 17"/>
                <a:gd name="T46" fmla="*/ 2147483647 w 37"/>
                <a:gd name="T47" fmla="*/ 0 h 17"/>
                <a:gd name="T48" fmla="*/ 2147483647 w 37"/>
                <a:gd name="T49" fmla="*/ 2147483647 h 1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35" y="267618"/>
            <a:ext cx="4829289" cy="2304131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 dirty="0"/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5800726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314325" y="2704144"/>
            <a:ext cx="4827547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1899646"/>
      </p:ext>
    </p:extLst>
  </p:cSld>
  <p:clrMapOvr>
    <a:masterClrMapping/>
  </p:clrMapOvr>
  <p:transition spd="med">
    <p:fade/>
  </p:transition>
  <p:hf sldNum="0" hdr="0"/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5"/>
          <p:cNvSpPr txBox="1">
            <a:spLocks noChangeArrowheads="1"/>
          </p:cNvSpPr>
          <p:nvPr userDrawn="1"/>
        </p:nvSpPr>
        <p:spPr bwMode="auto">
          <a:xfrm>
            <a:off x="619125" y="4749800"/>
            <a:ext cx="9017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1pPr>
            <a:lvl2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2pPr>
            <a:lvl3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3pPr>
            <a:lvl4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4pPr>
            <a:lvl5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5pPr>
            <a:lvl6pPr marL="18811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6pPr>
            <a:lvl7pPr marL="23383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7pPr>
            <a:lvl8pPr marL="27955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8pPr>
            <a:lvl9pPr marL="32527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GB" altLang="fr-FR" sz="800" smtClean="0">
                <a:solidFill>
                  <a:srgbClr val="FFFFFF"/>
                </a:solidFill>
                <a:latin typeface="Helvetica 75 Bold" pitchFamily="34" charset="0"/>
                <a:cs typeface="+mn-cs"/>
              </a:rPr>
              <a:t>Orange Restricte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200" y="1181100"/>
            <a:ext cx="3968055" cy="3370262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64795" y="1181100"/>
            <a:ext cx="3964880" cy="337026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13199" y="268288"/>
            <a:ext cx="8516475" cy="741362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9751323"/>
      </p:ext>
    </p:extLst>
  </p:cSld>
  <p:clrMapOvr>
    <a:masterClrMapping/>
  </p:clrMapOvr>
  <p:transition spd="med">
    <p:fade/>
  </p:transition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4"/>
          <p:cNvSpPr txBox="1">
            <a:spLocks noChangeArrowheads="1"/>
          </p:cNvSpPr>
          <p:nvPr userDrawn="1"/>
        </p:nvSpPr>
        <p:spPr bwMode="auto">
          <a:xfrm>
            <a:off x="619125" y="4749800"/>
            <a:ext cx="9017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1pPr>
            <a:lvl2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2pPr>
            <a:lvl3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3pPr>
            <a:lvl4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4pPr>
            <a:lvl5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5pPr>
            <a:lvl6pPr marL="18811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6pPr>
            <a:lvl7pPr marL="23383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7pPr>
            <a:lvl8pPr marL="27955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8pPr>
            <a:lvl9pPr marL="32527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GB" altLang="fr-FR" sz="800" smtClean="0">
                <a:solidFill>
                  <a:srgbClr val="FFFFFF"/>
                </a:solidFill>
                <a:latin typeface="Helvetica 75 Bold" pitchFamily="34" charset="0"/>
                <a:cs typeface="+mn-cs"/>
              </a:rPr>
              <a:t>Orange Restricte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7323069"/>
      </p:ext>
    </p:extLst>
  </p:cSld>
  <p:clrMapOvr>
    <a:masterClrMapping/>
  </p:clrMapOvr>
  <p:transition spd="med">
    <p:fade/>
  </p:transition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>
            <a:spLocks noChangeArrowheads="1"/>
          </p:cNvSpPr>
          <p:nvPr userDrawn="1"/>
        </p:nvSpPr>
        <p:spPr bwMode="auto">
          <a:xfrm>
            <a:off x="619125" y="4749800"/>
            <a:ext cx="9017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1pPr>
            <a:lvl2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2pPr>
            <a:lvl3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3pPr>
            <a:lvl4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4pPr>
            <a:lvl5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5pPr>
            <a:lvl6pPr marL="18811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6pPr>
            <a:lvl7pPr marL="23383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7pPr>
            <a:lvl8pPr marL="27955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8pPr>
            <a:lvl9pPr marL="32527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GB" altLang="fr-FR" sz="800" smtClean="0">
                <a:solidFill>
                  <a:srgbClr val="FFFFFF"/>
                </a:solidFill>
                <a:latin typeface="Helvetica 75 Bold" pitchFamily="34" charset="0"/>
                <a:cs typeface="+mn-cs"/>
              </a:rPr>
              <a:t>Orange Restricted</a:t>
            </a:r>
          </a:p>
        </p:txBody>
      </p:sp>
    </p:spTree>
    <p:extLst>
      <p:ext uri="{BB962C8B-B14F-4D97-AF65-F5344CB8AC3E}">
        <p14:creationId xmlns:p14="http://schemas.microsoft.com/office/powerpoint/2010/main" val="772704081"/>
      </p:ext>
    </p:extLst>
  </p:cSld>
  <p:clrMapOvr>
    <a:masterClrMapping/>
  </p:clrMapOvr>
  <p:transition spd="med">
    <p:fade/>
  </p:transition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ull Bleed Medi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rgbClr val="000000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4734614"/>
      </p:ext>
    </p:extLst>
  </p:cSld>
  <p:clrMapOvr>
    <a:masterClrMapping/>
  </p:clrMapOvr>
  <p:transition spd="med">
    <p:fade/>
  </p:transition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2788">
              <a:defRPr/>
            </a:pPr>
            <a:endParaRPr lang="en-GB" dirty="0">
              <a:solidFill>
                <a:srgbClr val="FFFFFF"/>
              </a:solidFill>
            </a:endParaRPr>
          </a:p>
        </p:txBody>
      </p:sp>
      <p:grpSp>
        <p:nvGrpSpPr>
          <p:cNvPr id="6" name="Group 5"/>
          <p:cNvGrpSpPr>
            <a:grpSpLocks/>
          </p:cNvGrpSpPr>
          <p:nvPr userDrawn="1"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5pPr>
              <a:lvl6pPr marL="18811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6pPr>
              <a:lvl7pPr marL="23383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7pPr>
              <a:lvl8pPr marL="27955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8pPr>
              <a:lvl9pPr marL="3252788" indent="40163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9pPr>
            </a:lstStyle>
            <a:p>
              <a:pPr defTabSz="914400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fr-FR" altLang="fr-FR" sz="1800" smtClean="0">
                <a:solidFill>
                  <a:srgbClr val="FF6600"/>
                </a:solidFill>
                <a:latin typeface="Helvetica 75 Bold" pitchFamily="34" charset="0"/>
                <a:cs typeface="+mn-cs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7 w 104"/>
                <a:gd name="T1" fmla="*/ 2147483647 h 122"/>
                <a:gd name="T2" fmla="*/ 2147483647 w 104"/>
                <a:gd name="T3" fmla="*/ 2147483647 h 122"/>
                <a:gd name="T4" fmla="*/ 2147483647 w 104"/>
                <a:gd name="T5" fmla="*/ 2147483647 h 122"/>
                <a:gd name="T6" fmla="*/ 2147483647 w 104"/>
                <a:gd name="T7" fmla="*/ 2147483647 h 122"/>
                <a:gd name="T8" fmla="*/ 2147483647 w 104"/>
                <a:gd name="T9" fmla="*/ 2147483647 h 122"/>
                <a:gd name="T10" fmla="*/ 2147483647 w 104"/>
                <a:gd name="T11" fmla="*/ 2147483647 h 122"/>
                <a:gd name="T12" fmla="*/ 2147483647 w 104"/>
                <a:gd name="T13" fmla="*/ 2147483647 h 122"/>
                <a:gd name="T14" fmla="*/ 0 w 104"/>
                <a:gd name="T15" fmla="*/ 2147483647 h 122"/>
                <a:gd name="T16" fmla="*/ 2147483647 w 104"/>
                <a:gd name="T17" fmla="*/ 2147483647 h 122"/>
                <a:gd name="T18" fmla="*/ 2147483647 w 104"/>
                <a:gd name="T19" fmla="*/ 2147483647 h 122"/>
                <a:gd name="T20" fmla="*/ 2147483647 w 104"/>
                <a:gd name="T21" fmla="*/ 2147483647 h 122"/>
                <a:gd name="T22" fmla="*/ 2147483647 w 104"/>
                <a:gd name="T23" fmla="*/ 2147483647 h 122"/>
                <a:gd name="T24" fmla="*/ 2147483647 w 104"/>
                <a:gd name="T25" fmla="*/ 2147483647 h 122"/>
                <a:gd name="T26" fmla="*/ 2147483647 w 104"/>
                <a:gd name="T27" fmla="*/ 0 h 122"/>
                <a:gd name="T28" fmla="*/ 2147483647 w 104"/>
                <a:gd name="T29" fmla="*/ 2147483647 h 122"/>
                <a:gd name="T30" fmla="*/ 2147483647 w 104"/>
                <a:gd name="T31" fmla="*/ 2147483647 h 122"/>
                <a:gd name="T32" fmla="*/ 2147483647 w 104"/>
                <a:gd name="T33" fmla="*/ 2147483647 h 122"/>
                <a:gd name="T34" fmla="*/ 2147483647 w 104"/>
                <a:gd name="T35" fmla="*/ 2147483647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7 h 120"/>
                <a:gd name="T2" fmla="*/ 2147483647 w 105"/>
                <a:gd name="T3" fmla="*/ 2147483647 h 120"/>
                <a:gd name="T4" fmla="*/ 2147483647 w 105"/>
                <a:gd name="T5" fmla="*/ 2147483647 h 120"/>
                <a:gd name="T6" fmla="*/ 2147483647 w 105"/>
                <a:gd name="T7" fmla="*/ 0 h 120"/>
                <a:gd name="T8" fmla="*/ 2147483647 w 105"/>
                <a:gd name="T9" fmla="*/ 2147483647 h 120"/>
                <a:gd name="T10" fmla="*/ 2147483647 w 105"/>
                <a:gd name="T11" fmla="*/ 2147483647 h 120"/>
                <a:gd name="T12" fmla="*/ 2147483647 w 105"/>
                <a:gd name="T13" fmla="*/ 2147483647 h 120"/>
                <a:gd name="T14" fmla="*/ 2147483647 w 105"/>
                <a:gd name="T15" fmla="*/ 2147483647 h 120"/>
                <a:gd name="T16" fmla="*/ 2147483647 w 105"/>
                <a:gd name="T17" fmla="*/ 2147483647 h 120"/>
                <a:gd name="T18" fmla="*/ 2147483647 w 105"/>
                <a:gd name="T19" fmla="*/ 2147483647 h 120"/>
                <a:gd name="T20" fmla="*/ 2147483647 w 105"/>
                <a:gd name="T21" fmla="*/ 2147483647 h 120"/>
                <a:gd name="T22" fmla="*/ 0 w 105"/>
                <a:gd name="T23" fmla="*/ 2147483647 h 120"/>
                <a:gd name="T24" fmla="*/ 0 w 105"/>
                <a:gd name="T25" fmla="*/ 2147483647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7 w 109"/>
                <a:gd name="T1" fmla="*/ 2147483647 h 122"/>
                <a:gd name="T2" fmla="*/ 2147483647 w 109"/>
                <a:gd name="T3" fmla="*/ 2147483647 h 122"/>
                <a:gd name="T4" fmla="*/ 2147483647 w 109"/>
                <a:gd name="T5" fmla="*/ 2147483647 h 122"/>
                <a:gd name="T6" fmla="*/ 2147483647 w 109"/>
                <a:gd name="T7" fmla="*/ 2147483647 h 122"/>
                <a:gd name="T8" fmla="*/ 2147483647 w 109"/>
                <a:gd name="T9" fmla="*/ 2147483647 h 122"/>
                <a:gd name="T10" fmla="*/ 0 w 109"/>
                <a:gd name="T11" fmla="*/ 2147483647 h 122"/>
                <a:gd name="T12" fmla="*/ 2147483647 w 109"/>
                <a:gd name="T13" fmla="*/ 0 h 122"/>
                <a:gd name="T14" fmla="*/ 2147483647 w 109"/>
                <a:gd name="T15" fmla="*/ 2147483647 h 122"/>
                <a:gd name="T16" fmla="*/ 2147483647 w 109"/>
                <a:gd name="T17" fmla="*/ 2147483647 h 122"/>
                <a:gd name="T18" fmla="*/ 2147483647 w 109"/>
                <a:gd name="T19" fmla="*/ 2147483647 h 122"/>
                <a:gd name="T20" fmla="*/ 2147483647 w 109"/>
                <a:gd name="T21" fmla="*/ 2147483647 h 122"/>
                <a:gd name="T22" fmla="*/ 2147483647 w 109"/>
                <a:gd name="T23" fmla="*/ 2147483647 h 122"/>
                <a:gd name="T24" fmla="*/ 2147483647 w 109"/>
                <a:gd name="T25" fmla="*/ 2147483647 h 122"/>
                <a:gd name="T26" fmla="*/ 2147483647 w 109"/>
                <a:gd name="T27" fmla="*/ 2147483647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7 w 116"/>
                <a:gd name="T1" fmla="*/ 2147483647 h 124"/>
                <a:gd name="T2" fmla="*/ 2147483647 w 116"/>
                <a:gd name="T3" fmla="*/ 2147483647 h 124"/>
                <a:gd name="T4" fmla="*/ 2147483647 w 116"/>
                <a:gd name="T5" fmla="*/ 2147483647 h 124"/>
                <a:gd name="T6" fmla="*/ 2147483647 w 116"/>
                <a:gd name="T7" fmla="*/ 2147483647 h 124"/>
                <a:gd name="T8" fmla="*/ 2147483647 w 116"/>
                <a:gd name="T9" fmla="*/ 2147483647 h 124"/>
                <a:gd name="T10" fmla="*/ 2147483647 w 116"/>
                <a:gd name="T11" fmla="*/ 2147483647 h 124"/>
                <a:gd name="T12" fmla="*/ 0 w 116"/>
                <a:gd name="T13" fmla="*/ 2147483647 h 124"/>
                <a:gd name="T14" fmla="*/ 2147483647 w 116"/>
                <a:gd name="T15" fmla="*/ 0 h 124"/>
                <a:gd name="T16" fmla="*/ 2147483647 w 116"/>
                <a:gd name="T17" fmla="*/ 2147483647 h 124"/>
                <a:gd name="T18" fmla="*/ 2147483647 w 116"/>
                <a:gd name="T19" fmla="*/ 2147483647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7 h 120"/>
                <a:gd name="T2" fmla="*/ 2147483647 w 66"/>
                <a:gd name="T3" fmla="*/ 2147483647 h 120"/>
                <a:gd name="T4" fmla="*/ 2147483647 w 66"/>
                <a:gd name="T5" fmla="*/ 2147483647 h 120"/>
                <a:gd name="T6" fmla="*/ 2147483647 w 66"/>
                <a:gd name="T7" fmla="*/ 0 h 120"/>
                <a:gd name="T8" fmla="*/ 2147483647 w 66"/>
                <a:gd name="T9" fmla="*/ 2147483647 h 120"/>
                <a:gd name="T10" fmla="*/ 2147483647 w 66"/>
                <a:gd name="T11" fmla="*/ 2147483647 h 120"/>
                <a:gd name="T12" fmla="*/ 2147483647 w 66"/>
                <a:gd name="T13" fmla="*/ 2147483647 h 120"/>
                <a:gd name="T14" fmla="*/ 2147483647 w 66"/>
                <a:gd name="T15" fmla="*/ 2147483647 h 120"/>
                <a:gd name="T16" fmla="*/ 2147483647 w 66"/>
                <a:gd name="T17" fmla="*/ 2147483647 h 120"/>
                <a:gd name="T18" fmla="*/ 0 w 66"/>
                <a:gd name="T19" fmla="*/ 2147483647 h 120"/>
                <a:gd name="T20" fmla="*/ 0 w 66"/>
                <a:gd name="T21" fmla="*/ 2147483647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7 w 110"/>
                <a:gd name="T1" fmla="*/ 2147483647 h 166"/>
                <a:gd name="T2" fmla="*/ 2147483647 w 110"/>
                <a:gd name="T3" fmla="*/ 2147483647 h 166"/>
                <a:gd name="T4" fmla="*/ 2147483647 w 110"/>
                <a:gd name="T5" fmla="*/ 2147483647 h 166"/>
                <a:gd name="T6" fmla="*/ 2147483647 w 110"/>
                <a:gd name="T7" fmla="*/ 2147483647 h 166"/>
                <a:gd name="T8" fmla="*/ 2147483647 w 110"/>
                <a:gd name="T9" fmla="*/ 2147483647 h 166"/>
                <a:gd name="T10" fmla="*/ 2147483647 w 110"/>
                <a:gd name="T11" fmla="*/ 2147483647 h 166"/>
                <a:gd name="T12" fmla="*/ 2147483647 w 110"/>
                <a:gd name="T13" fmla="*/ 2147483647 h 166"/>
                <a:gd name="T14" fmla="*/ 2147483647 w 110"/>
                <a:gd name="T15" fmla="*/ 2147483647 h 166"/>
                <a:gd name="T16" fmla="*/ 2147483647 w 110"/>
                <a:gd name="T17" fmla="*/ 2147483647 h 166"/>
                <a:gd name="T18" fmla="*/ 2147483647 w 110"/>
                <a:gd name="T19" fmla="*/ 2147483647 h 166"/>
                <a:gd name="T20" fmla="*/ 0 w 110"/>
                <a:gd name="T21" fmla="*/ 2147483647 h 166"/>
                <a:gd name="T22" fmla="*/ 2147483647 w 110"/>
                <a:gd name="T23" fmla="*/ 0 h 166"/>
                <a:gd name="T24" fmla="*/ 2147483647 w 110"/>
                <a:gd name="T25" fmla="*/ 2147483647 h 166"/>
                <a:gd name="T26" fmla="*/ 2147483647 w 110"/>
                <a:gd name="T27" fmla="*/ 2147483647 h 166"/>
                <a:gd name="T28" fmla="*/ 2147483647 w 110"/>
                <a:gd name="T29" fmla="*/ 2147483647 h 166"/>
                <a:gd name="T30" fmla="*/ 2147483647 w 110"/>
                <a:gd name="T31" fmla="*/ 2147483647 h 166"/>
                <a:gd name="T32" fmla="*/ 2147483647 w 110"/>
                <a:gd name="T33" fmla="*/ 2147483647 h 166"/>
                <a:gd name="T34" fmla="*/ 2147483647 w 110"/>
                <a:gd name="T35" fmla="*/ 2147483647 h 166"/>
                <a:gd name="T36" fmla="*/ 2147483647 w 110"/>
                <a:gd name="T37" fmla="*/ 2147483647 h 166"/>
                <a:gd name="T38" fmla="*/ 2147483647 w 110"/>
                <a:gd name="T39" fmla="*/ 2147483647 h 166"/>
                <a:gd name="T40" fmla="*/ 2147483647 w 110"/>
                <a:gd name="T41" fmla="*/ 2147483647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7 w 195"/>
                <a:gd name="T1" fmla="*/ 2147483647 h 92"/>
                <a:gd name="T2" fmla="*/ 2147483647 w 195"/>
                <a:gd name="T3" fmla="*/ 2147483647 h 92"/>
                <a:gd name="T4" fmla="*/ 2147483647 w 195"/>
                <a:gd name="T5" fmla="*/ 2147483647 h 92"/>
                <a:gd name="T6" fmla="*/ 2147483647 w 195"/>
                <a:gd name="T7" fmla="*/ 2147483647 h 92"/>
                <a:gd name="T8" fmla="*/ 2147483647 w 195"/>
                <a:gd name="T9" fmla="*/ 2147483647 h 92"/>
                <a:gd name="T10" fmla="*/ 2147483647 w 195"/>
                <a:gd name="T11" fmla="*/ 2147483647 h 92"/>
                <a:gd name="T12" fmla="*/ 2147483647 w 195"/>
                <a:gd name="T13" fmla="*/ 2147483647 h 92"/>
                <a:gd name="T14" fmla="*/ 2147483647 w 195"/>
                <a:gd name="T15" fmla="*/ 2147483647 h 92"/>
                <a:gd name="T16" fmla="*/ 2147483647 w 195"/>
                <a:gd name="T17" fmla="*/ 2147483647 h 92"/>
                <a:gd name="T18" fmla="*/ 2147483647 w 195"/>
                <a:gd name="T19" fmla="*/ 2147483647 h 92"/>
                <a:gd name="T20" fmla="*/ 2147483647 w 195"/>
                <a:gd name="T21" fmla="*/ 0 h 92"/>
                <a:gd name="T22" fmla="*/ 2147483647 w 195"/>
                <a:gd name="T23" fmla="*/ 0 h 92"/>
                <a:gd name="T24" fmla="*/ 2147483647 w 195"/>
                <a:gd name="T25" fmla="*/ 2147483647 h 92"/>
                <a:gd name="T26" fmla="*/ 2147483647 w 195"/>
                <a:gd name="T27" fmla="*/ 0 h 92"/>
                <a:gd name="T28" fmla="*/ 2147483647 w 195"/>
                <a:gd name="T29" fmla="*/ 0 h 92"/>
                <a:gd name="T30" fmla="*/ 2147483647 w 195"/>
                <a:gd name="T31" fmla="*/ 2147483647 h 92"/>
                <a:gd name="T32" fmla="*/ 2147483647 w 195"/>
                <a:gd name="T33" fmla="*/ 2147483647 h 92"/>
                <a:gd name="T34" fmla="*/ 2147483647 w 195"/>
                <a:gd name="T35" fmla="*/ 2147483647 h 92"/>
                <a:gd name="T36" fmla="*/ 2147483647 w 195"/>
                <a:gd name="T37" fmla="*/ 2147483647 h 92"/>
                <a:gd name="T38" fmla="*/ 2147483647 w 195"/>
                <a:gd name="T39" fmla="*/ 2147483647 h 92"/>
                <a:gd name="T40" fmla="*/ 2147483647 w 195"/>
                <a:gd name="T41" fmla="*/ 2147483647 h 92"/>
                <a:gd name="T42" fmla="*/ 0 w 195"/>
                <a:gd name="T43" fmla="*/ 2147483647 h 92"/>
                <a:gd name="T44" fmla="*/ 0 w 195"/>
                <a:gd name="T45" fmla="*/ 0 h 92"/>
                <a:gd name="T46" fmla="*/ 2147483647 w 195"/>
                <a:gd name="T47" fmla="*/ 0 h 92"/>
                <a:gd name="T48" fmla="*/ 2147483647 w 195"/>
                <a:gd name="T49" fmla="*/ 2147483647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435041931"/>
      </p:ext>
    </p:extLst>
  </p:cSld>
  <p:clrMapOvr>
    <a:masterClrMapping/>
  </p:clrMapOvr>
  <p:transition spd="med">
    <p:fade/>
  </p:transition>
  <p:hf sldNum="0" hdr="0" ft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9873266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7" rIns="91432" bIns="45717" anchor="ctr"/>
          <a:lstStyle/>
          <a:p>
            <a:pPr algn="ctr" defTabSz="712731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6" name="Picture 2" descr="C:\Users\GBLG1056\Desktop\images\Orange Business Services logo 080714\digital\PNG\obs_left_rgb_black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888" y="4084638"/>
            <a:ext cx="1901825" cy="82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31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67" y="339726"/>
            <a:ext cx="2301875" cy="3460750"/>
          </a:xfrm>
        </p:spPr>
        <p:txBody>
          <a:bodyPr tIns="109720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4005984247"/>
      </p:ext>
    </p:extLst>
  </p:cSld>
  <p:clrMapOvr>
    <a:masterClrMapping/>
  </p:clrMapOvr>
  <p:transition spd="med">
    <p:fade/>
  </p:transition>
  <p:hf sldNum="0" hdr="0" ftr="0"/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4019146701"/>
      </p:ext>
    </p:extLst>
  </p:cSld>
  <p:clrMapOvr>
    <a:masterClrMapping/>
  </p:clrMapOvr>
  <p:transition spd="med">
    <p:fade/>
  </p:transition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147708803"/>
      </p:ext>
    </p:extLst>
  </p:cSld>
  <p:clrMapOvr>
    <a:masterClrMapping/>
  </p:clrMapOvr>
  <p:transition spd="med">
    <p:fade/>
  </p:transition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4274320"/>
      </p:ext>
    </p:extLst>
  </p:cSld>
  <p:clrMapOvr>
    <a:masterClrMapping/>
  </p:clrMapOvr>
  <p:transition spd="med">
    <p:fade/>
  </p:transition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381432"/>
      </p:ext>
    </p:extLst>
  </p:cSld>
  <p:clrMapOvr>
    <a:masterClrMapping/>
  </p:clrMapOvr>
  <p:transition spd="med">
    <p:fade/>
  </p:transition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9027038"/>
      </p:ext>
    </p:extLst>
  </p:cSld>
  <p:clrMapOvr>
    <a:masterClrMapping/>
  </p:clrMapOvr>
  <p:transition spd="med">
    <p:fade/>
  </p:transition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8312694"/>
      </p:ext>
    </p:extLst>
  </p:cSld>
  <p:clrMapOvr>
    <a:masterClrMapping/>
  </p:clrMapOvr>
  <p:transition spd="med">
    <p:fade/>
  </p:transition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5474139"/>
      </p:ext>
    </p:extLst>
  </p:cSld>
  <p:clrMapOvr>
    <a:masterClrMapping/>
  </p:clrMapOvr>
  <p:transition spd="med">
    <p:fade/>
  </p:transition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94085"/>
      </p:ext>
    </p:extLst>
  </p:cSld>
  <p:clrMapOvr>
    <a:masterClrMapping/>
  </p:clrMapOvr>
  <p:transition spd="med">
    <p:fade/>
  </p:transition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2"/>
          <p:cNvGrpSpPr>
            <a:grpSpLocks/>
          </p:cNvGrpSpPr>
          <p:nvPr userDrawn="1"/>
        </p:nvGrpSpPr>
        <p:grpSpPr bwMode="auto">
          <a:xfrm>
            <a:off x="314325" y="4233863"/>
            <a:ext cx="612775" cy="612775"/>
            <a:chOff x="313535" y="4233863"/>
            <a:chExt cx="612775" cy="612775"/>
          </a:xfrm>
        </p:grpSpPr>
        <p:sp>
          <p:nvSpPr>
            <p:cNvPr id="6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defTabSz="712788"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1pPr>
              <a:lvl2pPr defTabSz="712788"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2pPr>
              <a:lvl3pPr defTabSz="712788"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3pPr>
              <a:lvl4pPr defTabSz="712788"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4pPr>
              <a:lvl5pPr defTabSz="712788" eaLnBrk="0" hangingPunct="0"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5pPr>
              <a:lvl6pPr marL="1881188" indent="401638" defTabSz="7127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6pPr>
              <a:lvl7pPr marL="2338388" indent="401638" defTabSz="7127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7pPr>
              <a:lvl8pPr marL="2795588" indent="401638" defTabSz="7127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8pPr>
              <a:lvl9pPr marL="3252788" indent="401638" defTabSz="712788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fr-FR" altLang="fr-FR" smtClean="0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7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2147483647 w 93"/>
                <a:gd name="T1" fmla="*/ 2147483647 h 109"/>
                <a:gd name="T2" fmla="*/ 2147483647 w 93"/>
                <a:gd name="T3" fmla="*/ 2147483647 h 109"/>
                <a:gd name="T4" fmla="*/ 0 w 93"/>
                <a:gd name="T5" fmla="*/ 2147483647 h 109"/>
                <a:gd name="T6" fmla="*/ 2147483647 w 93"/>
                <a:gd name="T7" fmla="*/ 2147483647 h 109"/>
                <a:gd name="T8" fmla="*/ 2147483647 w 93"/>
                <a:gd name="T9" fmla="*/ 2147483647 h 109"/>
                <a:gd name="T10" fmla="*/ 2147483647 w 93"/>
                <a:gd name="T11" fmla="*/ 2147483647 h 109"/>
                <a:gd name="T12" fmla="*/ 2147483647 w 93"/>
                <a:gd name="T13" fmla="*/ 2147483647 h 109"/>
                <a:gd name="T14" fmla="*/ 2147483647 w 93"/>
                <a:gd name="T15" fmla="*/ 2147483647 h 109"/>
                <a:gd name="T16" fmla="*/ 2147483647 w 93"/>
                <a:gd name="T17" fmla="*/ 0 h 109"/>
                <a:gd name="T18" fmla="*/ 2147483647 w 93"/>
                <a:gd name="T19" fmla="*/ 2147483647 h 109"/>
                <a:gd name="T20" fmla="*/ 2147483647 w 93"/>
                <a:gd name="T21" fmla="*/ 2147483647 h 109"/>
                <a:gd name="T22" fmla="*/ 2147483647 w 93"/>
                <a:gd name="T23" fmla="*/ 2147483647 h 109"/>
                <a:gd name="T24" fmla="*/ 2147483647 w 93"/>
                <a:gd name="T25" fmla="*/ 2147483647 h 109"/>
                <a:gd name="T26" fmla="*/ 2147483647 w 93"/>
                <a:gd name="T27" fmla="*/ 2147483647 h 109"/>
                <a:gd name="T28" fmla="*/ 2147483647 w 93"/>
                <a:gd name="T29" fmla="*/ 2147483647 h 109"/>
                <a:gd name="T30" fmla="*/ 2147483647 w 93"/>
                <a:gd name="T31" fmla="*/ 2147483647 h 109"/>
                <a:gd name="T32" fmla="*/ 2147483647 w 93"/>
                <a:gd name="T33" fmla="*/ 2147483647 h 109"/>
                <a:gd name="T34" fmla="*/ 2147483647 w 93"/>
                <a:gd name="T35" fmla="*/ 2147483647 h 10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2147483647 h 108"/>
                <a:gd name="T2" fmla="*/ 2147483647 w 94"/>
                <a:gd name="T3" fmla="*/ 2147483647 h 108"/>
                <a:gd name="T4" fmla="*/ 2147483647 w 94"/>
                <a:gd name="T5" fmla="*/ 2147483647 h 108"/>
                <a:gd name="T6" fmla="*/ 2147483647 w 94"/>
                <a:gd name="T7" fmla="*/ 0 h 108"/>
                <a:gd name="T8" fmla="*/ 2147483647 w 94"/>
                <a:gd name="T9" fmla="*/ 2147483647 h 108"/>
                <a:gd name="T10" fmla="*/ 2147483647 w 94"/>
                <a:gd name="T11" fmla="*/ 2147483647 h 108"/>
                <a:gd name="T12" fmla="*/ 2147483647 w 94"/>
                <a:gd name="T13" fmla="*/ 2147483647 h 108"/>
                <a:gd name="T14" fmla="*/ 2147483647 w 94"/>
                <a:gd name="T15" fmla="*/ 2147483647 h 108"/>
                <a:gd name="T16" fmla="*/ 2147483647 w 94"/>
                <a:gd name="T17" fmla="*/ 2147483647 h 108"/>
                <a:gd name="T18" fmla="*/ 2147483647 w 94"/>
                <a:gd name="T19" fmla="*/ 2147483647 h 108"/>
                <a:gd name="T20" fmla="*/ 2147483647 w 94"/>
                <a:gd name="T21" fmla="*/ 2147483647 h 108"/>
                <a:gd name="T22" fmla="*/ 0 w 94"/>
                <a:gd name="T23" fmla="*/ 2147483647 h 108"/>
                <a:gd name="T24" fmla="*/ 0 w 94"/>
                <a:gd name="T25" fmla="*/ 2147483647 h 10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2147483647 w 98"/>
                <a:gd name="T1" fmla="*/ 2147483647 h 110"/>
                <a:gd name="T2" fmla="*/ 0 w 98"/>
                <a:gd name="T3" fmla="*/ 2147483647 h 110"/>
                <a:gd name="T4" fmla="*/ 2147483647 w 98"/>
                <a:gd name="T5" fmla="*/ 0 h 110"/>
                <a:gd name="T6" fmla="*/ 2147483647 w 98"/>
                <a:gd name="T7" fmla="*/ 2147483647 h 110"/>
                <a:gd name="T8" fmla="*/ 2147483647 w 98"/>
                <a:gd name="T9" fmla="*/ 2147483647 h 110"/>
                <a:gd name="T10" fmla="*/ 2147483647 w 98"/>
                <a:gd name="T11" fmla="*/ 2147483647 h 110"/>
                <a:gd name="T12" fmla="*/ 2147483647 w 98"/>
                <a:gd name="T13" fmla="*/ 2147483647 h 110"/>
                <a:gd name="T14" fmla="*/ 2147483647 w 98"/>
                <a:gd name="T15" fmla="*/ 2147483647 h 110"/>
                <a:gd name="T16" fmla="*/ 2147483647 w 98"/>
                <a:gd name="T17" fmla="*/ 2147483647 h 110"/>
                <a:gd name="T18" fmla="*/ 2147483647 w 98"/>
                <a:gd name="T19" fmla="*/ 2147483647 h 110"/>
                <a:gd name="T20" fmla="*/ 2147483647 w 98"/>
                <a:gd name="T21" fmla="*/ 2147483647 h 110"/>
                <a:gd name="T22" fmla="*/ 2147483647 w 98"/>
                <a:gd name="T23" fmla="*/ 2147483647 h 110"/>
                <a:gd name="T24" fmla="*/ 2147483647 w 98"/>
                <a:gd name="T25" fmla="*/ 2147483647 h 110"/>
                <a:gd name="T26" fmla="*/ 2147483647 w 98"/>
                <a:gd name="T27" fmla="*/ 2147483647 h 11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2147483647 w 104"/>
                <a:gd name="T1" fmla="*/ 2147483647 h 111"/>
                <a:gd name="T2" fmla="*/ 0 w 104"/>
                <a:gd name="T3" fmla="*/ 2147483647 h 111"/>
                <a:gd name="T4" fmla="*/ 2147483647 w 104"/>
                <a:gd name="T5" fmla="*/ 0 h 111"/>
                <a:gd name="T6" fmla="*/ 2147483647 w 104"/>
                <a:gd name="T7" fmla="*/ 2147483647 h 111"/>
                <a:gd name="T8" fmla="*/ 2147483647 w 104"/>
                <a:gd name="T9" fmla="*/ 2147483647 h 111"/>
                <a:gd name="T10" fmla="*/ 2147483647 w 104"/>
                <a:gd name="T11" fmla="*/ 2147483647 h 111"/>
                <a:gd name="T12" fmla="*/ 2147483647 w 104"/>
                <a:gd name="T13" fmla="*/ 2147483647 h 111"/>
                <a:gd name="T14" fmla="*/ 2147483647 w 104"/>
                <a:gd name="T15" fmla="*/ 2147483647 h 111"/>
                <a:gd name="T16" fmla="*/ 2147483647 w 104"/>
                <a:gd name="T17" fmla="*/ 2147483647 h 111"/>
                <a:gd name="T18" fmla="*/ 2147483647 w 104"/>
                <a:gd name="T19" fmla="*/ 2147483647 h 1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2147483647 h 108"/>
                <a:gd name="T2" fmla="*/ 2147483647 w 59"/>
                <a:gd name="T3" fmla="*/ 2147483647 h 108"/>
                <a:gd name="T4" fmla="*/ 2147483647 w 59"/>
                <a:gd name="T5" fmla="*/ 2147483647 h 108"/>
                <a:gd name="T6" fmla="*/ 2147483647 w 59"/>
                <a:gd name="T7" fmla="*/ 0 h 108"/>
                <a:gd name="T8" fmla="*/ 2147483647 w 59"/>
                <a:gd name="T9" fmla="*/ 2147483647 h 108"/>
                <a:gd name="T10" fmla="*/ 2147483647 w 59"/>
                <a:gd name="T11" fmla="*/ 2147483647 h 108"/>
                <a:gd name="T12" fmla="*/ 2147483647 w 59"/>
                <a:gd name="T13" fmla="*/ 2147483647 h 108"/>
                <a:gd name="T14" fmla="*/ 2147483647 w 59"/>
                <a:gd name="T15" fmla="*/ 2147483647 h 108"/>
                <a:gd name="T16" fmla="*/ 2147483647 w 59"/>
                <a:gd name="T17" fmla="*/ 2147483647 h 108"/>
                <a:gd name="T18" fmla="*/ 0 w 59"/>
                <a:gd name="T19" fmla="*/ 2147483647 h 108"/>
                <a:gd name="T20" fmla="*/ 0 w 59"/>
                <a:gd name="T21" fmla="*/ 2147483647 h 10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2147483647 w 98"/>
                <a:gd name="T1" fmla="*/ 2147483647 h 149"/>
                <a:gd name="T2" fmla="*/ 2147483647 w 98"/>
                <a:gd name="T3" fmla="*/ 2147483647 h 149"/>
                <a:gd name="T4" fmla="*/ 2147483647 w 98"/>
                <a:gd name="T5" fmla="*/ 2147483647 h 149"/>
                <a:gd name="T6" fmla="*/ 2147483647 w 98"/>
                <a:gd name="T7" fmla="*/ 2147483647 h 149"/>
                <a:gd name="T8" fmla="*/ 2147483647 w 98"/>
                <a:gd name="T9" fmla="*/ 2147483647 h 149"/>
                <a:gd name="T10" fmla="*/ 2147483647 w 98"/>
                <a:gd name="T11" fmla="*/ 2147483647 h 149"/>
                <a:gd name="T12" fmla="*/ 2147483647 w 98"/>
                <a:gd name="T13" fmla="*/ 2147483647 h 149"/>
                <a:gd name="T14" fmla="*/ 2147483647 w 98"/>
                <a:gd name="T15" fmla="*/ 2147483647 h 149"/>
                <a:gd name="T16" fmla="*/ 2147483647 w 98"/>
                <a:gd name="T17" fmla="*/ 2147483647 h 149"/>
                <a:gd name="T18" fmla="*/ 2147483647 w 98"/>
                <a:gd name="T19" fmla="*/ 2147483647 h 149"/>
                <a:gd name="T20" fmla="*/ 2147483647 w 98"/>
                <a:gd name="T21" fmla="*/ 2147483647 h 149"/>
                <a:gd name="T22" fmla="*/ 2147483647 w 98"/>
                <a:gd name="T23" fmla="*/ 2147483647 h 149"/>
                <a:gd name="T24" fmla="*/ 2147483647 w 98"/>
                <a:gd name="T25" fmla="*/ 2147483647 h 149"/>
                <a:gd name="T26" fmla="*/ 2147483647 w 98"/>
                <a:gd name="T27" fmla="*/ 2147483647 h 149"/>
                <a:gd name="T28" fmla="*/ 2147483647 w 98"/>
                <a:gd name="T29" fmla="*/ 2147483647 h 149"/>
                <a:gd name="T30" fmla="*/ 0 w 98"/>
                <a:gd name="T31" fmla="*/ 2147483647 h 149"/>
                <a:gd name="T32" fmla="*/ 2147483647 w 98"/>
                <a:gd name="T33" fmla="*/ 0 h 149"/>
                <a:gd name="T34" fmla="*/ 2147483647 w 98"/>
                <a:gd name="T35" fmla="*/ 2147483647 h 149"/>
                <a:gd name="T36" fmla="*/ 2147483647 w 98"/>
                <a:gd name="T37" fmla="*/ 2147483647 h 149"/>
                <a:gd name="T38" fmla="*/ 2147483647 w 98"/>
                <a:gd name="T39" fmla="*/ 2147483647 h 149"/>
                <a:gd name="T40" fmla="*/ 2147483647 w 98"/>
                <a:gd name="T41" fmla="*/ 2147483647 h 14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2147483647 w 37"/>
                <a:gd name="T1" fmla="*/ 2147483647 h 17"/>
                <a:gd name="T2" fmla="*/ 2147483647 w 37"/>
                <a:gd name="T3" fmla="*/ 2147483647 h 17"/>
                <a:gd name="T4" fmla="*/ 2147483647 w 37"/>
                <a:gd name="T5" fmla="*/ 2147483647 h 17"/>
                <a:gd name="T6" fmla="*/ 2147483647 w 37"/>
                <a:gd name="T7" fmla="*/ 2147483647 h 17"/>
                <a:gd name="T8" fmla="*/ 2147483647 w 37"/>
                <a:gd name="T9" fmla="*/ 2147483647 h 17"/>
                <a:gd name="T10" fmla="*/ 0 w 37"/>
                <a:gd name="T11" fmla="*/ 2147483647 h 17"/>
                <a:gd name="T12" fmla="*/ 0 w 37"/>
                <a:gd name="T13" fmla="*/ 0 h 17"/>
                <a:gd name="T14" fmla="*/ 2147483647 w 37"/>
                <a:gd name="T15" fmla="*/ 0 h 17"/>
                <a:gd name="T16" fmla="*/ 2147483647 w 37"/>
                <a:gd name="T17" fmla="*/ 2147483647 h 17"/>
                <a:gd name="T18" fmla="*/ 2147483647 w 37"/>
                <a:gd name="T19" fmla="*/ 2147483647 h 17"/>
                <a:gd name="T20" fmla="*/ 2147483647 w 37"/>
                <a:gd name="T21" fmla="*/ 2147483647 h 17"/>
                <a:gd name="T22" fmla="*/ 2147483647 w 37"/>
                <a:gd name="T23" fmla="*/ 2147483647 h 17"/>
                <a:gd name="T24" fmla="*/ 2147483647 w 37"/>
                <a:gd name="T25" fmla="*/ 2147483647 h 17"/>
                <a:gd name="T26" fmla="*/ 2147483647 w 37"/>
                <a:gd name="T27" fmla="*/ 2147483647 h 17"/>
                <a:gd name="T28" fmla="*/ 2147483647 w 37"/>
                <a:gd name="T29" fmla="*/ 2147483647 h 17"/>
                <a:gd name="T30" fmla="*/ 2147483647 w 37"/>
                <a:gd name="T31" fmla="*/ 2147483647 h 17"/>
                <a:gd name="T32" fmla="*/ 2147483647 w 37"/>
                <a:gd name="T33" fmla="*/ 2147483647 h 17"/>
                <a:gd name="T34" fmla="*/ 2147483647 w 37"/>
                <a:gd name="T35" fmla="*/ 2147483647 h 17"/>
                <a:gd name="T36" fmla="*/ 2147483647 w 37"/>
                <a:gd name="T37" fmla="*/ 2147483647 h 17"/>
                <a:gd name="T38" fmla="*/ 2147483647 w 37"/>
                <a:gd name="T39" fmla="*/ 0 h 17"/>
                <a:gd name="T40" fmla="*/ 2147483647 w 37"/>
                <a:gd name="T41" fmla="*/ 0 h 17"/>
                <a:gd name="T42" fmla="*/ 2147483647 w 37"/>
                <a:gd name="T43" fmla="*/ 2147483647 h 17"/>
                <a:gd name="T44" fmla="*/ 2147483647 w 37"/>
                <a:gd name="T45" fmla="*/ 0 h 17"/>
                <a:gd name="T46" fmla="*/ 2147483647 w 37"/>
                <a:gd name="T47" fmla="*/ 0 h 17"/>
                <a:gd name="T48" fmla="*/ 2147483647 w 37"/>
                <a:gd name="T49" fmla="*/ 2147483647 h 1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35" y="267618"/>
            <a:ext cx="4829289" cy="2304131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 dirty="0"/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5800726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314325" y="2704144"/>
            <a:ext cx="4827547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802922"/>
      </p:ext>
    </p:extLst>
  </p:cSld>
  <p:clrMapOvr>
    <a:masterClrMapping/>
  </p:clrMapOvr>
  <p:transition spd="med">
    <p:fade/>
  </p:transition>
  <p:hf sldNum="0" hdr="0"/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5"/>
          <p:cNvSpPr txBox="1">
            <a:spLocks noChangeArrowheads="1"/>
          </p:cNvSpPr>
          <p:nvPr userDrawn="1"/>
        </p:nvSpPr>
        <p:spPr bwMode="auto">
          <a:xfrm>
            <a:off x="619125" y="4749800"/>
            <a:ext cx="9017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1pPr>
            <a:lvl2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2pPr>
            <a:lvl3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3pPr>
            <a:lvl4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4pPr>
            <a:lvl5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5pPr>
            <a:lvl6pPr marL="18811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6pPr>
            <a:lvl7pPr marL="23383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7pPr>
            <a:lvl8pPr marL="27955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8pPr>
            <a:lvl9pPr marL="32527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GB" altLang="fr-FR" sz="800" smtClean="0">
                <a:solidFill>
                  <a:srgbClr val="FFFFFF"/>
                </a:solidFill>
                <a:latin typeface="Helvetica 75 Bold" pitchFamily="34" charset="0"/>
                <a:cs typeface="+mn-cs"/>
              </a:rPr>
              <a:t>Orange Restricte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3200" y="1181100"/>
            <a:ext cx="3968055" cy="3370262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64795" y="1181100"/>
            <a:ext cx="3964880" cy="337026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13199" y="268288"/>
            <a:ext cx="8516475" cy="741362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45515"/>
      </p:ext>
    </p:extLst>
  </p:cSld>
  <p:clrMapOvr>
    <a:masterClrMapping/>
  </p:clrMapOvr>
  <p:transition spd="med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9" descr="icone-essentiel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9300" y="203200"/>
            <a:ext cx="558800" cy="43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Straight Connector 5"/>
          <p:cNvCxnSpPr/>
          <p:nvPr userDrawn="1"/>
        </p:nvCxnSpPr>
        <p:spPr>
          <a:xfrm>
            <a:off x="350838" y="663575"/>
            <a:ext cx="8639175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39749" y="339738"/>
            <a:ext cx="7904683" cy="621329"/>
          </a:xfrm>
        </p:spPr>
        <p:txBody>
          <a:bodyPr/>
          <a:lstStyle/>
          <a:p>
            <a:r>
              <a:rPr lang="fr-FR" dirty="0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5070846"/>
      </p:ext>
    </p:extLst>
  </p:cSld>
  <p:clrMapOvr>
    <a:masterClrMapping/>
  </p:clrMapOvr>
  <p:transition spd="med">
    <p:fade/>
  </p:transition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4"/>
          <p:cNvSpPr txBox="1">
            <a:spLocks noChangeArrowheads="1"/>
          </p:cNvSpPr>
          <p:nvPr userDrawn="1"/>
        </p:nvSpPr>
        <p:spPr bwMode="auto">
          <a:xfrm>
            <a:off x="619125" y="4749800"/>
            <a:ext cx="9017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1pPr>
            <a:lvl2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2pPr>
            <a:lvl3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3pPr>
            <a:lvl4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4pPr>
            <a:lvl5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5pPr>
            <a:lvl6pPr marL="18811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6pPr>
            <a:lvl7pPr marL="23383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7pPr>
            <a:lvl8pPr marL="27955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8pPr>
            <a:lvl9pPr marL="32527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GB" altLang="fr-FR" sz="800" smtClean="0">
                <a:solidFill>
                  <a:srgbClr val="FFFFFF"/>
                </a:solidFill>
                <a:latin typeface="Helvetica 75 Bold" pitchFamily="34" charset="0"/>
                <a:cs typeface="+mn-cs"/>
              </a:rPr>
              <a:t>Orange Restricte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6234310"/>
      </p:ext>
    </p:extLst>
  </p:cSld>
  <p:clrMapOvr>
    <a:masterClrMapping/>
  </p:clrMapOvr>
  <p:transition spd="med">
    <p:fade/>
  </p:transition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>
            <a:spLocks noChangeArrowheads="1"/>
          </p:cNvSpPr>
          <p:nvPr userDrawn="1"/>
        </p:nvSpPr>
        <p:spPr bwMode="auto">
          <a:xfrm>
            <a:off x="619125" y="4749800"/>
            <a:ext cx="901700" cy="122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1pPr>
            <a:lvl2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2pPr>
            <a:lvl3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3pPr>
            <a:lvl4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4pPr>
            <a:lvl5pPr defTabSz="712788" eaLnBrk="0" hangingPunct="0"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5pPr>
            <a:lvl6pPr marL="18811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6pPr>
            <a:lvl7pPr marL="23383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7pPr>
            <a:lvl8pPr marL="27955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8pPr>
            <a:lvl9pPr marL="3252788" indent="401638" defTabSz="7127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75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GB" altLang="fr-FR" sz="800" smtClean="0">
                <a:solidFill>
                  <a:srgbClr val="FFFFFF"/>
                </a:solidFill>
                <a:latin typeface="Helvetica 75 Bold" pitchFamily="34" charset="0"/>
                <a:cs typeface="+mn-cs"/>
              </a:rPr>
              <a:t>Orange Restricted</a:t>
            </a:r>
          </a:p>
        </p:txBody>
      </p:sp>
    </p:spTree>
    <p:extLst>
      <p:ext uri="{BB962C8B-B14F-4D97-AF65-F5344CB8AC3E}">
        <p14:creationId xmlns:p14="http://schemas.microsoft.com/office/powerpoint/2010/main" val="3879211123"/>
      </p:ext>
    </p:extLst>
  </p:cSld>
  <p:clrMapOvr>
    <a:masterClrMapping/>
  </p:clrMapOvr>
  <p:transition spd="med">
    <p:fade/>
  </p:transition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ull Bleed Medi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rgbClr val="000000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4497927"/>
      </p:ext>
    </p:extLst>
  </p:cSld>
  <p:clrMapOvr>
    <a:masterClrMapping/>
  </p:clrMapOvr>
  <p:transition spd="med">
    <p:fade/>
  </p:transition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>
            <a:spLocks noChangeArrowheads="1"/>
          </p:cNvSpPr>
          <p:nvPr userDrawn="1"/>
        </p:nvSpPr>
        <p:spPr bwMode="auto">
          <a:xfrm>
            <a:off x="107950" y="4779963"/>
            <a:ext cx="23018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7" rIns="0" bIns="45717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327">
              <a:defRPr/>
            </a:pPr>
            <a:fld id="{D4B09C11-384A-4F75-95A4-F025A19C46FC}" type="slidenum">
              <a:rPr lang="fr-FR" altLang="fr-FR" sz="800" smtClean="0">
                <a:solidFill>
                  <a:srgbClr val="000000"/>
                </a:solidFill>
                <a:latin typeface="Helvetica 55 Roman" panose="020B0604020202020204" pitchFamily="2" charset="0"/>
                <a:cs typeface="Arial" charset="0"/>
              </a:rPr>
              <a:pPr defTabSz="914327">
                <a:defRPr/>
              </a:pPr>
              <a:t>‹N°›</a:t>
            </a:fld>
            <a:endParaRPr lang="fr-FR" altLang="fr-FR" sz="800" dirty="0" smtClean="0">
              <a:solidFill>
                <a:srgbClr val="000000"/>
              </a:solidFill>
              <a:latin typeface="Helvetica 55 Roman" panose="020B0604020202020204" pitchFamily="2" charset="0"/>
              <a:cs typeface="Arial" charset="0"/>
            </a:endParaRPr>
          </a:p>
        </p:txBody>
      </p:sp>
      <p:sp>
        <p:nvSpPr>
          <p:cNvPr id="5" name="Rectangle 762"/>
          <p:cNvSpPr>
            <a:spLocks noChangeArrowheads="1"/>
          </p:cNvSpPr>
          <p:nvPr userDrawn="1"/>
        </p:nvSpPr>
        <p:spPr bwMode="auto">
          <a:xfrm rot="16200000">
            <a:off x="7676357" y="3601244"/>
            <a:ext cx="2795587" cy="18732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45717" rIns="0" bIns="45717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327" eaLnBrk="1" hangingPunct="1">
              <a:defRPr/>
            </a:pPr>
            <a:r>
              <a:rPr lang="en-GB" altLang="fr-FR" sz="700" dirty="0" smtClean="0">
                <a:solidFill>
                  <a:srgbClr val="7F7F7F"/>
                </a:solidFill>
                <a:latin typeface="Helvetica 55 Roman" pitchFamily="2" charset="0"/>
              </a:rPr>
              <a:t>Interne</a:t>
            </a:r>
            <a:r>
              <a:rPr lang="en-US" altLang="fr-FR" sz="700" dirty="0" smtClean="0">
                <a:solidFill>
                  <a:srgbClr val="7F7F7F"/>
                </a:solidFill>
                <a:latin typeface="Helvetica 55 Roman" pitchFamily="2" charset="0"/>
              </a:rPr>
              <a:t> Orange – DR Orange Open pro partagé 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 bwMode="gray">
          <a:xfrm>
            <a:off x="250829" y="1059583"/>
            <a:ext cx="8664575" cy="3611810"/>
          </a:xfrm>
        </p:spPr>
        <p:txBody>
          <a:bodyPr/>
          <a:lstStyle>
            <a:lvl1pPr>
              <a:buSzPct val="100000"/>
              <a:defRPr/>
            </a:lvl1pPr>
            <a:lvl3pPr>
              <a:buSzPct val="100000"/>
              <a:defRPr/>
            </a:lvl3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51854608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/>
          <p:cNvSpPr txBox="1">
            <a:spLocks noChangeArrowheads="1"/>
          </p:cNvSpPr>
          <p:nvPr/>
        </p:nvSpPr>
        <p:spPr bwMode="auto">
          <a:xfrm>
            <a:off x="250825" y="4779963"/>
            <a:ext cx="344488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7" rIns="0" bIns="45717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327">
              <a:defRPr/>
            </a:pPr>
            <a:fld id="{9354CDA8-ED1C-407F-8B4F-805483E510E9}" type="slidenum">
              <a:rPr lang="fr-FR" altLang="fr-FR" sz="1200" smtClean="0">
                <a:solidFill>
                  <a:srgbClr val="000000"/>
                </a:solidFill>
                <a:latin typeface="Helvetica 55 Roman" panose="020B0604020202020204" pitchFamily="2" charset="0"/>
                <a:cs typeface="Arial" charset="0"/>
              </a:rPr>
              <a:pPr defTabSz="914327">
                <a:defRPr/>
              </a:pPr>
              <a:t>‹N°›</a:t>
            </a:fld>
            <a:endParaRPr lang="fr-FR" altLang="fr-FR" sz="1600" dirty="0" smtClean="0">
              <a:solidFill>
                <a:srgbClr val="000000"/>
              </a:solidFill>
              <a:latin typeface="Helvetica 55 Roman" panose="020B0604020202020204" pitchFamily="2" charset="0"/>
              <a:cs typeface="Arial" charset="0"/>
            </a:endParaRPr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250828" y="228601"/>
            <a:ext cx="8683625" cy="738188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 bwMode="gray">
          <a:xfrm>
            <a:off x="250825" y="1599643"/>
            <a:ext cx="4177160" cy="3071750"/>
          </a:xfrm>
        </p:spPr>
        <p:txBody>
          <a:bodyPr/>
          <a:lstStyle>
            <a:lvl1pPr>
              <a:buSzPct val="100000"/>
              <a:defRPr/>
            </a:lvl1pPr>
            <a:lvl3pPr>
              <a:buSzPct val="100000"/>
              <a:defRPr/>
            </a:lvl3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1"/>
          </p:nvPr>
        </p:nvSpPr>
        <p:spPr>
          <a:xfrm>
            <a:off x="4758450" y="1600629"/>
            <a:ext cx="4176000" cy="307735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lang="fr-FR" dirty="0" smtClean="0"/>
            </a:lvl1pPr>
            <a:lvl2pPr>
              <a:defRPr lang="fr-FR" dirty="0" smtClean="0"/>
            </a:lvl2pPr>
            <a:lvl3pPr>
              <a:defRPr lang="fr-FR" dirty="0" smtClean="0"/>
            </a:lvl3pPr>
            <a:lvl4pPr>
              <a:defRPr lang="fr-FR" dirty="0" smtClean="0"/>
            </a:lvl4pPr>
            <a:lvl5pPr>
              <a:defRPr lang="fr-FR" dirty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250827" y="1114090"/>
            <a:ext cx="4177159" cy="37754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marL="0" indent="0">
              <a:buNone/>
              <a:defRPr lang="fr-FR" sz="2000" b="1" dirty="0" smtClean="0">
                <a:solidFill>
                  <a:schemeClr val="tx2"/>
                </a:solidFill>
                <a:latin typeface="Helvetica 75 Bold" panose="020B0804020202020204" pitchFamily="34" charset="0"/>
              </a:defRPr>
            </a:lvl1pPr>
            <a:lvl2pPr>
              <a:defRPr lang="fr-FR" dirty="0" smtClean="0"/>
            </a:lvl2pPr>
            <a:lvl3pPr>
              <a:defRPr lang="fr-FR" dirty="0" smtClean="0"/>
            </a:lvl3pPr>
            <a:lvl4pPr>
              <a:defRPr lang="fr-FR" dirty="0" smtClean="0"/>
            </a:lvl4pPr>
            <a:lvl5pPr>
              <a:defRPr lang="fr-FR" dirty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4758453" y="1114090"/>
            <a:ext cx="4177159" cy="37754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marL="0" indent="0">
              <a:buNone/>
              <a:defRPr lang="fr-FR" sz="2000" b="1" dirty="0" smtClean="0">
                <a:solidFill>
                  <a:schemeClr val="tx2"/>
                </a:solidFill>
                <a:latin typeface="Helvetica 75 Bold" panose="020B0804020202020204" pitchFamily="34" charset="0"/>
              </a:defRPr>
            </a:lvl1pPr>
            <a:lvl2pPr>
              <a:defRPr lang="fr-FR" dirty="0" smtClean="0"/>
            </a:lvl2pPr>
            <a:lvl3pPr>
              <a:defRPr lang="fr-FR" dirty="0" smtClean="0"/>
            </a:lvl3pPr>
            <a:lvl4pPr>
              <a:defRPr lang="fr-FR" dirty="0" smtClean="0"/>
            </a:lvl4pPr>
            <a:lvl5pPr>
              <a:defRPr lang="fr-FR" dirty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589769278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62"/>
          <p:cNvSpPr>
            <a:spLocks noChangeArrowheads="1"/>
          </p:cNvSpPr>
          <p:nvPr userDrawn="1"/>
        </p:nvSpPr>
        <p:spPr bwMode="auto">
          <a:xfrm rot="16200000">
            <a:off x="7676357" y="3601244"/>
            <a:ext cx="2795587" cy="18732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45717" rIns="0" bIns="45717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327" eaLnBrk="1" hangingPunct="1">
              <a:defRPr/>
            </a:pPr>
            <a:r>
              <a:rPr lang="en-GB" altLang="fr-FR" sz="700" dirty="0" smtClean="0">
                <a:solidFill>
                  <a:srgbClr val="7F7F7F"/>
                </a:solidFill>
                <a:latin typeface="Helvetica 55 Roman" pitchFamily="2" charset="0"/>
              </a:rPr>
              <a:t>Interne</a:t>
            </a:r>
            <a:r>
              <a:rPr lang="en-US" altLang="fr-FR" sz="700" dirty="0" smtClean="0">
                <a:solidFill>
                  <a:srgbClr val="7F7F7F"/>
                </a:solidFill>
                <a:latin typeface="Helvetica 55 Roman" pitchFamily="2" charset="0"/>
              </a:rPr>
              <a:t> Orange – DR Orange Open pro partagé </a:t>
            </a:r>
          </a:p>
        </p:txBody>
      </p:sp>
      <p:sp>
        <p:nvSpPr>
          <p:cNvPr id="4" name="ZoneTexte 3"/>
          <p:cNvSpPr txBox="1">
            <a:spLocks noChangeArrowheads="1"/>
          </p:cNvSpPr>
          <p:nvPr userDrawn="1"/>
        </p:nvSpPr>
        <p:spPr bwMode="auto">
          <a:xfrm>
            <a:off x="107950" y="4779963"/>
            <a:ext cx="23018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7" rIns="0" bIns="45717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327">
              <a:defRPr/>
            </a:pPr>
            <a:fld id="{2F300CF6-2E9B-4C7F-B007-77397B51F36A}" type="slidenum">
              <a:rPr lang="fr-FR" altLang="fr-FR" sz="800" smtClean="0">
                <a:solidFill>
                  <a:srgbClr val="000000"/>
                </a:solidFill>
                <a:latin typeface="Helvetica 55 Roman" panose="020B0604020202020204" pitchFamily="2" charset="0"/>
                <a:cs typeface="Arial" charset="0"/>
              </a:rPr>
              <a:pPr defTabSz="914327">
                <a:defRPr/>
              </a:pPr>
              <a:t>‹N°›</a:t>
            </a:fld>
            <a:endParaRPr lang="fr-FR" altLang="fr-FR" sz="800" dirty="0" smtClean="0">
              <a:solidFill>
                <a:srgbClr val="000000"/>
              </a:solidFill>
              <a:latin typeface="Helvetica 55 Roman" panose="020B0604020202020204" pitchFamily="2" charset="0"/>
              <a:cs typeface="Arial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1999167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>
            <a:spLocks noChangeArrowheads="1"/>
          </p:cNvSpPr>
          <p:nvPr userDrawn="1"/>
        </p:nvSpPr>
        <p:spPr bwMode="auto">
          <a:xfrm>
            <a:off x="107950" y="4779963"/>
            <a:ext cx="23018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7" rIns="0" bIns="45717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327">
              <a:defRPr/>
            </a:pPr>
            <a:fld id="{824F5C3D-67E0-465F-9501-94756795EBAB}" type="slidenum">
              <a:rPr lang="fr-FR" altLang="fr-FR" sz="800" smtClean="0">
                <a:solidFill>
                  <a:srgbClr val="000000"/>
                </a:solidFill>
                <a:latin typeface="Helvetica 55 Roman" panose="020B0604020202020204" pitchFamily="2" charset="0"/>
                <a:cs typeface="Arial" charset="0"/>
              </a:rPr>
              <a:pPr defTabSz="914327">
                <a:defRPr/>
              </a:pPr>
              <a:t>‹N°›</a:t>
            </a:fld>
            <a:endParaRPr lang="fr-FR" altLang="fr-FR" sz="800" dirty="0" smtClean="0">
              <a:solidFill>
                <a:srgbClr val="000000"/>
              </a:solidFill>
              <a:latin typeface="Helvetica 55 Roman" panose="020B0604020202020204" pitchFamily="2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730732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EMTA8361\Documents\Divers\Logos\O BS logo bottom right_RGB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6338" y="4300538"/>
            <a:ext cx="1319212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63558" y="1597821"/>
            <a:ext cx="8474400" cy="1679178"/>
          </a:xfrm>
        </p:spPr>
        <p:txBody>
          <a:bodyPr>
            <a:spAutoFit/>
          </a:bodyPr>
          <a:lstStyle>
            <a:lvl1pPr>
              <a:defRPr sz="4400" b="0"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363557" y="2400302"/>
            <a:ext cx="8474400" cy="947952"/>
          </a:xfrm>
        </p:spPr>
        <p:txBody>
          <a:bodyPr>
            <a:spAutoFit/>
          </a:bodyPr>
          <a:lstStyle>
            <a:lvl1pPr marL="344461" indent="-344461">
              <a:buClr>
                <a:schemeClr val="bg1">
                  <a:lumMod val="50000"/>
                  <a:lumOff val="50000"/>
                </a:schemeClr>
              </a:buClr>
              <a:buSzPct val="100000"/>
              <a:buFont typeface="Helvetica 35 Thin" pitchFamily="34" charset="0"/>
              <a:buChar char="&gt;"/>
              <a:defRPr sz="2800">
                <a:solidFill>
                  <a:schemeClr val="bg1">
                    <a:lumMod val="50000"/>
                    <a:lumOff val="50000"/>
                  </a:schemeClr>
                </a:solidFill>
                <a:latin typeface="Helvetica 75 Bold" panose="020B0804020202020204" pitchFamily="34" charset="0"/>
              </a:defRPr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1"/>
          </p:nvPr>
        </p:nvSpPr>
        <p:spPr>
          <a:xfrm>
            <a:off x="363556" y="3314703"/>
            <a:ext cx="8474400" cy="236988"/>
          </a:xfrm>
        </p:spPr>
        <p:txBody>
          <a:bodyPr>
            <a:spAutoFit/>
          </a:bodyPr>
          <a:lstStyle>
            <a:lvl1pPr marL="0" indent="0">
              <a:buNone/>
              <a:defRPr sz="1400"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686886326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6" y="1181101"/>
            <a:ext cx="8515350" cy="3370262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dirty="0"/>
              <a:t>Cliquez pour modifier le titre</a:t>
            </a:r>
          </a:p>
        </p:txBody>
      </p:sp>
    </p:spTree>
    <p:extLst>
      <p:ext uri="{BB962C8B-B14F-4D97-AF65-F5344CB8AC3E}">
        <p14:creationId xmlns:p14="http://schemas.microsoft.com/office/powerpoint/2010/main" val="3632613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3535" y="267618"/>
            <a:ext cx="4829289" cy="2304131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800726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4325" y="2704144"/>
            <a:ext cx="4827547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noProof="0" dirty="0"/>
              <a:t>Cliquez pour modifier le nom du présentateur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313535" y="4233863"/>
            <a:ext cx="612775" cy="612775"/>
            <a:chOff x="313535" y="4233863"/>
            <a:chExt cx="612775" cy="612775"/>
          </a:xfrm>
        </p:grpSpPr>
        <p:sp>
          <p:nvSpPr>
            <p:cNvPr id="50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fr-FR" sz="1800" dirty="0">
                <a:solidFill>
                  <a:srgbClr val="000000"/>
                </a:solidFill>
                <a:latin typeface="Helvetica 75 Bold"/>
                <a:ea typeface="+mn-ea"/>
                <a:cs typeface="+mn-cs"/>
              </a:endParaRPr>
            </a:p>
          </p:txBody>
        </p:sp>
        <p:sp>
          <p:nvSpPr>
            <p:cNvPr id="51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66 w 93"/>
                <a:gd name="T1" fmla="*/ 99 h 109"/>
                <a:gd name="T2" fmla="*/ 31 w 93"/>
                <a:gd name="T3" fmla="*/ 109 h 109"/>
                <a:gd name="T4" fmla="*/ 0 w 93"/>
                <a:gd name="T5" fmla="*/ 79 h 109"/>
                <a:gd name="T6" fmla="*/ 66 w 93"/>
                <a:gd name="T7" fmla="*/ 37 h 109"/>
                <a:gd name="T8" fmla="*/ 66 w 93"/>
                <a:gd name="T9" fmla="*/ 32 h 109"/>
                <a:gd name="T10" fmla="*/ 49 w 93"/>
                <a:gd name="T11" fmla="*/ 19 h 109"/>
                <a:gd name="T12" fmla="*/ 24 w 93"/>
                <a:gd name="T13" fmla="*/ 32 h 109"/>
                <a:gd name="T14" fmla="*/ 5 w 93"/>
                <a:gd name="T15" fmla="*/ 21 h 109"/>
                <a:gd name="T16" fmla="*/ 50 w 93"/>
                <a:gd name="T17" fmla="*/ 0 h 109"/>
                <a:gd name="T18" fmla="*/ 93 w 93"/>
                <a:gd name="T19" fmla="*/ 32 h 109"/>
                <a:gd name="T20" fmla="*/ 93 w 93"/>
                <a:gd name="T21" fmla="*/ 108 h 109"/>
                <a:gd name="T22" fmla="*/ 68 w 93"/>
                <a:gd name="T23" fmla="*/ 108 h 109"/>
                <a:gd name="T24" fmla="*/ 66 w 93"/>
                <a:gd name="T25" fmla="*/ 99 h 109"/>
                <a:gd name="T26" fmla="*/ 27 w 93"/>
                <a:gd name="T27" fmla="*/ 77 h 109"/>
                <a:gd name="T28" fmla="*/ 39 w 93"/>
                <a:gd name="T29" fmla="*/ 90 h 109"/>
                <a:gd name="T30" fmla="*/ 65 w 93"/>
                <a:gd name="T31" fmla="*/ 79 h 109"/>
                <a:gd name="T32" fmla="*/ 65 w 93"/>
                <a:gd name="T33" fmla="*/ 54 h 109"/>
                <a:gd name="T34" fmla="*/ 27 w 93"/>
                <a:gd name="T35" fmla="*/ 7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fr-FR" sz="1800" dirty="0">
                <a:solidFill>
                  <a:srgbClr val="000000"/>
                </a:solidFill>
                <a:latin typeface="Helvetica 75 Bold"/>
                <a:ea typeface="+mn-ea"/>
                <a:cs typeface="+mn-cs"/>
              </a:endParaRPr>
            </a:p>
          </p:txBody>
        </p:sp>
        <p:sp>
          <p:nvSpPr>
            <p:cNvPr id="52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5 h 108"/>
                <a:gd name="T2" fmla="*/ 23 w 94"/>
                <a:gd name="T3" fmla="*/ 2 h 108"/>
                <a:gd name="T4" fmla="*/ 25 w 94"/>
                <a:gd name="T5" fmla="*/ 15 h 108"/>
                <a:gd name="T6" fmla="*/ 61 w 94"/>
                <a:gd name="T7" fmla="*/ 0 h 108"/>
                <a:gd name="T8" fmla="*/ 94 w 94"/>
                <a:gd name="T9" fmla="*/ 34 h 108"/>
                <a:gd name="T10" fmla="*/ 94 w 94"/>
                <a:gd name="T11" fmla="*/ 108 h 108"/>
                <a:gd name="T12" fmla="*/ 66 w 94"/>
                <a:gd name="T13" fmla="*/ 108 h 108"/>
                <a:gd name="T14" fmla="*/ 66 w 94"/>
                <a:gd name="T15" fmla="*/ 39 h 108"/>
                <a:gd name="T16" fmla="*/ 53 w 94"/>
                <a:gd name="T17" fmla="*/ 21 h 108"/>
                <a:gd name="T18" fmla="*/ 27 w 94"/>
                <a:gd name="T19" fmla="*/ 32 h 108"/>
                <a:gd name="T20" fmla="*/ 27 w 94"/>
                <a:gd name="T21" fmla="*/ 108 h 108"/>
                <a:gd name="T22" fmla="*/ 0 w 94"/>
                <a:gd name="T23" fmla="*/ 108 h 108"/>
                <a:gd name="T24" fmla="*/ 0 w 94"/>
                <a:gd name="T25" fmla="*/ 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fr-FR" sz="1800" dirty="0">
                <a:solidFill>
                  <a:srgbClr val="000000"/>
                </a:solidFill>
                <a:latin typeface="Helvetica 75 Bold"/>
                <a:ea typeface="+mn-ea"/>
                <a:cs typeface="+mn-cs"/>
              </a:endParaRPr>
            </a:p>
          </p:txBody>
        </p:sp>
        <p:sp>
          <p:nvSpPr>
            <p:cNvPr id="53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50 w 98"/>
                <a:gd name="T1" fmla="*/ 110 h 110"/>
                <a:gd name="T2" fmla="*/ 0 w 98"/>
                <a:gd name="T3" fmla="*/ 55 h 110"/>
                <a:gd name="T4" fmla="*/ 49 w 98"/>
                <a:gd name="T5" fmla="*/ 0 h 110"/>
                <a:gd name="T6" fmla="*/ 98 w 98"/>
                <a:gd name="T7" fmla="*/ 54 h 110"/>
                <a:gd name="T8" fmla="*/ 97 w 98"/>
                <a:gd name="T9" fmla="*/ 59 h 110"/>
                <a:gd name="T10" fmla="*/ 27 w 98"/>
                <a:gd name="T11" fmla="*/ 59 h 110"/>
                <a:gd name="T12" fmla="*/ 52 w 98"/>
                <a:gd name="T13" fmla="*/ 89 h 110"/>
                <a:gd name="T14" fmla="*/ 76 w 98"/>
                <a:gd name="T15" fmla="*/ 76 h 110"/>
                <a:gd name="T16" fmla="*/ 96 w 98"/>
                <a:gd name="T17" fmla="*/ 87 h 110"/>
                <a:gd name="T18" fmla="*/ 50 w 98"/>
                <a:gd name="T19" fmla="*/ 110 h 110"/>
                <a:gd name="T20" fmla="*/ 70 w 98"/>
                <a:gd name="T21" fmla="*/ 41 h 110"/>
                <a:gd name="T22" fmla="*/ 49 w 98"/>
                <a:gd name="T23" fmla="*/ 19 h 110"/>
                <a:gd name="T24" fmla="*/ 28 w 98"/>
                <a:gd name="T25" fmla="*/ 41 h 110"/>
                <a:gd name="T26" fmla="*/ 70 w 98"/>
                <a:gd name="T27" fmla="*/ 4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fr-FR" sz="1800" dirty="0">
                <a:solidFill>
                  <a:srgbClr val="000000"/>
                </a:solidFill>
                <a:latin typeface="Helvetica 75 Bold"/>
                <a:ea typeface="+mn-ea"/>
                <a:cs typeface="+mn-cs"/>
              </a:endParaRPr>
            </a:p>
          </p:txBody>
        </p:sp>
        <p:sp>
          <p:nvSpPr>
            <p:cNvPr id="54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52 w 104"/>
                <a:gd name="T1" fmla="*/ 111 h 111"/>
                <a:gd name="T2" fmla="*/ 0 w 104"/>
                <a:gd name="T3" fmla="*/ 55 h 111"/>
                <a:gd name="T4" fmla="*/ 52 w 104"/>
                <a:gd name="T5" fmla="*/ 0 h 111"/>
                <a:gd name="T6" fmla="*/ 104 w 104"/>
                <a:gd name="T7" fmla="*/ 55 h 111"/>
                <a:gd name="T8" fmla="*/ 52 w 104"/>
                <a:gd name="T9" fmla="*/ 111 h 111"/>
                <a:gd name="T10" fmla="*/ 52 w 104"/>
                <a:gd name="T11" fmla="*/ 23 h 111"/>
                <a:gd name="T12" fmla="*/ 28 w 104"/>
                <a:gd name="T13" fmla="*/ 55 h 111"/>
                <a:gd name="T14" fmla="*/ 52 w 104"/>
                <a:gd name="T15" fmla="*/ 87 h 111"/>
                <a:gd name="T16" fmla="*/ 77 w 104"/>
                <a:gd name="T17" fmla="*/ 55 h 111"/>
                <a:gd name="T18" fmla="*/ 52 w 104"/>
                <a:gd name="T19" fmla="*/ 2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fr-FR" sz="1800" dirty="0">
                <a:solidFill>
                  <a:srgbClr val="000000"/>
                </a:solidFill>
                <a:latin typeface="Helvetica 75 Bold"/>
                <a:ea typeface="+mn-ea"/>
                <a:cs typeface="+mn-cs"/>
              </a:endParaRPr>
            </a:p>
          </p:txBody>
        </p:sp>
        <p:sp>
          <p:nvSpPr>
            <p:cNvPr id="55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3 h 108"/>
                <a:gd name="T2" fmla="*/ 26 w 59"/>
                <a:gd name="T3" fmla="*/ 3 h 108"/>
                <a:gd name="T4" fmla="*/ 26 w 59"/>
                <a:gd name="T5" fmla="*/ 15 h 108"/>
                <a:gd name="T6" fmla="*/ 55 w 59"/>
                <a:gd name="T7" fmla="*/ 0 h 108"/>
                <a:gd name="T8" fmla="*/ 59 w 59"/>
                <a:gd name="T9" fmla="*/ 1 h 108"/>
                <a:gd name="T10" fmla="*/ 59 w 59"/>
                <a:gd name="T11" fmla="*/ 27 h 108"/>
                <a:gd name="T12" fmla="*/ 58 w 59"/>
                <a:gd name="T13" fmla="*/ 27 h 108"/>
                <a:gd name="T14" fmla="*/ 28 w 59"/>
                <a:gd name="T15" fmla="*/ 38 h 108"/>
                <a:gd name="T16" fmla="*/ 28 w 59"/>
                <a:gd name="T17" fmla="*/ 108 h 108"/>
                <a:gd name="T18" fmla="*/ 0 w 59"/>
                <a:gd name="T19" fmla="*/ 108 h 108"/>
                <a:gd name="T20" fmla="*/ 0 w 59"/>
                <a:gd name="T21" fmla="*/ 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fr-FR" sz="1800" dirty="0">
                <a:solidFill>
                  <a:srgbClr val="000000"/>
                </a:solidFill>
                <a:latin typeface="Helvetica 75 Bold"/>
                <a:ea typeface="+mn-ea"/>
                <a:cs typeface="+mn-cs"/>
              </a:endParaRPr>
            </a:p>
          </p:txBody>
        </p:sp>
        <p:sp>
          <p:nvSpPr>
            <p:cNvPr id="56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49 w 98"/>
                <a:gd name="T1" fmla="*/ 85 h 149"/>
                <a:gd name="T2" fmla="*/ 72 w 98"/>
                <a:gd name="T3" fmla="*/ 50 h 149"/>
                <a:gd name="T4" fmla="*/ 49 w 98"/>
                <a:gd name="T5" fmla="*/ 20 h 149"/>
                <a:gd name="T6" fmla="*/ 28 w 98"/>
                <a:gd name="T7" fmla="*/ 51 h 149"/>
                <a:gd name="T8" fmla="*/ 49 w 98"/>
                <a:gd name="T9" fmla="*/ 85 h 149"/>
                <a:gd name="T10" fmla="*/ 98 w 98"/>
                <a:gd name="T11" fmla="*/ 2 h 149"/>
                <a:gd name="T12" fmla="*/ 98 w 98"/>
                <a:gd name="T13" fmla="*/ 102 h 149"/>
                <a:gd name="T14" fmla="*/ 47 w 98"/>
                <a:gd name="T15" fmla="*/ 149 h 149"/>
                <a:gd name="T16" fmla="*/ 3 w 98"/>
                <a:gd name="T17" fmla="*/ 123 h 149"/>
                <a:gd name="T18" fmla="*/ 30 w 98"/>
                <a:gd name="T19" fmla="*/ 118 h 149"/>
                <a:gd name="T20" fmla="*/ 50 w 98"/>
                <a:gd name="T21" fmla="*/ 128 h 149"/>
                <a:gd name="T22" fmla="*/ 72 w 98"/>
                <a:gd name="T23" fmla="*/ 105 h 149"/>
                <a:gd name="T24" fmla="*/ 72 w 98"/>
                <a:gd name="T25" fmla="*/ 93 h 149"/>
                <a:gd name="T26" fmla="*/ 71 w 98"/>
                <a:gd name="T27" fmla="*/ 92 h 149"/>
                <a:gd name="T28" fmla="*/ 44 w 98"/>
                <a:gd name="T29" fmla="*/ 108 h 149"/>
                <a:gd name="T30" fmla="*/ 0 w 98"/>
                <a:gd name="T31" fmla="*/ 55 h 149"/>
                <a:gd name="T32" fmla="*/ 42 w 98"/>
                <a:gd name="T33" fmla="*/ 0 h 149"/>
                <a:gd name="T34" fmla="*/ 73 w 98"/>
                <a:gd name="T35" fmla="*/ 15 h 149"/>
                <a:gd name="T36" fmla="*/ 73 w 98"/>
                <a:gd name="T37" fmla="*/ 15 h 149"/>
                <a:gd name="T38" fmla="*/ 75 w 98"/>
                <a:gd name="T39" fmla="*/ 2 h 149"/>
                <a:gd name="T40" fmla="*/ 98 w 98"/>
                <a:gd name="T41" fmla="*/ 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fr-FR" sz="1800" dirty="0">
                <a:solidFill>
                  <a:srgbClr val="000000"/>
                </a:solidFill>
                <a:latin typeface="Helvetica 75 Bold"/>
                <a:ea typeface="+mn-ea"/>
                <a:cs typeface="+mn-cs"/>
              </a:endParaRPr>
            </a:p>
          </p:txBody>
        </p:sp>
        <p:sp>
          <p:nvSpPr>
            <p:cNvPr id="57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14 w 37"/>
                <a:gd name="T1" fmla="*/ 2 h 17"/>
                <a:gd name="T2" fmla="*/ 9 w 37"/>
                <a:gd name="T3" fmla="*/ 2 h 17"/>
                <a:gd name="T4" fmla="*/ 9 w 37"/>
                <a:gd name="T5" fmla="*/ 17 h 17"/>
                <a:gd name="T6" fmla="*/ 6 w 37"/>
                <a:gd name="T7" fmla="*/ 17 h 17"/>
                <a:gd name="T8" fmla="*/ 6 w 37"/>
                <a:gd name="T9" fmla="*/ 2 h 17"/>
                <a:gd name="T10" fmla="*/ 0 w 37"/>
                <a:gd name="T11" fmla="*/ 2 h 17"/>
                <a:gd name="T12" fmla="*/ 0 w 37"/>
                <a:gd name="T13" fmla="*/ 0 h 17"/>
                <a:gd name="T14" fmla="*/ 14 w 37"/>
                <a:gd name="T15" fmla="*/ 0 h 17"/>
                <a:gd name="T16" fmla="*/ 14 w 37"/>
                <a:gd name="T17" fmla="*/ 2 h 17"/>
                <a:gd name="T18" fmla="*/ 37 w 37"/>
                <a:gd name="T19" fmla="*/ 17 h 17"/>
                <a:gd name="T20" fmla="*/ 34 w 37"/>
                <a:gd name="T21" fmla="*/ 17 h 17"/>
                <a:gd name="T22" fmla="*/ 34 w 37"/>
                <a:gd name="T23" fmla="*/ 2 h 17"/>
                <a:gd name="T24" fmla="*/ 34 w 37"/>
                <a:gd name="T25" fmla="*/ 2 h 17"/>
                <a:gd name="T26" fmla="*/ 29 w 37"/>
                <a:gd name="T27" fmla="*/ 17 h 17"/>
                <a:gd name="T28" fmla="*/ 27 w 37"/>
                <a:gd name="T29" fmla="*/ 17 h 17"/>
                <a:gd name="T30" fmla="*/ 21 w 37"/>
                <a:gd name="T31" fmla="*/ 2 h 17"/>
                <a:gd name="T32" fmla="*/ 20 w 37"/>
                <a:gd name="T33" fmla="*/ 2 h 17"/>
                <a:gd name="T34" fmla="*/ 20 w 37"/>
                <a:gd name="T35" fmla="*/ 17 h 17"/>
                <a:gd name="T36" fmla="*/ 18 w 37"/>
                <a:gd name="T37" fmla="*/ 17 h 17"/>
                <a:gd name="T38" fmla="*/ 18 w 37"/>
                <a:gd name="T39" fmla="*/ 0 h 17"/>
                <a:gd name="T40" fmla="*/ 22 w 37"/>
                <a:gd name="T41" fmla="*/ 0 h 17"/>
                <a:gd name="T42" fmla="*/ 28 w 37"/>
                <a:gd name="T43" fmla="*/ 13 h 17"/>
                <a:gd name="T44" fmla="*/ 33 w 37"/>
                <a:gd name="T45" fmla="*/ 0 h 17"/>
                <a:gd name="T46" fmla="*/ 37 w 37"/>
                <a:gd name="T47" fmla="*/ 0 h 17"/>
                <a:gd name="T48" fmla="*/ 37 w 37"/>
                <a:gd name="T4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fr-FR" sz="1800" dirty="0">
                <a:solidFill>
                  <a:srgbClr val="000000"/>
                </a:solidFill>
                <a:latin typeface="Helvetica 75 Bold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20100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5"/>
          <p:cNvCxnSpPr/>
          <p:nvPr userDrawn="1"/>
        </p:nvCxnSpPr>
        <p:spPr>
          <a:xfrm>
            <a:off x="350838" y="663575"/>
            <a:ext cx="8639175" cy="0"/>
          </a:xfrm>
          <a:prstGeom prst="line">
            <a:avLst/>
          </a:prstGeom>
          <a:ln w="19050"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age 7" descr="icone-enjeux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4863" y="158750"/>
            <a:ext cx="460375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3263090"/>
      </p:ext>
    </p:extLst>
  </p:cSld>
  <p:clrMapOvr>
    <a:masterClrMapping/>
  </p:clrMapOvr>
  <p:transition spd="med">
    <p:fade/>
  </p:transition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267494"/>
            <a:ext cx="8515349" cy="4283869"/>
          </a:xfrm>
        </p:spPr>
        <p:txBody>
          <a:bodyPr/>
          <a:lstStyle>
            <a:lvl1pPr>
              <a:spcBef>
                <a:spcPts val="0"/>
              </a:spcBef>
              <a:defRPr sz="3000"/>
            </a:lvl1pPr>
            <a:lvl2pPr marL="361950" indent="-361950">
              <a:spcBef>
                <a:spcPts val="0"/>
              </a:spcBef>
              <a:buClrTx/>
              <a:buSzPct val="100000"/>
              <a:buFont typeface="+mj-lt"/>
              <a:buAutoNum type="arabicPeriod"/>
              <a:defRPr sz="3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noProof="0" dirty="0"/>
              <a:t>Cliquez pour modifier le contenu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069766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13769" y="268288"/>
            <a:ext cx="6096839" cy="4283075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buNone/>
              <a:defRPr sz="5500" baseline="0"/>
            </a:lvl1pPr>
            <a:lvl2pPr>
              <a:lnSpc>
                <a:spcPct val="85000"/>
              </a:lnSpc>
              <a:spcBef>
                <a:spcPts val="0"/>
              </a:spcBef>
              <a:defRPr sz="5500"/>
            </a:lvl2pPr>
            <a:lvl3pPr>
              <a:defRPr sz="5500"/>
            </a:lvl3pPr>
            <a:lvl4pPr>
              <a:defRPr sz="5500"/>
            </a:lvl4pPr>
            <a:lvl5pPr>
              <a:defRPr sz="5500"/>
            </a:lvl5pPr>
          </a:lstStyle>
          <a:p>
            <a:pPr lvl="0"/>
            <a:r>
              <a:rPr lang="fr-FR" noProof="0" dirty="0"/>
              <a:t>Cliquez pour modifier le nom de la section 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857680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13200" y="1181100"/>
            <a:ext cx="3968055" cy="3370262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864795" y="1181100"/>
            <a:ext cx="3964880" cy="337026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313199" y="268288"/>
            <a:ext cx="8516475" cy="741362"/>
          </a:xfrm>
        </p:spPr>
        <p:txBody>
          <a:bodyPr/>
          <a:lstStyle>
            <a:lvl1pPr>
              <a:defRPr/>
            </a:lvl1pPr>
          </a:lstStyle>
          <a:p>
            <a:r>
              <a:rPr lang="fr-FR" noProof="0" dirty="0"/>
              <a:t>Cliquez pour modifier le titre</a:t>
            </a:r>
          </a:p>
        </p:txBody>
      </p:sp>
    </p:spTree>
    <p:extLst>
      <p:ext uri="{BB962C8B-B14F-4D97-AF65-F5344CB8AC3E}">
        <p14:creationId xmlns:p14="http://schemas.microsoft.com/office/powerpoint/2010/main" val="1881805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dirty="0"/>
              <a:t>Cliquez pour modifier le titre</a:t>
            </a:r>
          </a:p>
        </p:txBody>
      </p:sp>
    </p:spTree>
    <p:extLst>
      <p:ext uri="{BB962C8B-B14F-4D97-AF65-F5344CB8AC3E}">
        <p14:creationId xmlns:p14="http://schemas.microsoft.com/office/powerpoint/2010/main" val="2239098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pleine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fr-FR" noProof="0" dirty="0"/>
              <a:t>Cliquez sur l'icône pour ajouter une photo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rgbClr val="000000"/>
                </a:solidFill>
              </a:defRPr>
            </a:lvl1pPr>
          </a:lstStyle>
          <a:p>
            <a:r>
              <a:rPr lang="fr-FR" dirty="0"/>
              <a:t>Cliquez pour modifier le titre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1104444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76651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1800"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43193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167951" y="4469074"/>
            <a:ext cx="4237362" cy="483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GB" sz="1800" dirty="0">
              <a:solidFill>
                <a:srgbClr val="FFFFFF"/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39725" y="4130674"/>
            <a:ext cx="676803" cy="676803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rgbClr val="FF6600"/>
                </a:solidFill>
                <a:latin typeface="Helvetica 75 Bold" panose="020B0804020202020204" pitchFamily="34" charset="0"/>
                <a:ea typeface="+mn-ea"/>
                <a:cs typeface="+mn-cs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+mn-ea"/>
                <a:cs typeface="+mn-cs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1200"/>
                </a:spcAft>
                <a:defRPr/>
              </a:pPr>
              <a:endParaRPr lang="en-GB" sz="1800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98223561"/>
      </p:ext>
    </p:extLst>
  </p:cSld>
  <p:clrMapOvr>
    <a:masterClrMapping/>
  </p:clrMapOvr>
  <p:transition spd="med">
    <p:fade/>
  </p:transition>
  <p:hf sldNum="0" hdr="0" ftr="0"/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1184275"/>
            <a:ext cx="8515350" cy="3365500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 smtClean="0"/>
              <a:t>Cliquez pour modifier le titre</a:t>
            </a:r>
            <a:endParaRPr lang="en-GB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fr-FR" sz="800" dirty="0" smtClean="0">
                <a:solidFill>
                  <a:srgbClr val="FF7900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rPr>
              <a:t>Interne Orange</a:t>
            </a:r>
            <a:endParaRPr lang="fr-FR" sz="800" dirty="0">
              <a:solidFill>
                <a:srgbClr val="FF7900"/>
              </a:solidFill>
              <a:latin typeface="Helvetica 75 Bold" panose="020B0804020202020204" pitchFamily="34" charset="0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7075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4326" y="268289"/>
            <a:ext cx="4828498" cy="2301874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800725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0687" y="2704144"/>
            <a:ext cx="4831185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quez pour modifier le nom du présentateur</a:t>
            </a:r>
          </a:p>
        </p:txBody>
      </p:sp>
    </p:spTree>
    <p:extLst>
      <p:ext uri="{BB962C8B-B14F-4D97-AF65-F5344CB8AC3E}">
        <p14:creationId xmlns:p14="http://schemas.microsoft.com/office/powerpoint/2010/main" val="1432753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268287"/>
            <a:ext cx="8515349" cy="4281487"/>
          </a:xfrm>
        </p:spPr>
        <p:txBody>
          <a:bodyPr/>
          <a:lstStyle>
            <a:lvl1pPr>
              <a:spcBef>
                <a:spcPts val="0"/>
              </a:spcBef>
              <a:defRPr sz="3000"/>
            </a:lvl1pPr>
            <a:lvl2pPr marL="358775" indent="-358775">
              <a:spcBef>
                <a:spcPts val="0"/>
              </a:spcBef>
              <a:buClrTx/>
              <a:buSzPct val="100000"/>
              <a:buFont typeface="+mj-lt"/>
              <a:buAutoNum type="arabicPeriod"/>
              <a:defRPr sz="3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noProof="0" dirty="0"/>
              <a:t>Cliquez pour modifier le contenu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fr-FR" sz="800" dirty="0" smtClean="0">
                <a:solidFill>
                  <a:srgbClr val="FF7900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rPr>
              <a:t>Interne Orange</a:t>
            </a:r>
            <a:endParaRPr lang="fr-FR" sz="800" dirty="0">
              <a:solidFill>
                <a:srgbClr val="FF7900"/>
              </a:solidFill>
              <a:latin typeface="Helvetica 75 Bold" panose="020B0804020202020204" pitchFamily="34" charset="0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9004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5"/>
          <p:cNvCxnSpPr/>
          <p:nvPr userDrawn="1"/>
        </p:nvCxnSpPr>
        <p:spPr>
          <a:xfrm>
            <a:off x="350838" y="663575"/>
            <a:ext cx="8639175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age 4" descr="icone-enjeux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4863" y="158750"/>
            <a:ext cx="460375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1324945"/>
      </p:ext>
    </p:extLst>
  </p:cSld>
  <p:clrMapOvr>
    <a:masterClrMapping/>
  </p:clrMapOvr>
  <p:transition spd="med">
    <p:fade/>
  </p:transition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13769" y="268287"/>
            <a:ext cx="6096839" cy="4281487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buNone/>
              <a:defRPr sz="5500" baseline="0"/>
            </a:lvl1pPr>
            <a:lvl2pPr>
              <a:lnSpc>
                <a:spcPct val="85000"/>
              </a:lnSpc>
              <a:spcBef>
                <a:spcPts val="0"/>
              </a:spcBef>
              <a:defRPr sz="5500"/>
            </a:lvl2pPr>
            <a:lvl3pPr>
              <a:defRPr sz="5500"/>
            </a:lvl3pPr>
            <a:lvl4pPr>
              <a:defRPr sz="5500"/>
            </a:lvl4pPr>
            <a:lvl5pPr>
              <a:defRPr sz="5500"/>
            </a:lvl5pPr>
          </a:lstStyle>
          <a:p>
            <a:pPr lvl="0"/>
            <a:r>
              <a:rPr lang="fr-FR" noProof="0" dirty="0"/>
              <a:t>Cliquez pour modifier le nom de la section 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fr-FR" sz="800" dirty="0" smtClean="0">
                <a:solidFill>
                  <a:srgbClr val="FF7900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rPr>
              <a:t>Interne Orange</a:t>
            </a:r>
            <a:endParaRPr lang="fr-FR" sz="800" dirty="0">
              <a:solidFill>
                <a:srgbClr val="FF7900"/>
              </a:solidFill>
              <a:latin typeface="Helvetica 75 Bold" panose="020B0804020202020204" pitchFamily="34" charset="0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3269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14326" y="1184275"/>
            <a:ext cx="3966930" cy="3365499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864795" y="1183698"/>
            <a:ext cx="3964880" cy="336441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 smtClean="0"/>
              <a:t>Cliquez pour modifier le titre</a:t>
            </a:r>
            <a:endParaRPr lang="en-GB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fr-FR" sz="800" dirty="0" smtClean="0">
                <a:solidFill>
                  <a:srgbClr val="FF7900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rPr>
              <a:t>Interne Orange</a:t>
            </a:r>
            <a:endParaRPr lang="fr-FR" sz="800" dirty="0">
              <a:solidFill>
                <a:srgbClr val="FF7900"/>
              </a:solidFill>
              <a:latin typeface="Helvetica 75 Bold" panose="020B0804020202020204" pitchFamily="34" charset="0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789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fr-FR" sz="800" dirty="0" smtClean="0">
                <a:solidFill>
                  <a:srgbClr val="FF7900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rPr>
              <a:t>Interne Orange</a:t>
            </a:r>
            <a:endParaRPr lang="fr-FR" sz="800" dirty="0">
              <a:solidFill>
                <a:srgbClr val="FF7900"/>
              </a:solidFill>
              <a:latin typeface="Helvetica 75 Bold" panose="020B0804020202020204" pitchFamily="34" charset="0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6566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pleine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fr-FR" noProof="0" dirty="0"/>
              <a:t>Cliquez sur l'icône pour ajouter une photo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quez pour modifier le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73745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fr-FR" sz="800" dirty="0" smtClean="0">
                <a:solidFill>
                  <a:srgbClr val="FF7900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rPr>
              <a:t>Interne Orange</a:t>
            </a:r>
            <a:endParaRPr lang="fr-FR" sz="800" dirty="0">
              <a:solidFill>
                <a:srgbClr val="FF7900"/>
              </a:solidFill>
              <a:latin typeface="Helvetica 75 Bold" panose="020B0804020202020204" pitchFamily="34" charset="0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6103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1594485"/>
            <a:ext cx="7772400" cy="1080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2880360"/>
            <a:ext cx="6400800" cy="12858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2/1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9421850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200" b="1" i="0">
                <a:solidFill>
                  <a:srgbClr val="FF6600"/>
                </a:solidFill>
                <a:latin typeface="Helvetica 75 Bold"/>
                <a:cs typeface="Helvetica 75 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1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2/1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1578306"/>
      </p:ext>
    </p:extLst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200" b="1" i="0">
                <a:solidFill>
                  <a:srgbClr val="FF6600"/>
                </a:solidFill>
                <a:latin typeface="Helvetica 75 Bold"/>
                <a:cs typeface="Helvetica 75 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183005"/>
            <a:ext cx="3977640" cy="33947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183005"/>
            <a:ext cx="3977640" cy="33947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2/1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9035533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200" b="1" i="0">
                <a:solidFill>
                  <a:srgbClr val="FF6600"/>
                </a:solidFill>
                <a:latin typeface="Helvetica 75 Bold"/>
                <a:cs typeface="Helvetica 75 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2/1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9657099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2/1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N°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169192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>
          <a:xfrm>
            <a:off x="350838" y="663575"/>
            <a:ext cx="8639175" cy="0"/>
          </a:xfrm>
          <a:prstGeom prst="line">
            <a:avLst/>
          </a:prstGeom>
          <a:ln w="19050"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age 7" descr="icone-enjeux.jpg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4863" y="158750"/>
            <a:ext cx="460375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60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3151697"/>
      </p:ext>
    </p:extLst>
  </p:cSld>
  <p:clrMapOvr>
    <a:masterClrMapping/>
  </p:clrMapOvr>
  <p:transition spd="med">
    <p:fade/>
  </p:transition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1184275"/>
            <a:ext cx="8515350" cy="3365500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  <p:pic>
        <p:nvPicPr>
          <p:cNvPr id="2" name="Imag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8916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4326" y="268289"/>
            <a:ext cx="4828498" cy="2301874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800725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0687" y="2704144"/>
            <a:ext cx="4831185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quez pour modifier le nom du présentateur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313535" y="4233863"/>
            <a:ext cx="612775" cy="612775"/>
            <a:chOff x="313535" y="4233863"/>
            <a:chExt cx="612775" cy="612775"/>
          </a:xfrm>
        </p:grpSpPr>
        <p:sp>
          <p:nvSpPr>
            <p:cNvPr id="43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GB" sz="1800">
                <a:solidFill>
                  <a:srgbClr val="FFFFFF"/>
                </a:solidFill>
                <a:latin typeface="Helvetica 75 Bold"/>
                <a:ea typeface="+mn-ea"/>
                <a:cs typeface="+mn-cs"/>
              </a:endParaRPr>
            </a:p>
          </p:txBody>
        </p:sp>
        <p:sp>
          <p:nvSpPr>
            <p:cNvPr id="44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66 w 93"/>
                <a:gd name="T1" fmla="*/ 99 h 109"/>
                <a:gd name="T2" fmla="*/ 31 w 93"/>
                <a:gd name="T3" fmla="*/ 109 h 109"/>
                <a:gd name="T4" fmla="*/ 0 w 93"/>
                <a:gd name="T5" fmla="*/ 79 h 109"/>
                <a:gd name="T6" fmla="*/ 66 w 93"/>
                <a:gd name="T7" fmla="*/ 37 h 109"/>
                <a:gd name="T8" fmla="*/ 66 w 93"/>
                <a:gd name="T9" fmla="*/ 32 h 109"/>
                <a:gd name="T10" fmla="*/ 49 w 93"/>
                <a:gd name="T11" fmla="*/ 19 h 109"/>
                <a:gd name="T12" fmla="*/ 24 w 93"/>
                <a:gd name="T13" fmla="*/ 32 h 109"/>
                <a:gd name="T14" fmla="*/ 5 w 93"/>
                <a:gd name="T15" fmla="*/ 21 h 109"/>
                <a:gd name="T16" fmla="*/ 50 w 93"/>
                <a:gd name="T17" fmla="*/ 0 h 109"/>
                <a:gd name="T18" fmla="*/ 93 w 93"/>
                <a:gd name="T19" fmla="*/ 32 h 109"/>
                <a:gd name="T20" fmla="*/ 93 w 93"/>
                <a:gd name="T21" fmla="*/ 108 h 109"/>
                <a:gd name="T22" fmla="*/ 68 w 93"/>
                <a:gd name="T23" fmla="*/ 108 h 109"/>
                <a:gd name="T24" fmla="*/ 66 w 93"/>
                <a:gd name="T25" fmla="*/ 99 h 109"/>
                <a:gd name="T26" fmla="*/ 27 w 93"/>
                <a:gd name="T27" fmla="*/ 77 h 109"/>
                <a:gd name="T28" fmla="*/ 39 w 93"/>
                <a:gd name="T29" fmla="*/ 90 h 109"/>
                <a:gd name="T30" fmla="*/ 65 w 93"/>
                <a:gd name="T31" fmla="*/ 79 h 109"/>
                <a:gd name="T32" fmla="*/ 65 w 93"/>
                <a:gd name="T33" fmla="*/ 54 h 109"/>
                <a:gd name="T34" fmla="*/ 27 w 93"/>
                <a:gd name="T35" fmla="*/ 7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GB" sz="1800">
                <a:solidFill>
                  <a:srgbClr val="FFFFFF"/>
                </a:solidFill>
                <a:latin typeface="Helvetica 75 Bold"/>
                <a:ea typeface="+mn-ea"/>
                <a:cs typeface="+mn-cs"/>
              </a:endParaRPr>
            </a:p>
          </p:txBody>
        </p:sp>
        <p:sp>
          <p:nvSpPr>
            <p:cNvPr id="45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5 h 108"/>
                <a:gd name="T2" fmla="*/ 23 w 94"/>
                <a:gd name="T3" fmla="*/ 2 h 108"/>
                <a:gd name="T4" fmla="*/ 25 w 94"/>
                <a:gd name="T5" fmla="*/ 15 h 108"/>
                <a:gd name="T6" fmla="*/ 61 w 94"/>
                <a:gd name="T7" fmla="*/ 0 h 108"/>
                <a:gd name="T8" fmla="*/ 94 w 94"/>
                <a:gd name="T9" fmla="*/ 34 h 108"/>
                <a:gd name="T10" fmla="*/ 94 w 94"/>
                <a:gd name="T11" fmla="*/ 108 h 108"/>
                <a:gd name="T12" fmla="*/ 66 w 94"/>
                <a:gd name="T13" fmla="*/ 108 h 108"/>
                <a:gd name="T14" fmla="*/ 66 w 94"/>
                <a:gd name="T15" fmla="*/ 39 h 108"/>
                <a:gd name="T16" fmla="*/ 53 w 94"/>
                <a:gd name="T17" fmla="*/ 21 h 108"/>
                <a:gd name="T18" fmla="*/ 27 w 94"/>
                <a:gd name="T19" fmla="*/ 32 h 108"/>
                <a:gd name="T20" fmla="*/ 27 w 94"/>
                <a:gd name="T21" fmla="*/ 108 h 108"/>
                <a:gd name="T22" fmla="*/ 0 w 94"/>
                <a:gd name="T23" fmla="*/ 108 h 108"/>
                <a:gd name="T24" fmla="*/ 0 w 94"/>
                <a:gd name="T25" fmla="*/ 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GB" sz="1800">
                <a:solidFill>
                  <a:srgbClr val="FFFFFF"/>
                </a:solidFill>
                <a:latin typeface="Helvetica 75 Bold"/>
                <a:ea typeface="+mn-ea"/>
                <a:cs typeface="+mn-cs"/>
              </a:endParaRPr>
            </a:p>
          </p:txBody>
        </p:sp>
        <p:sp>
          <p:nvSpPr>
            <p:cNvPr id="46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50 w 98"/>
                <a:gd name="T1" fmla="*/ 110 h 110"/>
                <a:gd name="T2" fmla="*/ 0 w 98"/>
                <a:gd name="T3" fmla="*/ 55 h 110"/>
                <a:gd name="T4" fmla="*/ 49 w 98"/>
                <a:gd name="T5" fmla="*/ 0 h 110"/>
                <a:gd name="T6" fmla="*/ 98 w 98"/>
                <a:gd name="T7" fmla="*/ 54 h 110"/>
                <a:gd name="T8" fmla="*/ 97 w 98"/>
                <a:gd name="T9" fmla="*/ 59 h 110"/>
                <a:gd name="T10" fmla="*/ 27 w 98"/>
                <a:gd name="T11" fmla="*/ 59 h 110"/>
                <a:gd name="T12" fmla="*/ 52 w 98"/>
                <a:gd name="T13" fmla="*/ 89 h 110"/>
                <a:gd name="T14" fmla="*/ 76 w 98"/>
                <a:gd name="T15" fmla="*/ 76 h 110"/>
                <a:gd name="T16" fmla="*/ 96 w 98"/>
                <a:gd name="T17" fmla="*/ 87 h 110"/>
                <a:gd name="T18" fmla="*/ 50 w 98"/>
                <a:gd name="T19" fmla="*/ 110 h 110"/>
                <a:gd name="T20" fmla="*/ 70 w 98"/>
                <a:gd name="T21" fmla="*/ 41 h 110"/>
                <a:gd name="T22" fmla="*/ 49 w 98"/>
                <a:gd name="T23" fmla="*/ 19 h 110"/>
                <a:gd name="T24" fmla="*/ 28 w 98"/>
                <a:gd name="T25" fmla="*/ 41 h 110"/>
                <a:gd name="T26" fmla="*/ 70 w 98"/>
                <a:gd name="T27" fmla="*/ 4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GB" sz="1800">
                <a:solidFill>
                  <a:srgbClr val="FFFFFF"/>
                </a:solidFill>
                <a:latin typeface="Helvetica 75 Bold"/>
                <a:ea typeface="+mn-ea"/>
                <a:cs typeface="+mn-cs"/>
              </a:endParaRPr>
            </a:p>
          </p:txBody>
        </p:sp>
        <p:sp>
          <p:nvSpPr>
            <p:cNvPr id="47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52 w 104"/>
                <a:gd name="T1" fmla="*/ 111 h 111"/>
                <a:gd name="T2" fmla="*/ 0 w 104"/>
                <a:gd name="T3" fmla="*/ 55 h 111"/>
                <a:gd name="T4" fmla="*/ 52 w 104"/>
                <a:gd name="T5" fmla="*/ 0 h 111"/>
                <a:gd name="T6" fmla="*/ 104 w 104"/>
                <a:gd name="T7" fmla="*/ 55 h 111"/>
                <a:gd name="T8" fmla="*/ 52 w 104"/>
                <a:gd name="T9" fmla="*/ 111 h 111"/>
                <a:gd name="T10" fmla="*/ 52 w 104"/>
                <a:gd name="T11" fmla="*/ 23 h 111"/>
                <a:gd name="T12" fmla="*/ 28 w 104"/>
                <a:gd name="T13" fmla="*/ 55 h 111"/>
                <a:gd name="T14" fmla="*/ 52 w 104"/>
                <a:gd name="T15" fmla="*/ 87 h 111"/>
                <a:gd name="T16" fmla="*/ 77 w 104"/>
                <a:gd name="T17" fmla="*/ 55 h 111"/>
                <a:gd name="T18" fmla="*/ 52 w 104"/>
                <a:gd name="T19" fmla="*/ 2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GB" sz="1800">
                <a:solidFill>
                  <a:srgbClr val="FFFFFF"/>
                </a:solidFill>
                <a:latin typeface="Helvetica 75 Bold"/>
                <a:ea typeface="+mn-ea"/>
                <a:cs typeface="+mn-cs"/>
              </a:endParaRPr>
            </a:p>
          </p:txBody>
        </p:sp>
        <p:sp>
          <p:nvSpPr>
            <p:cNvPr id="48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3 h 108"/>
                <a:gd name="T2" fmla="*/ 26 w 59"/>
                <a:gd name="T3" fmla="*/ 3 h 108"/>
                <a:gd name="T4" fmla="*/ 26 w 59"/>
                <a:gd name="T5" fmla="*/ 15 h 108"/>
                <a:gd name="T6" fmla="*/ 55 w 59"/>
                <a:gd name="T7" fmla="*/ 0 h 108"/>
                <a:gd name="T8" fmla="*/ 59 w 59"/>
                <a:gd name="T9" fmla="*/ 1 h 108"/>
                <a:gd name="T10" fmla="*/ 59 w 59"/>
                <a:gd name="T11" fmla="*/ 27 h 108"/>
                <a:gd name="T12" fmla="*/ 58 w 59"/>
                <a:gd name="T13" fmla="*/ 27 h 108"/>
                <a:gd name="T14" fmla="*/ 28 w 59"/>
                <a:gd name="T15" fmla="*/ 38 h 108"/>
                <a:gd name="T16" fmla="*/ 28 w 59"/>
                <a:gd name="T17" fmla="*/ 108 h 108"/>
                <a:gd name="T18" fmla="*/ 0 w 59"/>
                <a:gd name="T19" fmla="*/ 108 h 108"/>
                <a:gd name="T20" fmla="*/ 0 w 59"/>
                <a:gd name="T21" fmla="*/ 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GB" sz="1800">
                <a:solidFill>
                  <a:srgbClr val="FFFFFF"/>
                </a:solidFill>
                <a:latin typeface="Helvetica 75 Bold"/>
                <a:ea typeface="+mn-ea"/>
                <a:cs typeface="+mn-cs"/>
              </a:endParaRPr>
            </a:p>
          </p:txBody>
        </p:sp>
        <p:sp>
          <p:nvSpPr>
            <p:cNvPr id="49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49 w 98"/>
                <a:gd name="T1" fmla="*/ 85 h 149"/>
                <a:gd name="T2" fmla="*/ 72 w 98"/>
                <a:gd name="T3" fmla="*/ 50 h 149"/>
                <a:gd name="T4" fmla="*/ 49 w 98"/>
                <a:gd name="T5" fmla="*/ 20 h 149"/>
                <a:gd name="T6" fmla="*/ 28 w 98"/>
                <a:gd name="T7" fmla="*/ 51 h 149"/>
                <a:gd name="T8" fmla="*/ 49 w 98"/>
                <a:gd name="T9" fmla="*/ 85 h 149"/>
                <a:gd name="T10" fmla="*/ 98 w 98"/>
                <a:gd name="T11" fmla="*/ 2 h 149"/>
                <a:gd name="T12" fmla="*/ 98 w 98"/>
                <a:gd name="T13" fmla="*/ 102 h 149"/>
                <a:gd name="T14" fmla="*/ 47 w 98"/>
                <a:gd name="T15" fmla="*/ 149 h 149"/>
                <a:gd name="T16" fmla="*/ 3 w 98"/>
                <a:gd name="T17" fmla="*/ 123 h 149"/>
                <a:gd name="T18" fmla="*/ 30 w 98"/>
                <a:gd name="T19" fmla="*/ 118 h 149"/>
                <a:gd name="T20" fmla="*/ 50 w 98"/>
                <a:gd name="T21" fmla="*/ 128 h 149"/>
                <a:gd name="T22" fmla="*/ 72 w 98"/>
                <a:gd name="T23" fmla="*/ 105 h 149"/>
                <a:gd name="T24" fmla="*/ 72 w 98"/>
                <a:gd name="T25" fmla="*/ 93 h 149"/>
                <a:gd name="T26" fmla="*/ 71 w 98"/>
                <a:gd name="T27" fmla="*/ 92 h 149"/>
                <a:gd name="T28" fmla="*/ 44 w 98"/>
                <a:gd name="T29" fmla="*/ 108 h 149"/>
                <a:gd name="T30" fmla="*/ 0 w 98"/>
                <a:gd name="T31" fmla="*/ 55 h 149"/>
                <a:gd name="T32" fmla="*/ 42 w 98"/>
                <a:gd name="T33" fmla="*/ 0 h 149"/>
                <a:gd name="T34" fmla="*/ 73 w 98"/>
                <a:gd name="T35" fmla="*/ 15 h 149"/>
                <a:gd name="T36" fmla="*/ 73 w 98"/>
                <a:gd name="T37" fmla="*/ 15 h 149"/>
                <a:gd name="T38" fmla="*/ 75 w 98"/>
                <a:gd name="T39" fmla="*/ 2 h 149"/>
                <a:gd name="T40" fmla="*/ 98 w 98"/>
                <a:gd name="T41" fmla="*/ 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GB" sz="1800">
                <a:solidFill>
                  <a:srgbClr val="FFFFFF"/>
                </a:solidFill>
                <a:latin typeface="Helvetica 75 Bold"/>
                <a:ea typeface="+mn-ea"/>
                <a:cs typeface="+mn-cs"/>
              </a:endParaRPr>
            </a:p>
          </p:txBody>
        </p:sp>
        <p:sp>
          <p:nvSpPr>
            <p:cNvPr id="50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14 w 37"/>
                <a:gd name="T1" fmla="*/ 2 h 17"/>
                <a:gd name="T2" fmla="*/ 9 w 37"/>
                <a:gd name="T3" fmla="*/ 2 h 17"/>
                <a:gd name="T4" fmla="*/ 9 w 37"/>
                <a:gd name="T5" fmla="*/ 17 h 17"/>
                <a:gd name="T6" fmla="*/ 6 w 37"/>
                <a:gd name="T7" fmla="*/ 17 h 17"/>
                <a:gd name="T8" fmla="*/ 6 w 37"/>
                <a:gd name="T9" fmla="*/ 2 h 17"/>
                <a:gd name="T10" fmla="*/ 0 w 37"/>
                <a:gd name="T11" fmla="*/ 2 h 17"/>
                <a:gd name="T12" fmla="*/ 0 w 37"/>
                <a:gd name="T13" fmla="*/ 0 h 17"/>
                <a:gd name="T14" fmla="*/ 14 w 37"/>
                <a:gd name="T15" fmla="*/ 0 h 17"/>
                <a:gd name="T16" fmla="*/ 14 w 37"/>
                <a:gd name="T17" fmla="*/ 2 h 17"/>
                <a:gd name="T18" fmla="*/ 37 w 37"/>
                <a:gd name="T19" fmla="*/ 17 h 17"/>
                <a:gd name="T20" fmla="*/ 34 w 37"/>
                <a:gd name="T21" fmla="*/ 17 h 17"/>
                <a:gd name="T22" fmla="*/ 34 w 37"/>
                <a:gd name="T23" fmla="*/ 2 h 17"/>
                <a:gd name="T24" fmla="*/ 34 w 37"/>
                <a:gd name="T25" fmla="*/ 2 h 17"/>
                <a:gd name="T26" fmla="*/ 29 w 37"/>
                <a:gd name="T27" fmla="*/ 17 h 17"/>
                <a:gd name="T28" fmla="*/ 27 w 37"/>
                <a:gd name="T29" fmla="*/ 17 h 17"/>
                <a:gd name="T30" fmla="*/ 21 w 37"/>
                <a:gd name="T31" fmla="*/ 2 h 17"/>
                <a:gd name="T32" fmla="*/ 20 w 37"/>
                <a:gd name="T33" fmla="*/ 2 h 17"/>
                <a:gd name="T34" fmla="*/ 20 w 37"/>
                <a:gd name="T35" fmla="*/ 17 h 17"/>
                <a:gd name="T36" fmla="*/ 18 w 37"/>
                <a:gd name="T37" fmla="*/ 17 h 17"/>
                <a:gd name="T38" fmla="*/ 18 w 37"/>
                <a:gd name="T39" fmla="*/ 0 h 17"/>
                <a:gd name="T40" fmla="*/ 22 w 37"/>
                <a:gd name="T41" fmla="*/ 0 h 17"/>
                <a:gd name="T42" fmla="*/ 28 w 37"/>
                <a:gd name="T43" fmla="*/ 13 h 17"/>
                <a:gd name="T44" fmla="*/ 33 w 37"/>
                <a:gd name="T45" fmla="*/ 0 h 17"/>
                <a:gd name="T46" fmla="*/ 37 w 37"/>
                <a:gd name="T47" fmla="*/ 0 h 17"/>
                <a:gd name="T48" fmla="*/ 37 w 37"/>
                <a:gd name="T4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GB" sz="1800">
                <a:solidFill>
                  <a:srgbClr val="FFFFFF"/>
                </a:solidFill>
                <a:latin typeface="Helvetica 75 Bold"/>
                <a:ea typeface="+mn-ea"/>
                <a:cs typeface="+mn-cs"/>
              </a:endParaRPr>
            </a:p>
          </p:txBody>
        </p:sp>
      </p:grpSp>
      <p:pic>
        <p:nvPicPr>
          <p:cNvPr id="4" name="Imag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4886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268287"/>
            <a:ext cx="8515349" cy="4281487"/>
          </a:xfrm>
        </p:spPr>
        <p:txBody>
          <a:bodyPr/>
          <a:lstStyle>
            <a:lvl1pPr>
              <a:spcBef>
                <a:spcPts val="0"/>
              </a:spcBef>
              <a:defRPr sz="3000"/>
            </a:lvl1pPr>
            <a:lvl2pPr marL="358775" indent="-358775">
              <a:spcBef>
                <a:spcPts val="0"/>
              </a:spcBef>
              <a:buClrTx/>
              <a:buSzPct val="100000"/>
              <a:buFont typeface="+mj-lt"/>
              <a:buAutoNum type="arabicPeriod"/>
              <a:defRPr sz="3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noProof="0" dirty="0"/>
              <a:t>Cliquez pour modifier le contenu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pic>
        <p:nvPicPr>
          <p:cNvPr id="2" name="Imag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5877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13769" y="268287"/>
            <a:ext cx="6096839" cy="4281487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buNone/>
              <a:defRPr sz="5500" baseline="0"/>
            </a:lvl1pPr>
            <a:lvl2pPr>
              <a:lnSpc>
                <a:spcPct val="85000"/>
              </a:lnSpc>
              <a:spcBef>
                <a:spcPts val="0"/>
              </a:spcBef>
              <a:defRPr sz="5500"/>
            </a:lvl2pPr>
            <a:lvl3pPr>
              <a:defRPr sz="5500"/>
            </a:lvl3pPr>
            <a:lvl4pPr>
              <a:defRPr sz="5500"/>
            </a:lvl4pPr>
            <a:lvl5pPr>
              <a:defRPr sz="5500"/>
            </a:lvl5pPr>
          </a:lstStyle>
          <a:p>
            <a:pPr lvl="0"/>
            <a:r>
              <a:rPr lang="fr-FR" noProof="0" dirty="0"/>
              <a:t>Cliquez pour modifier le nom de la section 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192" y="383079"/>
            <a:ext cx="7201248" cy="4051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1696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14326" y="1184275"/>
            <a:ext cx="3966930" cy="3365499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864795" y="1183698"/>
            <a:ext cx="3964880" cy="336441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2241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dirty="0"/>
              <a:t>Cliquez pour modifier le titre</a:t>
            </a:r>
          </a:p>
        </p:txBody>
      </p:sp>
      <p:pic>
        <p:nvPicPr>
          <p:cNvPr id="6" name="Imag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8296" y="2845308"/>
            <a:ext cx="6775704" cy="2298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2685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pleine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fr-FR" noProof="0" dirty="0"/>
              <a:t>Cliquez sur l'icône pour ajouter une photo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quez pour modifier le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0049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07450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6"/>
          <p:cNvCxnSpPr/>
          <p:nvPr userDrawn="1"/>
        </p:nvCxnSpPr>
        <p:spPr>
          <a:xfrm>
            <a:off x="350838" y="663575"/>
            <a:ext cx="8639175" cy="0"/>
          </a:xfrm>
          <a:prstGeom prst="line">
            <a:avLst/>
          </a:prstGeom>
          <a:ln w="19050"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age 7" descr="icone-atouts.jpg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8E8"/>
              </a:clrFrom>
              <a:clrTo>
                <a:srgbClr val="FFF8E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7563" y="158750"/>
            <a:ext cx="527050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600"/>
                </a:solidFill>
              </a:defRPr>
            </a:lvl1pPr>
          </a:lstStyle>
          <a:p>
            <a:r>
              <a:rPr lang="fr-FR" dirty="0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4948986"/>
      </p:ext>
    </p:extLst>
  </p:cSld>
  <p:clrMapOvr>
    <a:masterClrMapping/>
  </p:clrMapOvr>
  <p:transition spd="med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7" descr="icone-enjeux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4863" y="158750"/>
            <a:ext cx="460375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Straight Connector 6"/>
          <p:cNvCxnSpPr/>
          <p:nvPr userDrawn="1"/>
        </p:nvCxnSpPr>
        <p:spPr>
          <a:xfrm>
            <a:off x="350838" y="663575"/>
            <a:ext cx="8639175" cy="0"/>
          </a:xfrm>
          <a:prstGeom prst="line">
            <a:avLst/>
          </a:prstGeom>
          <a:ln w="19050"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6600"/>
                </a:solidFill>
              </a:defRPr>
            </a:lvl1pPr>
          </a:lstStyle>
          <a:p>
            <a:r>
              <a:rPr lang="fr-FR" dirty="0" smtClean="0"/>
              <a:t>Modifiez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8613716"/>
      </p:ext>
    </p:extLst>
  </p:cSld>
  <p:clrMapOvr>
    <a:masterClrMapping/>
  </p:clrMapOvr>
  <p:transition spd="med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7" descr="solutions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9788" y="114300"/>
            <a:ext cx="433387" cy="550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Straight Connector 5"/>
          <p:cNvCxnSpPr/>
          <p:nvPr userDrawn="1"/>
        </p:nvCxnSpPr>
        <p:spPr>
          <a:xfrm>
            <a:off x="350838" y="663575"/>
            <a:ext cx="8639175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re 1"/>
          <p:cNvSpPr>
            <a:spLocks noGrp="1"/>
          </p:cNvSpPr>
          <p:nvPr>
            <p:ph type="title"/>
          </p:nvPr>
        </p:nvSpPr>
        <p:spPr>
          <a:xfrm>
            <a:off x="339725" y="339738"/>
            <a:ext cx="8470900" cy="621329"/>
          </a:xfrm>
        </p:spPr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9814385"/>
      </p:ext>
    </p:extLst>
  </p:cSld>
  <p:clrMapOvr>
    <a:masterClrMapping/>
  </p:clrMapOvr>
  <p:transition spd="med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7" descr="icone-benefices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6113" y="195263"/>
            <a:ext cx="547687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Straight Connector 4"/>
          <p:cNvCxnSpPr/>
          <p:nvPr userDrawn="1"/>
        </p:nvCxnSpPr>
        <p:spPr>
          <a:xfrm>
            <a:off x="350838" y="663575"/>
            <a:ext cx="8639175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4957976"/>
      </p:ext>
    </p:extLst>
  </p:cSld>
  <p:clrMapOvr>
    <a:masterClrMapping/>
  </p:clrMapOvr>
  <p:transition spd="med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/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F5F5F5"/>
              </a:clrFrom>
              <a:clrTo>
                <a:srgbClr val="F5F5F5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5963" y="96838"/>
            <a:ext cx="631825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Straight Connector 4"/>
          <p:cNvCxnSpPr/>
          <p:nvPr userDrawn="1"/>
        </p:nvCxnSpPr>
        <p:spPr>
          <a:xfrm>
            <a:off x="350838" y="663575"/>
            <a:ext cx="8639175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re 1"/>
          <p:cNvSpPr>
            <a:spLocks noGrp="1"/>
          </p:cNvSpPr>
          <p:nvPr>
            <p:ph type="title"/>
          </p:nvPr>
        </p:nvSpPr>
        <p:spPr>
          <a:xfrm>
            <a:off x="339725" y="339738"/>
            <a:ext cx="8470900" cy="621329"/>
          </a:xfrm>
        </p:spPr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36108927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6206886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GBLG1056\Desktop\images\Orange Business Services logo 080714\digital\PNG\obs_left_rgb_black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888" y="4084638"/>
            <a:ext cx="1901825" cy="82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31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67" y="339726"/>
            <a:ext cx="2301875" cy="3460750"/>
          </a:xfrm>
        </p:spPr>
        <p:txBody>
          <a:bodyPr tIns="109720"/>
          <a:lstStyle>
            <a:lvl1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85150086"/>
      </p:ext>
    </p:extLst>
  </p:cSld>
  <p:clrMapOvr>
    <a:masterClrMapping/>
  </p:clrMapOvr>
  <p:transition spd="med">
    <p:fade/>
  </p:transition>
  <p:hf sldNum="0" hdr="0" ftr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8" r="661"/>
          <a:stretch>
            <a:fillRect/>
          </a:stretch>
        </p:blipFill>
        <p:spPr bwMode="auto">
          <a:xfrm>
            <a:off x="0" y="2386013"/>
            <a:ext cx="9144000" cy="1092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404" name="Rectangle 4"/>
          <p:cNvSpPr>
            <a:spLocks noGrp="1" noChangeArrowheads="1"/>
          </p:cNvSpPr>
          <p:nvPr>
            <p:ph type="ctrTitle"/>
          </p:nvPr>
        </p:nvSpPr>
        <p:spPr>
          <a:xfrm>
            <a:off x="3297248" y="2131219"/>
            <a:ext cx="5522911" cy="1196814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5400">
                <a:latin typeface="Helvetica 35 Thin" pitchFamily="34" charset="0"/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4098336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0" y="1304927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045306"/>
      </p:ext>
    </p:extLst>
  </p:cSld>
  <p:clrMapOvr>
    <a:masterClrMapping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3611229"/>
      </p:ext>
    </p:extLst>
  </p:cSld>
  <p:clrMapOvr>
    <a:masterClrMapping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042988" y="205979"/>
            <a:ext cx="7049874" cy="737100"/>
          </a:xfrm>
        </p:spPr>
        <p:txBody>
          <a:bodyPr/>
          <a:lstStyle>
            <a:lvl1pPr algn="l">
              <a:defRPr/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3"/>
          </p:nvPr>
        </p:nvSpPr>
        <p:spPr>
          <a:xfrm>
            <a:off x="1037646" y="1329929"/>
            <a:ext cx="1440210" cy="27995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7" name="Espace réservé du texte 4"/>
          <p:cNvSpPr>
            <a:spLocks noGrp="1"/>
          </p:cNvSpPr>
          <p:nvPr>
            <p:ph type="body" sz="quarter" idx="14"/>
          </p:nvPr>
        </p:nvSpPr>
        <p:spPr>
          <a:xfrm>
            <a:off x="1037646" y="1652708"/>
            <a:ext cx="1440210" cy="27995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8" name="Espace réservé du texte 4"/>
          <p:cNvSpPr>
            <a:spLocks noGrp="1"/>
          </p:cNvSpPr>
          <p:nvPr>
            <p:ph type="body" sz="quarter" idx="15"/>
          </p:nvPr>
        </p:nvSpPr>
        <p:spPr>
          <a:xfrm>
            <a:off x="1037646" y="1975490"/>
            <a:ext cx="1440210" cy="27995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7"/>
          </p:nvPr>
        </p:nvSpPr>
        <p:spPr>
          <a:xfrm>
            <a:off x="1037646" y="2298269"/>
            <a:ext cx="1440210" cy="27995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9"/>
          </p:nvPr>
        </p:nvSpPr>
        <p:spPr>
          <a:xfrm>
            <a:off x="1037646" y="2621051"/>
            <a:ext cx="1440210" cy="27995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21"/>
          </p:nvPr>
        </p:nvSpPr>
        <p:spPr>
          <a:xfrm>
            <a:off x="1037646" y="2943830"/>
            <a:ext cx="1440210" cy="27995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2" name="Espace réservé du texte 4"/>
          <p:cNvSpPr>
            <a:spLocks noGrp="1"/>
          </p:cNvSpPr>
          <p:nvPr>
            <p:ph type="body" sz="quarter" idx="23"/>
          </p:nvPr>
        </p:nvSpPr>
        <p:spPr>
          <a:xfrm>
            <a:off x="2598122" y="1329929"/>
            <a:ext cx="5500788" cy="279951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3" name="Espace réservé du texte 4"/>
          <p:cNvSpPr>
            <a:spLocks noGrp="1"/>
          </p:cNvSpPr>
          <p:nvPr>
            <p:ph type="body" sz="quarter" idx="24"/>
          </p:nvPr>
        </p:nvSpPr>
        <p:spPr>
          <a:xfrm>
            <a:off x="2598122" y="1652708"/>
            <a:ext cx="5500788" cy="279951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4" name="Espace réservé du texte 4"/>
          <p:cNvSpPr>
            <a:spLocks noGrp="1"/>
          </p:cNvSpPr>
          <p:nvPr>
            <p:ph type="body" sz="quarter" idx="25"/>
          </p:nvPr>
        </p:nvSpPr>
        <p:spPr>
          <a:xfrm>
            <a:off x="2598122" y="2943830"/>
            <a:ext cx="5500788" cy="279951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5" name="Espace réservé du texte 4"/>
          <p:cNvSpPr>
            <a:spLocks noGrp="1"/>
          </p:cNvSpPr>
          <p:nvPr>
            <p:ph type="body" sz="quarter" idx="26"/>
          </p:nvPr>
        </p:nvSpPr>
        <p:spPr>
          <a:xfrm>
            <a:off x="2598122" y="2621051"/>
            <a:ext cx="5500788" cy="279951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6" name="Espace réservé du texte 4"/>
          <p:cNvSpPr>
            <a:spLocks noGrp="1"/>
          </p:cNvSpPr>
          <p:nvPr>
            <p:ph type="body" sz="quarter" idx="27"/>
          </p:nvPr>
        </p:nvSpPr>
        <p:spPr>
          <a:xfrm>
            <a:off x="2598122" y="2298269"/>
            <a:ext cx="5500788" cy="279951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7" name="Espace réservé du texte 4"/>
          <p:cNvSpPr>
            <a:spLocks noGrp="1"/>
          </p:cNvSpPr>
          <p:nvPr>
            <p:ph type="body" sz="quarter" idx="28"/>
          </p:nvPr>
        </p:nvSpPr>
        <p:spPr>
          <a:xfrm>
            <a:off x="2598122" y="1975490"/>
            <a:ext cx="5500788" cy="279951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8" name="Espace réservé du texte 4"/>
          <p:cNvSpPr>
            <a:spLocks noGrp="1"/>
          </p:cNvSpPr>
          <p:nvPr>
            <p:ph type="body" sz="quarter" idx="29"/>
          </p:nvPr>
        </p:nvSpPr>
        <p:spPr>
          <a:xfrm>
            <a:off x="1039128" y="3267676"/>
            <a:ext cx="1440210" cy="27995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9" name="Espace réservé du texte 4"/>
          <p:cNvSpPr>
            <a:spLocks noGrp="1"/>
          </p:cNvSpPr>
          <p:nvPr>
            <p:ph type="body" sz="quarter" idx="30"/>
          </p:nvPr>
        </p:nvSpPr>
        <p:spPr>
          <a:xfrm>
            <a:off x="1039128" y="3590458"/>
            <a:ext cx="1440210" cy="27995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0" name="Espace réservé du texte 4"/>
          <p:cNvSpPr>
            <a:spLocks noGrp="1"/>
          </p:cNvSpPr>
          <p:nvPr>
            <p:ph type="body" sz="quarter" idx="31"/>
          </p:nvPr>
        </p:nvSpPr>
        <p:spPr>
          <a:xfrm>
            <a:off x="1039128" y="3913238"/>
            <a:ext cx="1440210" cy="27995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1" name="Espace réservé du texte 4"/>
          <p:cNvSpPr>
            <a:spLocks noGrp="1"/>
          </p:cNvSpPr>
          <p:nvPr>
            <p:ph type="body" sz="quarter" idx="32"/>
          </p:nvPr>
        </p:nvSpPr>
        <p:spPr>
          <a:xfrm>
            <a:off x="1039128" y="4236017"/>
            <a:ext cx="1440210" cy="279951"/>
          </a:xfrm>
        </p:spPr>
        <p:txBody>
          <a:bodyPr/>
          <a:lstStyle>
            <a:lvl1pPr marL="0" indent="0"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2" name="Espace réservé du texte 4"/>
          <p:cNvSpPr>
            <a:spLocks noGrp="1"/>
          </p:cNvSpPr>
          <p:nvPr>
            <p:ph type="body" sz="quarter" idx="33"/>
          </p:nvPr>
        </p:nvSpPr>
        <p:spPr>
          <a:xfrm>
            <a:off x="2599604" y="4236017"/>
            <a:ext cx="5500788" cy="279951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3" name="Espace réservé du texte 4"/>
          <p:cNvSpPr>
            <a:spLocks noGrp="1"/>
          </p:cNvSpPr>
          <p:nvPr>
            <p:ph type="body" sz="quarter" idx="34"/>
          </p:nvPr>
        </p:nvSpPr>
        <p:spPr>
          <a:xfrm>
            <a:off x="2599604" y="3913238"/>
            <a:ext cx="5500788" cy="279951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4" name="Espace réservé du texte 4"/>
          <p:cNvSpPr>
            <a:spLocks noGrp="1"/>
          </p:cNvSpPr>
          <p:nvPr>
            <p:ph type="body" sz="quarter" idx="35"/>
          </p:nvPr>
        </p:nvSpPr>
        <p:spPr>
          <a:xfrm>
            <a:off x="2599604" y="3267676"/>
            <a:ext cx="5500788" cy="279951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5" name="Espace réservé du texte 4"/>
          <p:cNvSpPr>
            <a:spLocks noGrp="1"/>
          </p:cNvSpPr>
          <p:nvPr>
            <p:ph type="body" sz="quarter" idx="36"/>
          </p:nvPr>
        </p:nvSpPr>
        <p:spPr>
          <a:xfrm>
            <a:off x="2592861" y="3587945"/>
            <a:ext cx="5500788" cy="279951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01887806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7" rIns="91432" bIns="45717" anchor="ctr"/>
          <a:lstStyle/>
          <a:p>
            <a:pPr algn="ctr" defTabSz="712731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6" name="Group 62"/>
          <p:cNvGrpSpPr>
            <a:grpSpLocks/>
          </p:cNvGrpSpPr>
          <p:nvPr userDrawn="1"/>
        </p:nvGrpSpPr>
        <p:grpSpPr bwMode="auto">
          <a:xfrm>
            <a:off x="339725" y="4132263"/>
            <a:ext cx="1873250" cy="682625"/>
            <a:chOff x="339725" y="4132263"/>
            <a:chExt cx="1873251" cy="682625"/>
          </a:xfrm>
        </p:grpSpPr>
        <p:grpSp>
          <p:nvGrpSpPr>
            <p:cNvPr id="7" name="Group 60"/>
            <p:cNvGrpSpPr>
              <a:grpSpLocks/>
            </p:cNvGrpSpPr>
            <p:nvPr userDrawn="1"/>
          </p:nvGrpSpPr>
          <p:grpSpPr bwMode="auto">
            <a:xfrm>
              <a:off x="339725" y="4132263"/>
              <a:ext cx="674688" cy="677863"/>
              <a:chOff x="339725" y="4132263"/>
              <a:chExt cx="674688" cy="677863"/>
            </a:xfrm>
          </p:grpSpPr>
          <p:sp>
            <p:nvSpPr>
              <p:cNvPr id="25" name="Rectangle 7"/>
              <p:cNvSpPr>
                <a:spLocks noChangeArrowheads="1"/>
              </p:cNvSpPr>
              <p:nvPr userDrawn="1"/>
            </p:nvSpPr>
            <p:spPr bwMode="auto">
              <a:xfrm>
                <a:off x="339725" y="4132263"/>
                <a:ext cx="674688" cy="677863"/>
              </a:xfrm>
              <a:prstGeom prst="rect">
                <a:avLst/>
              </a:prstGeom>
              <a:solidFill>
                <a:srgbClr val="FF66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 altLang="fr-FR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Freeform 8"/>
              <p:cNvSpPr>
                <a:spLocks noEditPoints="1"/>
              </p:cNvSpPr>
              <p:nvPr userDrawn="1"/>
            </p:nvSpPr>
            <p:spPr bwMode="auto">
              <a:xfrm>
                <a:off x="546100" y="4656138"/>
                <a:ext cx="82550" cy="98425"/>
              </a:xfrm>
              <a:custGeom>
                <a:avLst/>
                <a:gdLst>
                  <a:gd name="T0" fmla="*/ 2147483647 w 65"/>
                  <a:gd name="T1" fmla="*/ 2147483647 h 76"/>
                  <a:gd name="T2" fmla="*/ 2147483647 w 65"/>
                  <a:gd name="T3" fmla="*/ 2147483647 h 76"/>
                  <a:gd name="T4" fmla="*/ 0 w 65"/>
                  <a:gd name="T5" fmla="*/ 2147483647 h 76"/>
                  <a:gd name="T6" fmla="*/ 2147483647 w 65"/>
                  <a:gd name="T7" fmla="*/ 2147483647 h 76"/>
                  <a:gd name="T8" fmla="*/ 2147483647 w 65"/>
                  <a:gd name="T9" fmla="*/ 2147483647 h 76"/>
                  <a:gd name="T10" fmla="*/ 2147483647 w 65"/>
                  <a:gd name="T11" fmla="*/ 2147483647 h 76"/>
                  <a:gd name="T12" fmla="*/ 2147483647 w 65"/>
                  <a:gd name="T13" fmla="*/ 2147483647 h 76"/>
                  <a:gd name="T14" fmla="*/ 2147483647 w 65"/>
                  <a:gd name="T15" fmla="*/ 2147483647 h 76"/>
                  <a:gd name="T16" fmla="*/ 2147483647 w 65"/>
                  <a:gd name="T17" fmla="*/ 0 h 76"/>
                  <a:gd name="T18" fmla="*/ 2147483647 w 65"/>
                  <a:gd name="T19" fmla="*/ 2147483647 h 76"/>
                  <a:gd name="T20" fmla="*/ 2147483647 w 65"/>
                  <a:gd name="T21" fmla="*/ 2147483647 h 76"/>
                  <a:gd name="T22" fmla="*/ 2147483647 w 65"/>
                  <a:gd name="T23" fmla="*/ 2147483647 h 76"/>
                  <a:gd name="T24" fmla="*/ 2147483647 w 65"/>
                  <a:gd name="T25" fmla="*/ 2147483647 h 76"/>
                  <a:gd name="T26" fmla="*/ 2147483647 w 65"/>
                  <a:gd name="T27" fmla="*/ 2147483647 h 76"/>
                  <a:gd name="T28" fmla="*/ 2147483647 w 65"/>
                  <a:gd name="T29" fmla="*/ 2147483647 h 76"/>
                  <a:gd name="T30" fmla="*/ 2147483647 w 65"/>
                  <a:gd name="T31" fmla="*/ 2147483647 h 76"/>
                  <a:gd name="T32" fmla="*/ 2147483647 w 65"/>
                  <a:gd name="T33" fmla="*/ 2147483647 h 76"/>
                  <a:gd name="T34" fmla="*/ 2147483647 w 65"/>
                  <a:gd name="T35" fmla="*/ 2147483647 h 7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65" h="76">
                    <a:moveTo>
                      <a:pt x="46" y="69"/>
                    </a:moveTo>
                    <a:cubicBezTo>
                      <a:pt x="38" y="73"/>
                      <a:pt x="30" y="76"/>
                      <a:pt x="22" y="76"/>
                    </a:cubicBezTo>
                    <a:cubicBezTo>
                      <a:pt x="8" y="76"/>
                      <a:pt x="0" y="67"/>
                      <a:pt x="0" y="55"/>
                    </a:cubicBezTo>
                    <a:cubicBezTo>
                      <a:pt x="0" y="38"/>
                      <a:pt x="15" y="29"/>
                      <a:pt x="46" y="26"/>
                    </a:cubicBezTo>
                    <a:cubicBezTo>
                      <a:pt x="46" y="22"/>
                      <a:pt x="46" y="22"/>
                      <a:pt x="46" y="22"/>
                    </a:cubicBezTo>
                    <a:cubicBezTo>
                      <a:pt x="46" y="17"/>
                      <a:pt x="42" y="14"/>
                      <a:pt x="35" y="14"/>
                    </a:cubicBezTo>
                    <a:cubicBezTo>
                      <a:pt x="27" y="14"/>
                      <a:pt x="21" y="16"/>
                      <a:pt x="17" y="22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11" y="5"/>
                      <a:pt x="21" y="0"/>
                      <a:pt x="35" y="0"/>
                    </a:cubicBezTo>
                    <a:cubicBezTo>
                      <a:pt x="54" y="0"/>
                      <a:pt x="65" y="8"/>
                      <a:pt x="65" y="22"/>
                    </a:cubicBezTo>
                    <a:cubicBezTo>
                      <a:pt x="65" y="22"/>
                      <a:pt x="65" y="75"/>
                      <a:pt x="65" y="75"/>
                    </a:cubicBezTo>
                    <a:cubicBezTo>
                      <a:pt x="48" y="75"/>
                      <a:pt x="48" y="75"/>
                      <a:pt x="48" y="75"/>
                    </a:cubicBezTo>
                    <a:lnTo>
                      <a:pt x="46" y="69"/>
                    </a:lnTo>
                    <a:close/>
                    <a:moveTo>
                      <a:pt x="19" y="53"/>
                    </a:moveTo>
                    <a:cubicBezTo>
                      <a:pt x="19" y="58"/>
                      <a:pt x="22" y="63"/>
                      <a:pt x="28" y="63"/>
                    </a:cubicBezTo>
                    <a:cubicBezTo>
                      <a:pt x="34" y="63"/>
                      <a:pt x="40" y="60"/>
                      <a:pt x="45" y="55"/>
                    </a:cubicBezTo>
                    <a:cubicBezTo>
                      <a:pt x="45" y="38"/>
                      <a:pt x="45" y="38"/>
                      <a:pt x="45" y="38"/>
                    </a:cubicBezTo>
                    <a:cubicBezTo>
                      <a:pt x="27" y="40"/>
                      <a:pt x="19" y="44"/>
                      <a:pt x="19" y="5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7" name="Freeform 9"/>
              <p:cNvSpPr>
                <a:spLocks/>
              </p:cNvSpPr>
              <p:nvPr userDrawn="1"/>
            </p:nvSpPr>
            <p:spPr bwMode="auto">
              <a:xfrm>
                <a:off x="647700" y="4656138"/>
                <a:ext cx="85725" cy="96838"/>
              </a:xfrm>
              <a:custGeom>
                <a:avLst/>
                <a:gdLst>
                  <a:gd name="T0" fmla="*/ 0 w 66"/>
                  <a:gd name="T1" fmla="*/ 2147483647 h 75"/>
                  <a:gd name="T2" fmla="*/ 2147483647 w 66"/>
                  <a:gd name="T3" fmla="*/ 2147483647 h 75"/>
                  <a:gd name="T4" fmla="*/ 2147483647 w 66"/>
                  <a:gd name="T5" fmla="*/ 2147483647 h 75"/>
                  <a:gd name="T6" fmla="*/ 2147483647 w 66"/>
                  <a:gd name="T7" fmla="*/ 0 h 75"/>
                  <a:gd name="T8" fmla="*/ 2147483647 w 66"/>
                  <a:gd name="T9" fmla="*/ 2147483647 h 75"/>
                  <a:gd name="T10" fmla="*/ 2147483647 w 66"/>
                  <a:gd name="T11" fmla="*/ 2147483647 h 75"/>
                  <a:gd name="T12" fmla="*/ 2147483647 w 66"/>
                  <a:gd name="T13" fmla="*/ 2147483647 h 75"/>
                  <a:gd name="T14" fmla="*/ 2147483647 w 66"/>
                  <a:gd name="T15" fmla="*/ 2147483647 h 75"/>
                  <a:gd name="T16" fmla="*/ 2147483647 w 66"/>
                  <a:gd name="T17" fmla="*/ 2147483647 h 75"/>
                  <a:gd name="T18" fmla="*/ 2147483647 w 66"/>
                  <a:gd name="T19" fmla="*/ 2147483647 h 75"/>
                  <a:gd name="T20" fmla="*/ 2147483647 w 66"/>
                  <a:gd name="T21" fmla="*/ 2147483647 h 75"/>
                  <a:gd name="T22" fmla="*/ 0 w 66"/>
                  <a:gd name="T23" fmla="*/ 2147483647 h 75"/>
                  <a:gd name="T24" fmla="*/ 0 w 66"/>
                  <a:gd name="T25" fmla="*/ 2147483647 h 7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66" h="75">
                    <a:moveTo>
                      <a:pt x="0" y="4"/>
                    </a:moveTo>
                    <a:cubicBezTo>
                      <a:pt x="16" y="2"/>
                      <a:pt x="16" y="2"/>
                      <a:pt x="16" y="2"/>
                    </a:cubicBezTo>
                    <a:cubicBezTo>
                      <a:pt x="18" y="10"/>
                      <a:pt x="18" y="10"/>
                      <a:pt x="18" y="10"/>
                    </a:cubicBezTo>
                    <a:cubicBezTo>
                      <a:pt x="27" y="4"/>
                      <a:pt x="34" y="0"/>
                      <a:pt x="43" y="0"/>
                    </a:cubicBezTo>
                    <a:cubicBezTo>
                      <a:pt x="58" y="0"/>
                      <a:pt x="66" y="8"/>
                      <a:pt x="66" y="24"/>
                    </a:cubicBezTo>
                    <a:cubicBezTo>
                      <a:pt x="66" y="75"/>
                      <a:pt x="66" y="75"/>
                      <a:pt x="66" y="75"/>
                    </a:cubicBezTo>
                    <a:cubicBezTo>
                      <a:pt x="46" y="75"/>
                      <a:pt x="46" y="75"/>
                      <a:pt x="46" y="75"/>
                    </a:cubicBezTo>
                    <a:cubicBezTo>
                      <a:pt x="46" y="27"/>
                      <a:pt x="46" y="27"/>
                      <a:pt x="46" y="27"/>
                    </a:cubicBezTo>
                    <a:cubicBezTo>
                      <a:pt x="46" y="18"/>
                      <a:pt x="44" y="14"/>
                      <a:pt x="37" y="14"/>
                    </a:cubicBezTo>
                    <a:cubicBezTo>
                      <a:pt x="31" y="14"/>
                      <a:pt x="26" y="17"/>
                      <a:pt x="19" y="22"/>
                    </a:cubicBezTo>
                    <a:cubicBezTo>
                      <a:pt x="19" y="75"/>
                      <a:pt x="19" y="75"/>
                      <a:pt x="19" y="75"/>
                    </a:cubicBezTo>
                    <a:cubicBezTo>
                      <a:pt x="0" y="75"/>
                      <a:pt x="0" y="75"/>
                      <a:pt x="0" y="75"/>
                    </a:cubicBez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8" name="Freeform 10"/>
              <p:cNvSpPr>
                <a:spLocks noEditPoints="1"/>
              </p:cNvSpPr>
              <p:nvPr userDrawn="1"/>
            </p:nvSpPr>
            <p:spPr bwMode="auto">
              <a:xfrm>
                <a:off x="852488" y="4656138"/>
                <a:ext cx="87313" cy="98425"/>
              </a:xfrm>
              <a:custGeom>
                <a:avLst/>
                <a:gdLst>
                  <a:gd name="T0" fmla="*/ 2147483647 w 67"/>
                  <a:gd name="T1" fmla="*/ 2147483647 h 76"/>
                  <a:gd name="T2" fmla="*/ 0 w 67"/>
                  <a:gd name="T3" fmla="*/ 2147483647 h 76"/>
                  <a:gd name="T4" fmla="*/ 2147483647 w 67"/>
                  <a:gd name="T5" fmla="*/ 0 h 76"/>
                  <a:gd name="T6" fmla="*/ 2147483647 w 67"/>
                  <a:gd name="T7" fmla="*/ 2147483647 h 76"/>
                  <a:gd name="T8" fmla="*/ 2147483647 w 67"/>
                  <a:gd name="T9" fmla="*/ 2147483647 h 76"/>
                  <a:gd name="T10" fmla="*/ 2147483647 w 67"/>
                  <a:gd name="T11" fmla="*/ 2147483647 h 76"/>
                  <a:gd name="T12" fmla="*/ 2147483647 w 67"/>
                  <a:gd name="T13" fmla="*/ 2147483647 h 76"/>
                  <a:gd name="T14" fmla="*/ 2147483647 w 67"/>
                  <a:gd name="T15" fmla="*/ 2147483647 h 76"/>
                  <a:gd name="T16" fmla="*/ 2147483647 w 67"/>
                  <a:gd name="T17" fmla="*/ 2147483647 h 76"/>
                  <a:gd name="T18" fmla="*/ 2147483647 w 67"/>
                  <a:gd name="T19" fmla="*/ 2147483647 h 76"/>
                  <a:gd name="T20" fmla="*/ 2147483647 w 67"/>
                  <a:gd name="T21" fmla="*/ 2147483647 h 76"/>
                  <a:gd name="T22" fmla="*/ 2147483647 w 67"/>
                  <a:gd name="T23" fmla="*/ 2147483647 h 76"/>
                  <a:gd name="T24" fmla="*/ 2147483647 w 67"/>
                  <a:gd name="T25" fmla="*/ 2147483647 h 76"/>
                  <a:gd name="T26" fmla="*/ 2147483647 w 67"/>
                  <a:gd name="T27" fmla="*/ 2147483647 h 7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7" h="76">
                    <a:moveTo>
                      <a:pt x="34" y="76"/>
                    </a:moveTo>
                    <a:cubicBezTo>
                      <a:pt x="13" y="76"/>
                      <a:pt x="0" y="62"/>
                      <a:pt x="0" y="38"/>
                    </a:cubicBezTo>
                    <a:cubicBezTo>
                      <a:pt x="0" y="14"/>
                      <a:pt x="13" y="0"/>
                      <a:pt x="34" y="0"/>
                    </a:cubicBezTo>
                    <a:cubicBezTo>
                      <a:pt x="55" y="0"/>
                      <a:pt x="67" y="14"/>
                      <a:pt x="67" y="37"/>
                    </a:cubicBezTo>
                    <a:cubicBezTo>
                      <a:pt x="67" y="39"/>
                      <a:pt x="67" y="40"/>
                      <a:pt x="67" y="41"/>
                    </a:cubicBezTo>
                    <a:cubicBezTo>
                      <a:pt x="19" y="41"/>
                      <a:pt x="19" y="41"/>
                      <a:pt x="19" y="41"/>
                    </a:cubicBezTo>
                    <a:cubicBezTo>
                      <a:pt x="19" y="55"/>
                      <a:pt x="24" y="62"/>
                      <a:pt x="36" y="62"/>
                    </a:cubicBezTo>
                    <a:cubicBezTo>
                      <a:pt x="43" y="62"/>
                      <a:pt x="48" y="59"/>
                      <a:pt x="52" y="53"/>
                    </a:cubicBezTo>
                    <a:cubicBezTo>
                      <a:pt x="67" y="60"/>
                      <a:pt x="67" y="60"/>
                      <a:pt x="67" y="60"/>
                    </a:cubicBezTo>
                    <a:cubicBezTo>
                      <a:pt x="60" y="71"/>
                      <a:pt x="49" y="76"/>
                      <a:pt x="34" y="76"/>
                    </a:cubicBezTo>
                    <a:close/>
                    <a:moveTo>
                      <a:pt x="49" y="29"/>
                    </a:moveTo>
                    <a:cubicBezTo>
                      <a:pt x="49" y="19"/>
                      <a:pt x="43" y="13"/>
                      <a:pt x="34" y="13"/>
                    </a:cubicBezTo>
                    <a:cubicBezTo>
                      <a:pt x="25" y="13"/>
                      <a:pt x="20" y="19"/>
                      <a:pt x="19" y="29"/>
                    </a:cubicBezTo>
                    <a:lnTo>
                      <a:pt x="49" y="2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9" name="Freeform 11"/>
              <p:cNvSpPr>
                <a:spLocks noEditPoints="1"/>
              </p:cNvSpPr>
              <p:nvPr userDrawn="1"/>
            </p:nvSpPr>
            <p:spPr bwMode="auto">
              <a:xfrm>
                <a:off x="376238" y="4656138"/>
                <a:ext cx="93663" cy="100013"/>
              </a:xfrm>
              <a:custGeom>
                <a:avLst/>
                <a:gdLst>
                  <a:gd name="T0" fmla="*/ 2147483647 w 73"/>
                  <a:gd name="T1" fmla="*/ 2147483647 h 77"/>
                  <a:gd name="T2" fmla="*/ 0 w 73"/>
                  <a:gd name="T3" fmla="*/ 2147483647 h 77"/>
                  <a:gd name="T4" fmla="*/ 2147483647 w 73"/>
                  <a:gd name="T5" fmla="*/ 0 h 77"/>
                  <a:gd name="T6" fmla="*/ 2147483647 w 73"/>
                  <a:gd name="T7" fmla="*/ 2147483647 h 77"/>
                  <a:gd name="T8" fmla="*/ 2147483647 w 73"/>
                  <a:gd name="T9" fmla="*/ 2147483647 h 77"/>
                  <a:gd name="T10" fmla="*/ 2147483647 w 73"/>
                  <a:gd name="T11" fmla="*/ 2147483647 h 77"/>
                  <a:gd name="T12" fmla="*/ 2147483647 w 73"/>
                  <a:gd name="T13" fmla="*/ 2147483647 h 77"/>
                  <a:gd name="T14" fmla="*/ 2147483647 w 73"/>
                  <a:gd name="T15" fmla="*/ 2147483647 h 77"/>
                  <a:gd name="T16" fmla="*/ 2147483647 w 73"/>
                  <a:gd name="T17" fmla="*/ 2147483647 h 77"/>
                  <a:gd name="T18" fmla="*/ 2147483647 w 73"/>
                  <a:gd name="T19" fmla="*/ 2147483647 h 7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73" h="77">
                    <a:moveTo>
                      <a:pt x="36" y="77"/>
                    </a:moveTo>
                    <a:cubicBezTo>
                      <a:pt x="17" y="77"/>
                      <a:pt x="0" y="65"/>
                      <a:pt x="0" y="38"/>
                    </a:cubicBezTo>
                    <a:cubicBezTo>
                      <a:pt x="0" y="12"/>
                      <a:pt x="17" y="0"/>
                      <a:pt x="36" y="0"/>
                    </a:cubicBezTo>
                    <a:cubicBezTo>
                      <a:pt x="55" y="0"/>
                      <a:pt x="73" y="12"/>
                      <a:pt x="73" y="38"/>
                    </a:cubicBezTo>
                    <a:cubicBezTo>
                      <a:pt x="73" y="65"/>
                      <a:pt x="55" y="77"/>
                      <a:pt x="36" y="77"/>
                    </a:cubicBezTo>
                    <a:close/>
                    <a:moveTo>
                      <a:pt x="36" y="16"/>
                    </a:moveTo>
                    <a:cubicBezTo>
                      <a:pt x="22" y="16"/>
                      <a:pt x="19" y="29"/>
                      <a:pt x="19" y="38"/>
                    </a:cubicBezTo>
                    <a:cubicBezTo>
                      <a:pt x="19" y="48"/>
                      <a:pt x="22" y="61"/>
                      <a:pt x="36" y="61"/>
                    </a:cubicBezTo>
                    <a:cubicBezTo>
                      <a:pt x="51" y="61"/>
                      <a:pt x="53" y="48"/>
                      <a:pt x="53" y="38"/>
                    </a:cubicBezTo>
                    <a:cubicBezTo>
                      <a:pt x="53" y="29"/>
                      <a:pt x="51" y="16"/>
                      <a:pt x="36" y="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30" name="Freeform 12"/>
              <p:cNvSpPr>
                <a:spLocks/>
              </p:cNvSpPr>
              <p:nvPr userDrawn="1"/>
            </p:nvSpPr>
            <p:spPr bwMode="auto">
              <a:xfrm>
                <a:off x="485775" y="4656138"/>
                <a:ext cx="53975" cy="96838"/>
              </a:xfrm>
              <a:custGeom>
                <a:avLst/>
                <a:gdLst>
                  <a:gd name="T0" fmla="*/ 0 w 41"/>
                  <a:gd name="T1" fmla="*/ 2147483647 h 75"/>
                  <a:gd name="T2" fmla="*/ 2147483647 w 41"/>
                  <a:gd name="T3" fmla="*/ 2147483647 h 75"/>
                  <a:gd name="T4" fmla="*/ 2147483647 w 41"/>
                  <a:gd name="T5" fmla="*/ 2147483647 h 75"/>
                  <a:gd name="T6" fmla="*/ 2147483647 w 41"/>
                  <a:gd name="T7" fmla="*/ 0 h 75"/>
                  <a:gd name="T8" fmla="*/ 2147483647 w 41"/>
                  <a:gd name="T9" fmla="*/ 0 h 75"/>
                  <a:gd name="T10" fmla="*/ 2147483647 w 41"/>
                  <a:gd name="T11" fmla="*/ 2147483647 h 75"/>
                  <a:gd name="T12" fmla="*/ 2147483647 w 41"/>
                  <a:gd name="T13" fmla="*/ 2147483647 h 75"/>
                  <a:gd name="T14" fmla="*/ 2147483647 w 41"/>
                  <a:gd name="T15" fmla="*/ 2147483647 h 75"/>
                  <a:gd name="T16" fmla="*/ 2147483647 w 41"/>
                  <a:gd name="T17" fmla="*/ 2147483647 h 75"/>
                  <a:gd name="T18" fmla="*/ 0 w 41"/>
                  <a:gd name="T19" fmla="*/ 2147483647 h 75"/>
                  <a:gd name="T20" fmla="*/ 0 w 41"/>
                  <a:gd name="T21" fmla="*/ 2147483647 h 7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41" h="75">
                    <a:moveTo>
                      <a:pt x="0" y="2"/>
                    </a:moveTo>
                    <a:cubicBezTo>
                      <a:pt x="18" y="2"/>
                      <a:pt x="18" y="2"/>
                      <a:pt x="18" y="2"/>
                    </a:cubicBezTo>
                    <a:cubicBezTo>
                      <a:pt x="18" y="10"/>
                      <a:pt x="18" y="10"/>
                      <a:pt x="18" y="10"/>
                    </a:cubicBezTo>
                    <a:cubicBezTo>
                      <a:pt x="22" y="6"/>
                      <a:pt x="30" y="0"/>
                      <a:pt x="38" y="0"/>
                    </a:cubicBezTo>
                    <a:cubicBezTo>
                      <a:pt x="39" y="0"/>
                      <a:pt x="40" y="0"/>
                      <a:pt x="41" y="0"/>
                    </a:cubicBezTo>
                    <a:cubicBezTo>
                      <a:pt x="41" y="18"/>
                      <a:pt x="41" y="18"/>
                      <a:pt x="41" y="18"/>
                    </a:cubicBezTo>
                    <a:cubicBezTo>
                      <a:pt x="40" y="18"/>
                      <a:pt x="40" y="18"/>
                      <a:pt x="40" y="18"/>
                    </a:cubicBezTo>
                    <a:cubicBezTo>
                      <a:pt x="31" y="18"/>
                      <a:pt x="22" y="20"/>
                      <a:pt x="19" y="26"/>
                    </a:cubicBezTo>
                    <a:cubicBezTo>
                      <a:pt x="19" y="75"/>
                      <a:pt x="19" y="75"/>
                      <a:pt x="19" y="75"/>
                    </a:cubicBezTo>
                    <a:cubicBezTo>
                      <a:pt x="0" y="75"/>
                      <a:pt x="0" y="75"/>
                      <a:pt x="0" y="75"/>
                    </a:cubicBez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31" name="Freeform 13"/>
              <p:cNvSpPr>
                <a:spLocks noEditPoints="1"/>
              </p:cNvSpPr>
              <p:nvPr userDrawn="1"/>
            </p:nvSpPr>
            <p:spPr bwMode="auto">
              <a:xfrm>
                <a:off x="749300" y="4656138"/>
                <a:ext cx="88900" cy="133350"/>
              </a:xfrm>
              <a:custGeom>
                <a:avLst/>
                <a:gdLst>
                  <a:gd name="T0" fmla="*/ 2147483647 w 68"/>
                  <a:gd name="T1" fmla="*/ 2147483647 h 103"/>
                  <a:gd name="T2" fmla="*/ 2147483647 w 68"/>
                  <a:gd name="T3" fmla="*/ 2147483647 h 103"/>
                  <a:gd name="T4" fmla="*/ 2147483647 w 68"/>
                  <a:gd name="T5" fmla="*/ 2147483647 h 103"/>
                  <a:gd name="T6" fmla="*/ 2147483647 w 68"/>
                  <a:gd name="T7" fmla="*/ 2147483647 h 103"/>
                  <a:gd name="T8" fmla="*/ 2147483647 w 68"/>
                  <a:gd name="T9" fmla="*/ 2147483647 h 103"/>
                  <a:gd name="T10" fmla="*/ 2147483647 w 68"/>
                  <a:gd name="T11" fmla="*/ 2147483647 h 103"/>
                  <a:gd name="T12" fmla="*/ 2147483647 w 68"/>
                  <a:gd name="T13" fmla="*/ 2147483647 h 103"/>
                  <a:gd name="T14" fmla="*/ 2147483647 w 68"/>
                  <a:gd name="T15" fmla="*/ 2147483647 h 103"/>
                  <a:gd name="T16" fmla="*/ 2147483647 w 68"/>
                  <a:gd name="T17" fmla="*/ 2147483647 h 103"/>
                  <a:gd name="T18" fmla="*/ 2147483647 w 68"/>
                  <a:gd name="T19" fmla="*/ 2147483647 h 103"/>
                  <a:gd name="T20" fmla="*/ 2147483647 w 68"/>
                  <a:gd name="T21" fmla="*/ 2147483647 h 103"/>
                  <a:gd name="T22" fmla="*/ 2147483647 w 68"/>
                  <a:gd name="T23" fmla="*/ 2147483647 h 103"/>
                  <a:gd name="T24" fmla="*/ 2147483647 w 68"/>
                  <a:gd name="T25" fmla="*/ 2147483647 h 103"/>
                  <a:gd name="T26" fmla="*/ 2147483647 w 68"/>
                  <a:gd name="T27" fmla="*/ 2147483647 h 103"/>
                  <a:gd name="T28" fmla="*/ 2147483647 w 68"/>
                  <a:gd name="T29" fmla="*/ 2147483647 h 103"/>
                  <a:gd name="T30" fmla="*/ 0 w 68"/>
                  <a:gd name="T31" fmla="*/ 2147483647 h 103"/>
                  <a:gd name="T32" fmla="*/ 2147483647 w 68"/>
                  <a:gd name="T33" fmla="*/ 0 h 103"/>
                  <a:gd name="T34" fmla="*/ 2147483647 w 68"/>
                  <a:gd name="T35" fmla="*/ 2147483647 h 103"/>
                  <a:gd name="T36" fmla="*/ 2147483647 w 68"/>
                  <a:gd name="T37" fmla="*/ 2147483647 h 103"/>
                  <a:gd name="T38" fmla="*/ 2147483647 w 68"/>
                  <a:gd name="T39" fmla="*/ 2147483647 h 103"/>
                  <a:gd name="T40" fmla="*/ 2147483647 w 68"/>
                  <a:gd name="T41" fmla="*/ 2147483647 h 103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68" h="103">
                    <a:moveTo>
                      <a:pt x="34" y="59"/>
                    </a:moveTo>
                    <a:cubicBezTo>
                      <a:pt x="48" y="59"/>
                      <a:pt x="50" y="44"/>
                      <a:pt x="50" y="35"/>
                    </a:cubicBezTo>
                    <a:cubicBezTo>
                      <a:pt x="50" y="23"/>
                      <a:pt x="44" y="14"/>
                      <a:pt x="34" y="14"/>
                    </a:cubicBezTo>
                    <a:cubicBezTo>
                      <a:pt x="27" y="14"/>
                      <a:pt x="19" y="19"/>
                      <a:pt x="19" y="35"/>
                    </a:cubicBezTo>
                    <a:cubicBezTo>
                      <a:pt x="19" y="44"/>
                      <a:pt x="20" y="59"/>
                      <a:pt x="34" y="59"/>
                    </a:cubicBezTo>
                    <a:close/>
                    <a:moveTo>
                      <a:pt x="68" y="1"/>
                    </a:moveTo>
                    <a:cubicBezTo>
                      <a:pt x="68" y="71"/>
                      <a:pt x="68" y="71"/>
                      <a:pt x="68" y="71"/>
                    </a:cubicBezTo>
                    <a:cubicBezTo>
                      <a:pt x="68" y="83"/>
                      <a:pt x="67" y="103"/>
                      <a:pt x="32" y="103"/>
                    </a:cubicBezTo>
                    <a:cubicBezTo>
                      <a:pt x="18" y="103"/>
                      <a:pt x="5" y="98"/>
                      <a:pt x="2" y="85"/>
                    </a:cubicBezTo>
                    <a:cubicBezTo>
                      <a:pt x="21" y="82"/>
                      <a:pt x="21" y="82"/>
                      <a:pt x="21" y="82"/>
                    </a:cubicBezTo>
                    <a:cubicBezTo>
                      <a:pt x="22" y="86"/>
                      <a:pt x="24" y="89"/>
                      <a:pt x="35" y="89"/>
                    </a:cubicBezTo>
                    <a:cubicBezTo>
                      <a:pt x="45" y="89"/>
                      <a:pt x="49" y="84"/>
                      <a:pt x="49" y="73"/>
                    </a:cubicBezTo>
                    <a:cubicBezTo>
                      <a:pt x="49" y="65"/>
                      <a:pt x="49" y="65"/>
                      <a:pt x="49" y="65"/>
                    </a:cubicBezTo>
                    <a:cubicBezTo>
                      <a:pt x="49" y="64"/>
                      <a:pt x="49" y="64"/>
                      <a:pt x="49" y="64"/>
                    </a:cubicBezTo>
                    <a:cubicBezTo>
                      <a:pt x="46" y="70"/>
                      <a:pt x="41" y="75"/>
                      <a:pt x="30" y="75"/>
                    </a:cubicBezTo>
                    <a:cubicBezTo>
                      <a:pt x="13" y="75"/>
                      <a:pt x="0" y="63"/>
                      <a:pt x="0" y="38"/>
                    </a:cubicBezTo>
                    <a:cubicBezTo>
                      <a:pt x="0" y="14"/>
                      <a:pt x="14" y="0"/>
                      <a:pt x="29" y="0"/>
                    </a:cubicBezTo>
                    <a:cubicBezTo>
                      <a:pt x="44" y="0"/>
                      <a:pt x="49" y="7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2" y="1"/>
                      <a:pt x="52" y="1"/>
                      <a:pt x="52" y="1"/>
                    </a:cubicBezTo>
                    <a:lnTo>
                      <a:pt x="68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32" name="Freeform 14"/>
              <p:cNvSpPr>
                <a:spLocks noEditPoints="1"/>
              </p:cNvSpPr>
              <p:nvPr userDrawn="1"/>
            </p:nvSpPr>
            <p:spPr bwMode="auto">
              <a:xfrm>
                <a:off x="925513" y="4622801"/>
                <a:ext cx="65088" cy="30163"/>
              </a:xfrm>
              <a:custGeom>
                <a:avLst/>
                <a:gdLst>
                  <a:gd name="T0" fmla="*/ 2147483647 w 41"/>
                  <a:gd name="T1" fmla="*/ 2147483647 h 19"/>
                  <a:gd name="T2" fmla="*/ 2147483647 w 41"/>
                  <a:gd name="T3" fmla="*/ 2147483647 h 19"/>
                  <a:gd name="T4" fmla="*/ 2147483647 w 41"/>
                  <a:gd name="T5" fmla="*/ 2147483647 h 19"/>
                  <a:gd name="T6" fmla="*/ 2147483647 w 41"/>
                  <a:gd name="T7" fmla="*/ 2147483647 h 19"/>
                  <a:gd name="T8" fmla="*/ 2147483647 w 41"/>
                  <a:gd name="T9" fmla="*/ 2147483647 h 19"/>
                  <a:gd name="T10" fmla="*/ 0 w 41"/>
                  <a:gd name="T11" fmla="*/ 2147483647 h 19"/>
                  <a:gd name="T12" fmla="*/ 0 w 41"/>
                  <a:gd name="T13" fmla="*/ 0 h 19"/>
                  <a:gd name="T14" fmla="*/ 2147483647 w 41"/>
                  <a:gd name="T15" fmla="*/ 0 h 19"/>
                  <a:gd name="T16" fmla="*/ 2147483647 w 41"/>
                  <a:gd name="T17" fmla="*/ 2147483647 h 19"/>
                  <a:gd name="T18" fmla="*/ 2147483647 w 41"/>
                  <a:gd name="T19" fmla="*/ 2147483647 h 19"/>
                  <a:gd name="T20" fmla="*/ 2147483647 w 41"/>
                  <a:gd name="T21" fmla="*/ 2147483647 h 19"/>
                  <a:gd name="T22" fmla="*/ 2147483647 w 41"/>
                  <a:gd name="T23" fmla="*/ 2147483647 h 19"/>
                  <a:gd name="T24" fmla="*/ 2147483647 w 41"/>
                  <a:gd name="T25" fmla="*/ 2147483647 h 19"/>
                  <a:gd name="T26" fmla="*/ 2147483647 w 41"/>
                  <a:gd name="T27" fmla="*/ 2147483647 h 19"/>
                  <a:gd name="T28" fmla="*/ 2147483647 w 41"/>
                  <a:gd name="T29" fmla="*/ 2147483647 h 19"/>
                  <a:gd name="T30" fmla="*/ 2147483647 w 41"/>
                  <a:gd name="T31" fmla="*/ 2147483647 h 19"/>
                  <a:gd name="T32" fmla="*/ 2147483647 w 41"/>
                  <a:gd name="T33" fmla="*/ 2147483647 h 19"/>
                  <a:gd name="T34" fmla="*/ 2147483647 w 41"/>
                  <a:gd name="T35" fmla="*/ 2147483647 h 19"/>
                  <a:gd name="T36" fmla="*/ 2147483647 w 41"/>
                  <a:gd name="T37" fmla="*/ 2147483647 h 19"/>
                  <a:gd name="T38" fmla="*/ 2147483647 w 41"/>
                  <a:gd name="T39" fmla="*/ 0 h 19"/>
                  <a:gd name="T40" fmla="*/ 2147483647 w 41"/>
                  <a:gd name="T41" fmla="*/ 0 h 19"/>
                  <a:gd name="T42" fmla="*/ 2147483647 w 41"/>
                  <a:gd name="T43" fmla="*/ 2147483647 h 19"/>
                  <a:gd name="T44" fmla="*/ 2147483647 w 41"/>
                  <a:gd name="T45" fmla="*/ 0 h 19"/>
                  <a:gd name="T46" fmla="*/ 2147483647 w 41"/>
                  <a:gd name="T47" fmla="*/ 0 h 19"/>
                  <a:gd name="T48" fmla="*/ 2147483647 w 41"/>
                  <a:gd name="T49" fmla="*/ 2147483647 h 19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1" h="19">
                    <a:moveTo>
                      <a:pt x="15" y="2"/>
                    </a:moveTo>
                    <a:lnTo>
                      <a:pt x="9" y="2"/>
                    </a:lnTo>
                    <a:lnTo>
                      <a:pt x="9" y="19"/>
                    </a:lnTo>
                    <a:lnTo>
                      <a:pt x="5" y="19"/>
                    </a:lnTo>
                    <a:lnTo>
                      <a:pt x="5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15" y="2"/>
                    </a:lnTo>
                    <a:close/>
                    <a:moveTo>
                      <a:pt x="41" y="19"/>
                    </a:moveTo>
                    <a:lnTo>
                      <a:pt x="38" y="19"/>
                    </a:lnTo>
                    <a:lnTo>
                      <a:pt x="38" y="3"/>
                    </a:lnTo>
                    <a:lnTo>
                      <a:pt x="37" y="3"/>
                    </a:lnTo>
                    <a:lnTo>
                      <a:pt x="31" y="19"/>
                    </a:lnTo>
                    <a:lnTo>
                      <a:pt x="29" y="19"/>
                    </a:lnTo>
                    <a:lnTo>
                      <a:pt x="22" y="3"/>
                    </a:lnTo>
                    <a:lnTo>
                      <a:pt x="22" y="19"/>
                    </a:lnTo>
                    <a:lnTo>
                      <a:pt x="19" y="19"/>
                    </a:lnTo>
                    <a:lnTo>
                      <a:pt x="19" y="0"/>
                    </a:lnTo>
                    <a:lnTo>
                      <a:pt x="24" y="0"/>
                    </a:lnTo>
                    <a:lnTo>
                      <a:pt x="30" y="15"/>
                    </a:lnTo>
                    <a:lnTo>
                      <a:pt x="35" y="0"/>
                    </a:lnTo>
                    <a:lnTo>
                      <a:pt x="41" y="0"/>
                    </a:lnTo>
                    <a:lnTo>
                      <a:pt x="41" y="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</p:grpSp>
        <p:grpSp>
          <p:nvGrpSpPr>
            <p:cNvPr id="8" name="Group 61"/>
            <p:cNvGrpSpPr>
              <a:grpSpLocks/>
            </p:cNvGrpSpPr>
            <p:nvPr userDrawn="1"/>
          </p:nvGrpSpPr>
          <p:grpSpPr bwMode="auto">
            <a:xfrm>
              <a:off x="1173163" y="4383088"/>
              <a:ext cx="1039813" cy="431800"/>
              <a:chOff x="1173163" y="4383088"/>
              <a:chExt cx="1039813" cy="431800"/>
            </a:xfrm>
          </p:grpSpPr>
          <p:sp>
            <p:nvSpPr>
              <p:cNvPr id="9" name="Freeform 15"/>
              <p:cNvSpPr>
                <a:spLocks noEditPoints="1"/>
              </p:cNvSpPr>
              <p:nvPr userDrawn="1"/>
            </p:nvSpPr>
            <p:spPr bwMode="auto">
              <a:xfrm>
                <a:off x="1184275" y="4383088"/>
                <a:ext cx="149225" cy="177800"/>
              </a:xfrm>
              <a:custGeom>
                <a:avLst/>
                <a:gdLst>
                  <a:gd name="T0" fmla="*/ 2147483647 w 116"/>
                  <a:gd name="T1" fmla="*/ 0 h 138"/>
                  <a:gd name="T2" fmla="*/ 2147483647 w 116"/>
                  <a:gd name="T3" fmla="*/ 2147483647 h 138"/>
                  <a:gd name="T4" fmla="*/ 2147483647 w 116"/>
                  <a:gd name="T5" fmla="*/ 2147483647 h 138"/>
                  <a:gd name="T6" fmla="*/ 2147483647 w 116"/>
                  <a:gd name="T7" fmla="*/ 2147483647 h 138"/>
                  <a:gd name="T8" fmla="*/ 2147483647 w 116"/>
                  <a:gd name="T9" fmla="*/ 2147483647 h 138"/>
                  <a:gd name="T10" fmla="*/ 2147483647 w 116"/>
                  <a:gd name="T11" fmla="*/ 2147483647 h 138"/>
                  <a:gd name="T12" fmla="*/ 2147483647 w 116"/>
                  <a:gd name="T13" fmla="*/ 2147483647 h 138"/>
                  <a:gd name="T14" fmla="*/ 2147483647 w 116"/>
                  <a:gd name="T15" fmla="*/ 2147483647 h 138"/>
                  <a:gd name="T16" fmla="*/ 2147483647 w 116"/>
                  <a:gd name="T17" fmla="*/ 2147483647 h 138"/>
                  <a:gd name="T18" fmla="*/ 2147483647 w 116"/>
                  <a:gd name="T19" fmla="*/ 2147483647 h 138"/>
                  <a:gd name="T20" fmla="*/ 2147483647 w 116"/>
                  <a:gd name="T21" fmla="*/ 2147483647 h 138"/>
                  <a:gd name="T22" fmla="*/ 2147483647 w 116"/>
                  <a:gd name="T23" fmla="*/ 2147483647 h 138"/>
                  <a:gd name="T24" fmla="*/ 2147483647 w 116"/>
                  <a:gd name="T25" fmla="*/ 2147483647 h 138"/>
                  <a:gd name="T26" fmla="*/ 0 w 116"/>
                  <a:gd name="T27" fmla="*/ 2147483647 h 138"/>
                  <a:gd name="T28" fmla="*/ 0 w 116"/>
                  <a:gd name="T29" fmla="*/ 0 h 138"/>
                  <a:gd name="T30" fmla="*/ 2147483647 w 116"/>
                  <a:gd name="T31" fmla="*/ 0 h 138"/>
                  <a:gd name="T32" fmla="*/ 2147483647 w 116"/>
                  <a:gd name="T33" fmla="*/ 2147483647 h 138"/>
                  <a:gd name="T34" fmla="*/ 2147483647 w 116"/>
                  <a:gd name="T35" fmla="*/ 2147483647 h 138"/>
                  <a:gd name="T36" fmla="*/ 2147483647 w 116"/>
                  <a:gd name="T37" fmla="*/ 2147483647 h 138"/>
                  <a:gd name="T38" fmla="*/ 2147483647 w 116"/>
                  <a:gd name="T39" fmla="*/ 2147483647 h 138"/>
                  <a:gd name="T40" fmla="*/ 2147483647 w 116"/>
                  <a:gd name="T41" fmla="*/ 2147483647 h 138"/>
                  <a:gd name="T42" fmla="*/ 2147483647 w 116"/>
                  <a:gd name="T43" fmla="*/ 2147483647 h 138"/>
                  <a:gd name="T44" fmla="*/ 2147483647 w 116"/>
                  <a:gd name="T45" fmla="*/ 2147483647 h 138"/>
                  <a:gd name="T46" fmla="*/ 2147483647 w 116"/>
                  <a:gd name="T47" fmla="*/ 2147483647 h 138"/>
                  <a:gd name="T48" fmla="*/ 2147483647 w 116"/>
                  <a:gd name="T49" fmla="*/ 2147483647 h 138"/>
                  <a:gd name="T50" fmla="*/ 2147483647 w 116"/>
                  <a:gd name="T51" fmla="*/ 2147483647 h 138"/>
                  <a:gd name="T52" fmla="*/ 2147483647 w 116"/>
                  <a:gd name="T53" fmla="*/ 2147483647 h 138"/>
                  <a:gd name="T54" fmla="*/ 2147483647 w 116"/>
                  <a:gd name="T55" fmla="*/ 2147483647 h 138"/>
                  <a:gd name="T56" fmla="*/ 2147483647 w 116"/>
                  <a:gd name="T57" fmla="*/ 2147483647 h 138"/>
                  <a:gd name="T58" fmla="*/ 2147483647 w 116"/>
                  <a:gd name="T59" fmla="*/ 2147483647 h 138"/>
                  <a:gd name="T60" fmla="*/ 2147483647 w 116"/>
                  <a:gd name="T61" fmla="*/ 2147483647 h 138"/>
                  <a:gd name="T62" fmla="*/ 2147483647 w 116"/>
                  <a:gd name="T63" fmla="*/ 2147483647 h 138"/>
                  <a:gd name="T64" fmla="*/ 2147483647 w 116"/>
                  <a:gd name="T65" fmla="*/ 2147483647 h 138"/>
                  <a:gd name="T66" fmla="*/ 2147483647 w 116"/>
                  <a:gd name="T67" fmla="*/ 2147483647 h 138"/>
                  <a:gd name="T68" fmla="*/ 2147483647 w 116"/>
                  <a:gd name="T69" fmla="*/ 2147483647 h 138"/>
                  <a:gd name="T70" fmla="*/ 2147483647 w 116"/>
                  <a:gd name="T71" fmla="*/ 2147483647 h 13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116" h="138">
                    <a:moveTo>
                      <a:pt x="65" y="0"/>
                    </a:moveTo>
                    <a:cubicBezTo>
                      <a:pt x="72" y="0"/>
                      <a:pt x="78" y="1"/>
                      <a:pt x="83" y="2"/>
                    </a:cubicBezTo>
                    <a:cubicBezTo>
                      <a:pt x="88" y="3"/>
                      <a:pt x="93" y="5"/>
                      <a:pt x="97" y="7"/>
                    </a:cubicBezTo>
                    <a:cubicBezTo>
                      <a:pt x="101" y="10"/>
                      <a:pt x="104" y="14"/>
                      <a:pt x="106" y="18"/>
                    </a:cubicBezTo>
                    <a:cubicBezTo>
                      <a:pt x="108" y="22"/>
                      <a:pt x="109" y="28"/>
                      <a:pt x="109" y="34"/>
                    </a:cubicBezTo>
                    <a:cubicBezTo>
                      <a:pt x="109" y="41"/>
                      <a:pt x="107" y="47"/>
                      <a:pt x="104" y="52"/>
                    </a:cubicBezTo>
                    <a:cubicBezTo>
                      <a:pt x="101" y="56"/>
                      <a:pt x="96" y="60"/>
                      <a:pt x="90" y="63"/>
                    </a:cubicBezTo>
                    <a:cubicBezTo>
                      <a:pt x="99" y="66"/>
                      <a:pt x="105" y="70"/>
                      <a:pt x="109" y="76"/>
                    </a:cubicBezTo>
                    <a:cubicBezTo>
                      <a:pt x="114" y="82"/>
                      <a:pt x="116" y="89"/>
                      <a:pt x="116" y="98"/>
                    </a:cubicBezTo>
                    <a:cubicBezTo>
                      <a:pt x="116" y="105"/>
                      <a:pt x="114" y="111"/>
                      <a:pt x="112" y="116"/>
                    </a:cubicBezTo>
                    <a:cubicBezTo>
                      <a:pt x="109" y="121"/>
                      <a:pt x="105" y="126"/>
                      <a:pt x="101" y="129"/>
                    </a:cubicBezTo>
                    <a:cubicBezTo>
                      <a:pt x="96" y="132"/>
                      <a:pt x="91" y="134"/>
                      <a:pt x="85" y="136"/>
                    </a:cubicBezTo>
                    <a:cubicBezTo>
                      <a:pt x="79" y="137"/>
                      <a:pt x="73" y="138"/>
                      <a:pt x="67" y="138"/>
                    </a:cubicBezTo>
                    <a:cubicBezTo>
                      <a:pt x="0" y="138"/>
                      <a:pt x="0" y="138"/>
                      <a:pt x="0" y="138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65" y="0"/>
                    </a:lnTo>
                    <a:close/>
                    <a:moveTo>
                      <a:pt x="61" y="56"/>
                    </a:moveTo>
                    <a:cubicBezTo>
                      <a:pt x="66" y="56"/>
                      <a:pt x="71" y="55"/>
                      <a:pt x="74" y="52"/>
                    </a:cubicBezTo>
                    <a:cubicBezTo>
                      <a:pt x="78" y="49"/>
                      <a:pt x="80" y="45"/>
                      <a:pt x="80" y="39"/>
                    </a:cubicBezTo>
                    <a:cubicBezTo>
                      <a:pt x="80" y="36"/>
                      <a:pt x="79" y="34"/>
                      <a:pt x="78" y="32"/>
                    </a:cubicBezTo>
                    <a:cubicBezTo>
                      <a:pt x="77" y="29"/>
                      <a:pt x="75" y="28"/>
                      <a:pt x="73" y="27"/>
                    </a:cubicBezTo>
                    <a:cubicBezTo>
                      <a:pt x="71" y="26"/>
                      <a:pt x="69" y="25"/>
                      <a:pt x="67" y="24"/>
                    </a:cubicBezTo>
                    <a:cubicBezTo>
                      <a:pt x="64" y="24"/>
                      <a:pt x="61" y="24"/>
                      <a:pt x="59" y="24"/>
                    </a:cubicBezTo>
                    <a:cubicBezTo>
                      <a:pt x="30" y="24"/>
                      <a:pt x="30" y="24"/>
                      <a:pt x="30" y="24"/>
                    </a:cubicBezTo>
                    <a:cubicBezTo>
                      <a:pt x="30" y="56"/>
                      <a:pt x="30" y="56"/>
                      <a:pt x="30" y="56"/>
                    </a:cubicBezTo>
                    <a:lnTo>
                      <a:pt x="61" y="56"/>
                    </a:lnTo>
                    <a:close/>
                    <a:moveTo>
                      <a:pt x="63" y="115"/>
                    </a:moveTo>
                    <a:cubicBezTo>
                      <a:pt x="66" y="115"/>
                      <a:pt x="69" y="114"/>
                      <a:pt x="71" y="114"/>
                    </a:cubicBezTo>
                    <a:cubicBezTo>
                      <a:pt x="74" y="113"/>
                      <a:pt x="76" y="112"/>
                      <a:pt x="78" y="111"/>
                    </a:cubicBezTo>
                    <a:cubicBezTo>
                      <a:pt x="81" y="109"/>
                      <a:pt x="82" y="108"/>
                      <a:pt x="83" y="105"/>
                    </a:cubicBezTo>
                    <a:cubicBezTo>
                      <a:pt x="85" y="103"/>
                      <a:pt x="85" y="100"/>
                      <a:pt x="85" y="96"/>
                    </a:cubicBezTo>
                    <a:cubicBezTo>
                      <a:pt x="85" y="89"/>
                      <a:pt x="83" y="84"/>
                      <a:pt x="79" y="81"/>
                    </a:cubicBezTo>
                    <a:cubicBezTo>
                      <a:pt x="75" y="78"/>
                      <a:pt x="70" y="77"/>
                      <a:pt x="63" y="77"/>
                    </a:cubicBezTo>
                    <a:cubicBezTo>
                      <a:pt x="30" y="77"/>
                      <a:pt x="30" y="77"/>
                      <a:pt x="30" y="77"/>
                    </a:cubicBezTo>
                    <a:cubicBezTo>
                      <a:pt x="30" y="115"/>
                      <a:pt x="30" y="115"/>
                      <a:pt x="30" y="115"/>
                    </a:cubicBezTo>
                    <a:lnTo>
                      <a:pt x="63" y="11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0" name="Freeform 16"/>
              <p:cNvSpPr>
                <a:spLocks/>
              </p:cNvSpPr>
              <p:nvPr userDrawn="1"/>
            </p:nvSpPr>
            <p:spPr bwMode="auto">
              <a:xfrm>
                <a:off x="1352550" y="4432301"/>
                <a:ext cx="120650" cy="131763"/>
              </a:xfrm>
              <a:custGeom>
                <a:avLst/>
                <a:gdLst>
                  <a:gd name="T0" fmla="*/ 2147483647 w 94"/>
                  <a:gd name="T1" fmla="*/ 2147483647 h 103"/>
                  <a:gd name="T2" fmla="*/ 2147483647 w 94"/>
                  <a:gd name="T3" fmla="*/ 2147483647 h 103"/>
                  <a:gd name="T4" fmla="*/ 2147483647 w 94"/>
                  <a:gd name="T5" fmla="*/ 2147483647 h 103"/>
                  <a:gd name="T6" fmla="*/ 2147483647 w 94"/>
                  <a:gd name="T7" fmla="*/ 2147483647 h 103"/>
                  <a:gd name="T8" fmla="*/ 2147483647 w 94"/>
                  <a:gd name="T9" fmla="*/ 2147483647 h 103"/>
                  <a:gd name="T10" fmla="*/ 2147483647 w 94"/>
                  <a:gd name="T11" fmla="*/ 2147483647 h 103"/>
                  <a:gd name="T12" fmla="*/ 2147483647 w 94"/>
                  <a:gd name="T13" fmla="*/ 2147483647 h 103"/>
                  <a:gd name="T14" fmla="*/ 2147483647 w 94"/>
                  <a:gd name="T15" fmla="*/ 2147483647 h 103"/>
                  <a:gd name="T16" fmla="*/ 0 w 94"/>
                  <a:gd name="T17" fmla="*/ 2147483647 h 103"/>
                  <a:gd name="T18" fmla="*/ 0 w 94"/>
                  <a:gd name="T19" fmla="*/ 0 h 103"/>
                  <a:gd name="T20" fmla="*/ 2147483647 w 94"/>
                  <a:gd name="T21" fmla="*/ 0 h 103"/>
                  <a:gd name="T22" fmla="*/ 2147483647 w 94"/>
                  <a:gd name="T23" fmla="*/ 2147483647 h 103"/>
                  <a:gd name="T24" fmla="*/ 2147483647 w 94"/>
                  <a:gd name="T25" fmla="*/ 2147483647 h 103"/>
                  <a:gd name="T26" fmla="*/ 2147483647 w 94"/>
                  <a:gd name="T27" fmla="*/ 2147483647 h 103"/>
                  <a:gd name="T28" fmla="*/ 2147483647 w 94"/>
                  <a:gd name="T29" fmla="*/ 2147483647 h 103"/>
                  <a:gd name="T30" fmla="*/ 2147483647 w 94"/>
                  <a:gd name="T31" fmla="*/ 2147483647 h 103"/>
                  <a:gd name="T32" fmla="*/ 2147483647 w 94"/>
                  <a:gd name="T33" fmla="*/ 0 h 103"/>
                  <a:gd name="T34" fmla="*/ 2147483647 w 94"/>
                  <a:gd name="T35" fmla="*/ 0 h 103"/>
                  <a:gd name="T36" fmla="*/ 2147483647 w 94"/>
                  <a:gd name="T37" fmla="*/ 2147483647 h 103"/>
                  <a:gd name="T38" fmla="*/ 2147483647 w 94"/>
                  <a:gd name="T39" fmla="*/ 2147483647 h 10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94" h="103">
                    <a:moveTo>
                      <a:pt x="68" y="100"/>
                    </a:moveTo>
                    <a:cubicBezTo>
                      <a:pt x="68" y="86"/>
                      <a:pt x="68" y="86"/>
                      <a:pt x="68" y="86"/>
                    </a:cubicBezTo>
                    <a:cubicBezTo>
                      <a:pt x="67" y="86"/>
                      <a:pt x="67" y="86"/>
                      <a:pt x="67" y="86"/>
                    </a:cubicBezTo>
                    <a:cubicBezTo>
                      <a:pt x="64" y="92"/>
                      <a:pt x="59" y="96"/>
                      <a:pt x="53" y="99"/>
                    </a:cubicBezTo>
                    <a:cubicBezTo>
                      <a:pt x="48" y="101"/>
                      <a:pt x="42" y="103"/>
                      <a:pt x="36" y="103"/>
                    </a:cubicBezTo>
                    <a:cubicBezTo>
                      <a:pt x="29" y="103"/>
                      <a:pt x="23" y="102"/>
                      <a:pt x="18" y="100"/>
                    </a:cubicBezTo>
                    <a:cubicBezTo>
                      <a:pt x="14" y="98"/>
                      <a:pt x="10" y="95"/>
                      <a:pt x="7" y="92"/>
                    </a:cubicBezTo>
                    <a:cubicBezTo>
                      <a:pt x="4" y="88"/>
                      <a:pt x="3" y="84"/>
                      <a:pt x="1" y="79"/>
                    </a:cubicBezTo>
                    <a:cubicBezTo>
                      <a:pt x="0" y="74"/>
                      <a:pt x="0" y="68"/>
                      <a:pt x="0" y="6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27" y="57"/>
                      <a:pt x="27" y="57"/>
                      <a:pt x="27" y="57"/>
                    </a:cubicBezTo>
                    <a:cubicBezTo>
                      <a:pt x="27" y="65"/>
                      <a:pt x="29" y="71"/>
                      <a:pt x="31" y="75"/>
                    </a:cubicBezTo>
                    <a:cubicBezTo>
                      <a:pt x="34" y="79"/>
                      <a:pt x="38" y="81"/>
                      <a:pt x="45" y="81"/>
                    </a:cubicBezTo>
                    <a:cubicBezTo>
                      <a:pt x="52" y="81"/>
                      <a:pt x="58" y="79"/>
                      <a:pt x="61" y="75"/>
                    </a:cubicBezTo>
                    <a:cubicBezTo>
                      <a:pt x="65" y="70"/>
                      <a:pt x="66" y="63"/>
                      <a:pt x="66" y="53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94" y="0"/>
                      <a:pt x="94" y="0"/>
                      <a:pt x="94" y="0"/>
                    </a:cubicBezTo>
                    <a:cubicBezTo>
                      <a:pt x="94" y="100"/>
                      <a:pt x="94" y="100"/>
                      <a:pt x="94" y="100"/>
                    </a:cubicBezTo>
                    <a:lnTo>
                      <a:pt x="68" y="10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1" name="Freeform 17"/>
              <p:cNvSpPr>
                <a:spLocks/>
              </p:cNvSpPr>
              <p:nvPr userDrawn="1"/>
            </p:nvSpPr>
            <p:spPr bwMode="auto">
              <a:xfrm>
                <a:off x="1489075" y="4427538"/>
                <a:ext cx="120650" cy="136525"/>
              </a:xfrm>
              <a:custGeom>
                <a:avLst/>
                <a:gdLst>
                  <a:gd name="T0" fmla="*/ 2147483647 w 93"/>
                  <a:gd name="T1" fmla="*/ 2147483647 h 106"/>
                  <a:gd name="T2" fmla="*/ 2147483647 w 93"/>
                  <a:gd name="T3" fmla="*/ 2147483647 h 106"/>
                  <a:gd name="T4" fmla="*/ 2147483647 w 93"/>
                  <a:gd name="T5" fmla="*/ 2147483647 h 106"/>
                  <a:gd name="T6" fmla="*/ 2147483647 w 93"/>
                  <a:gd name="T7" fmla="*/ 2147483647 h 106"/>
                  <a:gd name="T8" fmla="*/ 2147483647 w 93"/>
                  <a:gd name="T9" fmla="*/ 2147483647 h 106"/>
                  <a:gd name="T10" fmla="*/ 2147483647 w 93"/>
                  <a:gd name="T11" fmla="*/ 2147483647 h 106"/>
                  <a:gd name="T12" fmla="*/ 2147483647 w 93"/>
                  <a:gd name="T13" fmla="*/ 2147483647 h 106"/>
                  <a:gd name="T14" fmla="*/ 2147483647 w 93"/>
                  <a:gd name="T15" fmla="*/ 2147483647 h 106"/>
                  <a:gd name="T16" fmla="*/ 2147483647 w 93"/>
                  <a:gd name="T17" fmla="*/ 2147483647 h 106"/>
                  <a:gd name="T18" fmla="*/ 2147483647 w 93"/>
                  <a:gd name="T19" fmla="*/ 2147483647 h 106"/>
                  <a:gd name="T20" fmla="*/ 2147483647 w 93"/>
                  <a:gd name="T21" fmla="*/ 2147483647 h 106"/>
                  <a:gd name="T22" fmla="*/ 2147483647 w 93"/>
                  <a:gd name="T23" fmla="*/ 2147483647 h 106"/>
                  <a:gd name="T24" fmla="*/ 2147483647 w 93"/>
                  <a:gd name="T25" fmla="*/ 2147483647 h 106"/>
                  <a:gd name="T26" fmla="*/ 2147483647 w 93"/>
                  <a:gd name="T27" fmla="*/ 2147483647 h 106"/>
                  <a:gd name="T28" fmla="*/ 2147483647 w 93"/>
                  <a:gd name="T29" fmla="*/ 2147483647 h 106"/>
                  <a:gd name="T30" fmla="*/ 2147483647 w 93"/>
                  <a:gd name="T31" fmla="*/ 2147483647 h 106"/>
                  <a:gd name="T32" fmla="*/ 2147483647 w 93"/>
                  <a:gd name="T33" fmla="*/ 2147483647 h 106"/>
                  <a:gd name="T34" fmla="*/ 2147483647 w 93"/>
                  <a:gd name="T35" fmla="*/ 0 h 106"/>
                  <a:gd name="T36" fmla="*/ 2147483647 w 93"/>
                  <a:gd name="T37" fmla="*/ 2147483647 h 106"/>
                  <a:gd name="T38" fmla="*/ 2147483647 w 93"/>
                  <a:gd name="T39" fmla="*/ 2147483647 h 106"/>
                  <a:gd name="T40" fmla="*/ 2147483647 w 93"/>
                  <a:gd name="T41" fmla="*/ 2147483647 h 106"/>
                  <a:gd name="T42" fmla="*/ 2147483647 w 93"/>
                  <a:gd name="T43" fmla="*/ 2147483647 h 106"/>
                  <a:gd name="T44" fmla="*/ 2147483647 w 93"/>
                  <a:gd name="T45" fmla="*/ 2147483647 h 106"/>
                  <a:gd name="T46" fmla="*/ 2147483647 w 93"/>
                  <a:gd name="T47" fmla="*/ 2147483647 h 106"/>
                  <a:gd name="T48" fmla="*/ 2147483647 w 93"/>
                  <a:gd name="T49" fmla="*/ 2147483647 h 106"/>
                  <a:gd name="T50" fmla="*/ 2147483647 w 93"/>
                  <a:gd name="T51" fmla="*/ 2147483647 h 106"/>
                  <a:gd name="T52" fmla="*/ 2147483647 w 93"/>
                  <a:gd name="T53" fmla="*/ 2147483647 h 106"/>
                  <a:gd name="T54" fmla="*/ 2147483647 w 93"/>
                  <a:gd name="T55" fmla="*/ 2147483647 h 106"/>
                  <a:gd name="T56" fmla="*/ 2147483647 w 93"/>
                  <a:gd name="T57" fmla="*/ 2147483647 h 106"/>
                  <a:gd name="T58" fmla="*/ 2147483647 w 93"/>
                  <a:gd name="T59" fmla="*/ 2147483647 h 106"/>
                  <a:gd name="T60" fmla="*/ 2147483647 w 93"/>
                  <a:gd name="T61" fmla="*/ 2147483647 h 106"/>
                  <a:gd name="T62" fmla="*/ 2147483647 w 93"/>
                  <a:gd name="T63" fmla="*/ 2147483647 h 106"/>
                  <a:gd name="T64" fmla="*/ 2147483647 w 93"/>
                  <a:gd name="T65" fmla="*/ 2147483647 h 106"/>
                  <a:gd name="T66" fmla="*/ 2147483647 w 93"/>
                  <a:gd name="T67" fmla="*/ 2147483647 h 106"/>
                  <a:gd name="T68" fmla="*/ 2147483647 w 93"/>
                  <a:gd name="T69" fmla="*/ 2147483647 h 106"/>
                  <a:gd name="T70" fmla="*/ 2147483647 w 93"/>
                  <a:gd name="T71" fmla="*/ 2147483647 h 106"/>
                  <a:gd name="T72" fmla="*/ 2147483647 w 93"/>
                  <a:gd name="T73" fmla="*/ 2147483647 h 106"/>
                  <a:gd name="T74" fmla="*/ 2147483647 w 93"/>
                  <a:gd name="T75" fmla="*/ 2147483647 h 106"/>
                  <a:gd name="T76" fmla="*/ 2147483647 w 93"/>
                  <a:gd name="T77" fmla="*/ 2147483647 h 106"/>
                  <a:gd name="T78" fmla="*/ 2147483647 w 93"/>
                  <a:gd name="T79" fmla="*/ 2147483647 h 106"/>
                  <a:gd name="T80" fmla="*/ 2147483647 w 93"/>
                  <a:gd name="T81" fmla="*/ 2147483647 h 106"/>
                  <a:gd name="T82" fmla="*/ 2147483647 w 93"/>
                  <a:gd name="T83" fmla="*/ 2147483647 h 106"/>
                  <a:gd name="T84" fmla="*/ 2147483647 w 93"/>
                  <a:gd name="T85" fmla="*/ 2147483647 h 106"/>
                  <a:gd name="T86" fmla="*/ 2147483647 w 93"/>
                  <a:gd name="T87" fmla="*/ 2147483647 h 106"/>
                  <a:gd name="T88" fmla="*/ 0 w 93"/>
                  <a:gd name="T89" fmla="*/ 2147483647 h 106"/>
                  <a:gd name="T90" fmla="*/ 2147483647 w 93"/>
                  <a:gd name="T91" fmla="*/ 2147483647 h 106"/>
                  <a:gd name="T92" fmla="*/ 2147483647 w 93"/>
                  <a:gd name="T93" fmla="*/ 2147483647 h 10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93" h="106">
                    <a:moveTo>
                      <a:pt x="28" y="78"/>
                    </a:moveTo>
                    <a:cubicBezTo>
                      <a:pt x="29" y="80"/>
                      <a:pt x="31" y="82"/>
                      <a:pt x="33" y="84"/>
                    </a:cubicBezTo>
                    <a:cubicBezTo>
                      <a:pt x="35" y="85"/>
                      <a:pt x="37" y="86"/>
                      <a:pt x="40" y="87"/>
                    </a:cubicBezTo>
                    <a:cubicBezTo>
                      <a:pt x="42" y="87"/>
                      <a:pt x="45" y="88"/>
                      <a:pt x="47" y="88"/>
                    </a:cubicBezTo>
                    <a:cubicBezTo>
                      <a:pt x="49" y="88"/>
                      <a:pt x="51" y="87"/>
                      <a:pt x="54" y="87"/>
                    </a:cubicBezTo>
                    <a:cubicBezTo>
                      <a:pt x="56" y="86"/>
                      <a:pt x="58" y="86"/>
                      <a:pt x="59" y="85"/>
                    </a:cubicBezTo>
                    <a:cubicBezTo>
                      <a:pt x="61" y="84"/>
                      <a:pt x="63" y="82"/>
                      <a:pt x="64" y="81"/>
                    </a:cubicBezTo>
                    <a:cubicBezTo>
                      <a:pt x="65" y="79"/>
                      <a:pt x="65" y="77"/>
                      <a:pt x="65" y="75"/>
                    </a:cubicBezTo>
                    <a:cubicBezTo>
                      <a:pt x="65" y="71"/>
                      <a:pt x="63" y="68"/>
                      <a:pt x="57" y="65"/>
                    </a:cubicBezTo>
                    <a:cubicBezTo>
                      <a:pt x="52" y="63"/>
                      <a:pt x="44" y="61"/>
                      <a:pt x="34" y="59"/>
                    </a:cubicBezTo>
                    <a:cubicBezTo>
                      <a:pt x="30" y="58"/>
                      <a:pt x="26" y="57"/>
                      <a:pt x="23" y="56"/>
                    </a:cubicBezTo>
                    <a:cubicBezTo>
                      <a:pt x="19" y="55"/>
                      <a:pt x="15" y="53"/>
                      <a:pt x="12" y="51"/>
                    </a:cubicBezTo>
                    <a:cubicBezTo>
                      <a:pt x="9" y="49"/>
                      <a:pt x="7" y="47"/>
                      <a:pt x="5" y="44"/>
                    </a:cubicBezTo>
                    <a:cubicBezTo>
                      <a:pt x="3" y="41"/>
                      <a:pt x="3" y="37"/>
                      <a:pt x="3" y="33"/>
                    </a:cubicBezTo>
                    <a:cubicBezTo>
                      <a:pt x="3" y="26"/>
                      <a:pt x="4" y="21"/>
                      <a:pt x="6" y="17"/>
                    </a:cubicBezTo>
                    <a:cubicBezTo>
                      <a:pt x="9" y="13"/>
                      <a:pt x="12" y="9"/>
                      <a:pt x="16" y="7"/>
                    </a:cubicBezTo>
                    <a:cubicBezTo>
                      <a:pt x="20" y="4"/>
                      <a:pt x="25" y="3"/>
                      <a:pt x="30" y="2"/>
                    </a:cubicBezTo>
                    <a:cubicBezTo>
                      <a:pt x="35" y="1"/>
                      <a:pt x="41" y="0"/>
                      <a:pt x="46" y="0"/>
                    </a:cubicBezTo>
                    <a:cubicBezTo>
                      <a:pt x="52" y="0"/>
                      <a:pt x="57" y="1"/>
                      <a:pt x="62" y="2"/>
                    </a:cubicBezTo>
                    <a:cubicBezTo>
                      <a:pt x="67" y="3"/>
                      <a:pt x="72" y="5"/>
                      <a:pt x="76" y="7"/>
                    </a:cubicBezTo>
                    <a:cubicBezTo>
                      <a:pt x="80" y="10"/>
                      <a:pt x="83" y="13"/>
                      <a:pt x="86" y="17"/>
                    </a:cubicBezTo>
                    <a:cubicBezTo>
                      <a:pt x="88" y="21"/>
                      <a:pt x="90" y="26"/>
                      <a:pt x="90" y="32"/>
                    </a:cubicBezTo>
                    <a:cubicBezTo>
                      <a:pt x="64" y="32"/>
                      <a:pt x="64" y="32"/>
                      <a:pt x="64" y="32"/>
                    </a:cubicBezTo>
                    <a:cubicBezTo>
                      <a:pt x="64" y="27"/>
                      <a:pt x="62" y="23"/>
                      <a:pt x="58" y="22"/>
                    </a:cubicBezTo>
                    <a:cubicBezTo>
                      <a:pt x="54" y="20"/>
                      <a:pt x="50" y="19"/>
                      <a:pt x="45" y="19"/>
                    </a:cubicBezTo>
                    <a:cubicBezTo>
                      <a:pt x="44" y="19"/>
                      <a:pt x="42" y="19"/>
                      <a:pt x="40" y="19"/>
                    </a:cubicBezTo>
                    <a:cubicBezTo>
                      <a:pt x="38" y="19"/>
                      <a:pt x="37" y="20"/>
                      <a:pt x="35" y="20"/>
                    </a:cubicBezTo>
                    <a:cubicBezTo>
                      <a:pt x="34" y="21"/>
                      <a:pt x="33" y="22"/>
                      <a:pt x="32" y="23"/>
                    </a:cubicBezTo>
                    <a:cubicBezTo>
                      <a:pt x="31" y="24"/>
                      <a:pt x="30" y="26"/>
                      <a:pt x="30" y="28"/>
                    </a:cubicBezTo>
                    <a:cubicBezTo>
                      <a:pt x="30" y="31"/>
                      <a:pt x="31" y="33"/>
                      <a:pt x="33" y="34"/>
                    </a:cubicBezTo>
                    <a:cubicBezTo>
                      <a:pt x="35" y="36"/>
                      <a:pt x="37" y="37"/>
                      <a:pt x="40" y="38"/>
                    </a:cubicBezTo>
                    <a:cubicBezTo>
                      <a:pt x="43" y="39"/>
                      <a:pt x="46" y="40"/>
                      <a:pt x="50" y="40"/>
                    </a:cubicBezTo>
                    <a:cubicBezTo>
                      <a:pt x="54" y="41"/>
                      <a:pt x="57" y="42"/>
                      <a:pt x="61" y="43"/>
                    </a:cubicBezTo>
                    <a:cubicBezTo>
                      <a:pt x="65" y="44"/>
                      <a:pt x="69" y="45"/>
                      <a:pt x="73" y="46"/>
                    </a:cubicBezTo>
                    <a:cubicBezTo>
                      <a:pt x="77" y="48"/>
                      <a:pt x="80" y="49"/>
                      <a:pt x="83" y="51"/>
                    </a:cubicBezTo>
                    <a:cubicBezTo>
                      <a:pt x="86" y="54"/>
                      <a:pt x="88" y="56"/>
                      <a:pt x="90" y="59"/>
                    </a:cubicBezTo>
                    <a:cubicBezTo>
                      <a:pt x="92" y="63"/>
                      <a:pt x="93" y="66"/>
                      <a:pt x="93" y="71"/>
                    </a:cubicBezTo>
                    <a:cubicBezTo>
                      <a:pt x="93" y="78"/>
                      <a:pt x="92" y="83"/>
                      <a:pt x="89" y="88"/>
                    </a:cubicBezTo>
                    <a:cubicBezTo>
                      <a:pt x="86" y="92"/>
                      <a:pt x="83" y="96"/>
                      <a:pt x="79" y="98"/>
                    </a:cubicBezTo>
                    <a:cubicBezTo>
                      <a:pt x="74" y="101"/>
                      <a:pt x="69" y="103"/>
                      <a:pt x="64" y="104"/>
                    </a:cubicBezTo>
                    <a:cubicBezTo>
                      <a:pt x="59" y="105"/>
                      <a:pt x="53" y="106"/>
                      <a:pt x="47" y="106"/>
                    </a:cubicBezTo>
                    <a:cubicBezTo>
                      <a:pt x="41" y="106"/>
                      <a:pt x="36" y="105"/>
                      <a:pt x="30" y="104"/>
                    </a:cubicBezTo>
                    <a:cubicBezTo>
                      <a:pt x="25" y="103"/>
                      <a:pt x="20" y="101"/>
                      <a:pt x="15" y="98"/>
                    </a:cubicBezTo>
                    <a:cubicBezTo>
                      <a:pt x="11" y="95"/>
                      <a:pt x="8" y="92"/>
                      <a:pt x="5" y="87"/>
                    </a:cubicBezTo>
                    <a:cubicBezTo>
                      <a:pt x="2" y="83"/>
                      <a:pt x="0" y="77"/>
                      <a:pt x="0" y="71"/>
                    </a:cubicBezTo>
                    <a:cubicBezTo>
                      <a:pt x="26" y="71"/>
                      <a:pt x="26" y="71"/>
                      <a:pt x="26" y="71"/>
                    </a:cubicBezTo>
                    <a:cubicBezTo>
                      <a:pt x="26" y="74"/>
                      <a:pt x="27" y="76"/>
                      <a:pt x="28" y="7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2" name="Freeform 18"/>
              <p:cNvSpPr>
                <a:spLocks noEditPoints="1"/>
              </p:cNvSpPr>
              <p:nvPr userDrawn="1"/>
            </p:nvSpPr>
            <p:spPr bwMode="auto">
              <a:xfrm>
                <a:off x="1627188" y="4383088"/>
                <a:ext cx="36513" cy="177800"/>
              </a:xfrm>
              <a:custGeom>
                <a:avLst/>
                <a:gdLst>
                  <a:gd name="T0" fmla="*/ 0 w 23"/>
                  <a:gd name="T1" fmla="*/ 2147483647 h 112"/>
                  <a:gd name="T2" fmla="*/ 0 w 23"/>
                  <a:gd name="T3" fmla="*/ 0 h 112"/>
                  <a:gd name="T4" fmla="*/ 2147483647 w 23"/>
                  <a:gd name="T5" fmla="*/ 0 h 112"/>
                  <a:gd name="T6" fmla="*/ 2147483647 w 23"/>
                  <a:gd name="T7" fmla="*/ 2147483647 h 112"/>
                  <a:gd name="T8" fmla="*/ 0 w 23"/>
                  <a:gd name="T9" fmla="*/ 2147483647 h 112"/>
                  <a:gd name="T10" fmla="*/ 2147483647 w 23"/>
                  <a:gd name="T11" fmla="*/ 2147483647 h 112"/>
                  <a:gd name="T12" fmla="*/ 2147483647 w 23"/>
                  <a:gd name="T13" fmla="*/ 2147483647 h 112"/>
                  <a:gd name="T14" fmla="*/ 0 w 23"/>
                  <a:gd name="T15" fmla="*/ 2147483647 h 112"/>
                  <a:gd name="T16" fmla="*/ 0 w 23"/>
                  <a:gd name="T17" fmla="*/ 2147483647 h 112"/>
                  <a:gd name="T18" fmla="*/ 2147483647 w 23"/>
                  <a:gd name="T19" fmla="*/ 2147483647 h 11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3" h="112">
                    <a:moveTo>
                      <a:pt x="0" y="18"/>
                    </a:moveTo>
                    <a:lnTo>
                      <a:pt x="0" y="0"/>
                    </a:lnTo>
                    <a:lnTo>
                      <a:pt x="23" y="0"/>
                    </a:lnTo>
                    <a:lnTo>
                      <a:pt x="23" y="18"/>
                    </a:lnTo>
                    <a:lnTo>
                      <a:pt x="0" y="18"/>
                    </a:lnTo>
                    <a:close/>
                    <a:moveTo>
                      <a:pt x="23" y="31"/>
                    </a:moveTo>
                    <a:lnTo>
                      <a:pt x="23" y="112"/>
                    </a:lnTo>
                    <a:lnTo>
                      <a:pt x="0" y="112"/>
                    </a:lnTo>
                    <a:lnTo>
                      <a:pt x="0" y="31"/>
                    </a:lnTo>
                    <a:lnTo>
                      <a:pt x="23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3" name="Freeform 19"/>
              <p:cNvSpPr>
                <a:spLocks/>
              </p:cNvSpPr>
              <p:nvPr userDrawn="1"/>
            </p:nvSpPr>
            <p:spPr bwMode="auto">
              <a:xfrm>
                <a:off x="1685925" y="4427538"/>
                <a:ext cx="122238" cy="133350"/>
              </a:xfrm>
              <a:custGeom>
                <a:avLst/>
                <a:gdLst>
                  <a:gd name="T0" fmla="*/ 2147483647 w 94"/>
                  <a:gd name="T1" fmla="*/ 2147483647 h 103"/>
                  <a:gd name="T2" fmla="*/ 2147483647 w 94"/>
                  <a:gd name="T3" fmla="*/ 2147483647 h 103"/>
                  <a:gd name="T4" fmla="*/ 2147483647 w 94"/>
                  <a:gd name="T5" fmla="*/ 2147483647 h 103"/>
                  <a:gd name="T6" fmla="*/ 2147483647 w 94"/>
                  <a:gd name="T7" fmla="*/ 2147483647 h 103"/>
                  <a:gd name="T8" fmla="*/ 2147483647 w 94"/>
                  <a:gd name="T9" fmla="*/ 0 h 103"/>
                  <a:gd name="T10" fmla="*/ 2147483647 w 94"/>
                  <a:gd name="T11" fmla="*/ 2147483647 h 103"/>
                  <a:gd name="T12" fmla="*/ 2147483647 w 94"/>
                  <a:gd name="T13" fmla="*/ 2147483647 h 103"/>
                  <a:gd name="T14" fmla="*/ 2147483647 w 94"/>
                  <a:gd name="T15" fmla="*/ 2147483647 h 103"/>
                  <a:gd name="T16" fmla="*/ 2147483647 w 94"/>
                  <a:gd name="T17" fmla="*/ 2147483647 h 103"/>
                  <a:gd name="T18" fmla="*/ 2147483647 w 94"/>
                  <a:gd name="T19" fmla="*/ 2147483647 h 103"/>
                  <a:gd name="T20" fmla="*/ 2147483647 w 94"/>
                  <a:gd name="T21" fmla="*/ 2147483647 h 103"/>
                  <a:gd name="T22" fmla="*/ 2147483647 w 94"/>
                  <a:gd name="T23" fmla="*/ 2147483647 h 103"/>
                  <a:gd name="T24" fmla="*/ 2147483647 w 94"/>
                  <a:gd name="T25" fmla="*/ 2147483647 h 103"/>
                  <a:gd name="T26" fmla="*/ 2147483647 w 94"/>
                  <a:gd name="T27" fmla="*/ 2147483647 h 103"/>
                  <a:gd name="T28" fmla="*/ 2147483647 w 94"/>
                  <a:gd name="T29" fmla="*/ 2147483647 h 103"/>
                  <a:gd name="T30" fmla="*/ 2147483647 w 94"/>
                  <a:gd name="T31" fmla="*/ 2147483647 h 103"/>
                  <a:gd name="T32" fmla="*/ 2147483647 w 94"/>
                  <a:gd name="T33" fmla="*/ 2147483647 h 103"/>
                  <a:gd name="T34" fmla="*/ 0 w 94"/>
                  <a:gd name="T35" fmla="*/ 2147483647 h 103"/>
                  <a:gd name="T36" fmla="*/ 0 w 94"/>
                  <a:gd name="T37" fmla="*/ 2147483647 h 103"/>
                  <a:gd name="T38" fmla="*/ 2147483647 w 94"/>
                  <a:gd name="T39" fmla="*/ 2147483647 h 10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94" h="103">
                    <a:moveTo>
                      <a:pt x="26" y="3"/>
                    </a:move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7"/>
                      <a:pt x="27" y="17"/>
                      <a:pt x="27" y="17"/>
                    </a:cubicBezTo>
                    <a:cubicBezTo>
                      <a:pt x="30" y="11"/>
                      <a:pt x="35" y="7"/>
                      <a:pt x="40" y="4"/>
                    </a:cubicBezTo>
                    <a:cubicBezTo>
                      <a:pt x="46" y="2"/>
                      <a:pt x="52" y="0"/>
                      <a:pt x="57" y="0"/>
                    </a:cubicBezTo>
                    <a:cubicBezTo>
                      <a:pt x="65" y="0"/>
                      <a:pt x="71" y="1"/>
                      <a:pt x="76" y="3"/>
                    </a:cubicBezTo>
                    <a:cubicBezTo>
                      <a:pt x="80" y="5"/>
                      <a:pt x="84" y="8"/>
                      <a:pt x="87" y="12"/>
                    </a:cubicBezTo>
                    <a:cubicBezTo>
                      <a:pt x="89" y="15"/>
                      <a:pt x="91" y="20"/>
                      <a:pt x="92" y="25"/>
                    </a:cubicBezTo>
                    <a:cubicBezTo>
                      <a:pt x="94" y="30"/>
                      <a:pt x="94" y="35"/>
                      <a:pt x="94" y="42"/>
                    </a:cubicBezTo>
                    <a:cubicBezTo>
                      <a:pt x="94" y="103"/>
                      <a:pt x="94" y="103"/>
                      <a:pt x="94" y="103"/>
                    </a:cubicBezTo>
                    <a:cubicBezTo>
                      <a:pt x="67" y="103"/>
                      <a:pt x="67" y="103"/>
                      <a:pt x="67" y="103"/>
                    </a:cubicBezTo>
                    <a:cubicBezTo>
                      <a:pt x="67" y="47"/>
                      <a:pt x="67" y="47"/>
                      <a:pt x="67" y="47"/>
                    </a:cubicBezTo>
                    <a:cubicBezTo>
                      <a:pt x="67" y="38"/>
                      <a:pt x="65" y="32"/>
                      <a:pt x="63" y="28"/>
                    </a:cubicBezTo>
                    <a:cubicBezTo>
                      <a:pt x="60" y="24"/>
                      <a:pt x="56" y="22"/>
                      <a:pt x="49" y="22"/>
                    </a:cubicBezTo>
                    <a:cubicBezTo>
                      <a:pt x="41" y="22"/>
                      <a:pt x="36" y="24"/>
                      <a:pt x="33" y="29"/>
                    </a:cubicBezTo>
                    <a:cubicBezTo>
                      <a:pt x="29" y="33"/>
                      <a:pt x="28" y="41"/>
                      <a:pt x="28" y="51"/>
                    </a:cubicBezTo>
                    <a:cubicBezTo>
                      <a:pt x="28" y="103"/>
                      <a:pt x="28" y="103"/>
                      <a:pt x="28" y="103"/>
                    </a:cubicBezTo>
                    <a:cubicBezTo>
                      <a:pt x="0" y="103"/>
                      <a:pt x="0" y="103"/>
                      <a:pt x="0" y="103"/>
                    </a:cubicBezTo>
                    <a:cubicBezTo>
                      <a:pt x="0" y="3"/>
                      <a:pt x="0" y="3"/>
                      <a:pt x="0" y="3"/>
                    </a:cubicBezTo>
                    <a:lnTo>
                      <a:pt x="2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4" name="Freeform 20"/>
              <p:cNvSpPr>
                <a:spLocks noEditPoints="1"/>
              </p:cNvSpPr>
              <p:nvPr userDrawn="1"/>
            </p:nvSpPr>
            <p:spPr bwMode="auto">
              <a:xfrm>
                <a:off x="1824038" y="4427538"/>
                <a:ext cx="128588" cy="136525"/>
              </a:xfrm>
              <a:custGeom>
                <a:avLst/>
                <a:gdLst>
                  <a:gd name="T0" fmla="*/ 2147483647 w 100"/>
                  <a:gd name="T1" fmla="*/ 2147483647 h 106"/>
                  <a:gd name="T2" fmla="*/ 2147483647 w 100"/>
                  <a:gd name="T3" fmla="*/ 2147483647 h 106"/>
                  <a:gd name="T4" fmla="*/ 2147483647 w 100"/>
                  <a:gd name="T5" fmla="*/ 2147483647 h 106"/>
                  <a:gd name="T6" fmla="*/ 2147483647 w 100"/>
                  <a:gd name="T7" fmla="*/ 2147483647 h 106"/>
                  <a:gd name="T8" fmla="*/ 2147483647 w 100"/>
                  <a:gd name="T9" fmla="*/ 2147483647 h 106"/>
                  <a:gd name="T10" fmla="*/ 2147483647 w 100"/>
                  <a:gd name="T11" fmla="*/ 2147483647 h 106"/>
                  <a:gd name="T12" fmla="*/ 2147483647 w 100"/>
                  <a:gd name="T13" fmla="*/ 2147483647 h 106"/>
                  <a:gd name="T14" fmla="*/ 2147483647 w 100"/>
                  <a:gd name="T15" fmla="*/ 2147483647 h 106"/>
                  <a:gd name="T16" fmla="*/ 2147483647 w 100"/>
                  <a:gd name="T17" fmla="*/ 2147483647 h 106"/>
                  <a:gd name="T18" fmla="*/ 2147483647 w 100"/>
                  <a:gd name="T19" fmla="*/ 2147483647 h 106"/>
                  <a:gd name="T20" fmla="*/ 0 w 100"/>
                  <a:gd name="T21" fmla="*/ 2147483647 h 106"/>
                  <a:gd name="T22" fmla="*/ 2147483647 w 100"/>
                  <a:gd name="T23" fmla="*/ 2147483647 h 106"/>
                  <a:gd name="T24" fmla="*/ 2147483647 w 100"/>
                  <a:gd name="T25" fmla="*/ 2147483647 h 106"/>
                  <a:gd name="T26" fmla="*/ 2147483647 w 100"/>
                  <a:gd name="T27" fmla="*/ 2147483647 h 106"/>
                  <a:gd name="T28" fmla="*/ 2147483647 w 100"/>
                  <a:gd name="T29" fmla="*/ 0 h 106"/>
                  <a:gd name="T30" fmla="*/ 2147483647 w 100"/>
                  <a:gd name="T31" fmla="*/ 2147483647 h 106"/>
                  <a:gd name="T32" fmla="*/ 2147483647 w 100"/>
                  <a:gd name="T33" fmla="*/ 2147483647 h 106"/>
                  <a:gd name="T34" fmla="*/ 2147483647 w 100"/>
                  <a:gd name="T35" fmla="*/ 2147483647 h 106"/>
                  <a:gd name="T36" fmla="*/ 2147483647 w 100"/>
                  <a:gd name="T37" fmla="*/ 2147483647 h 106"/>
                  <a:gd name="T38" fmla="*/ 2147483647 w 100"/>
                  <a:gd name="T39" fmla="*/ 2147483647 h 106"/>
                  <a:gd name="T40" fmla="*/ 2147483647 w 100"/>
                  <a:gd name="T41" fmla="*/ 2147483647 h 106"/>
                  <a:gd name="T42" fmla="*/ 2147483647 w 100"/>
                  <a:gd name="T43" fmla="*/ 2147483647 h 106"/>
                  <a:gd name="T44" fmla="*/ 2147483647 w 100"/>
                  <a:gd name="T45" fmla="*/ 2147483647 h 106"/>
                  <a:gd name="T46" fmla="*/ 2147483647 w 100"/>
                  <a:gd name="T47" fmla="*/ 2147483647 h 106"/>
                  <a:gd name="T48" fmla="*/ 2147483647 w 100"/>
                  <a:gd name="T49" fmla="*/ 2147483647 h 106"/>
                  <a:gd name="T50" fmla="*/ 2147483647 w 100"/>
                  <a:gd name="T51" fmla="*/ 2147483647 h 106"/>
                  <a:gd name="T52" fmla="*/ 2147483647 w 100"/>
                  <a:gd name="T53" fmla="*/ 2147483647 h 106"/>
                  <a:gd name="T54" fmla="*/ 2147483647 w 100"/>
                  <a:gd name="T55" fmla="*/ 2147483647 h 106"/>
                  <a:gd name="T56" fmla="*/ 2147483647 w 100"/>
                  <a:gd name="T57" fmla="*/ 2147483647 h 10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00" h="106">
                    <a:moveTo>
                      <a:pt x="34" y="79"/>
                    </a:moveTo>
                    <a:cubicBezTo>
                      <a:pt x="39" y="83"/>
                      <a:pt x="45" y="85"/>
                      <a:pt x="52" y="85"/>
                    </a:cubicBezTo>
                    <a:cubicBezTo>
                      <a:pt x="58" y="85"/>
                      <a:pt x="63" y="84"/>
                      <a:pt x="67" y="81"/>
                    </a:cubicBezTo>
                    <a:cubicBezTo>
                      <a:pt x="71" y="78"/>
                      <a:pt x="73" y="75"/>
                      <a:pt x="74" y="72"/>
                    </a:cubicBezTo>
                    <a:cubicBezTo>
                      <a:pt x="98" y="72"/>
                      <a:pt x="98" y="72"/>
                      <a:pt x="98" y="72"/>
                    </a:cubicBezTo>
                    <a:cubicBezTo>
                      <a:pt x="94" y="84"/>
                      <a:pt x="88" y="93"/>
                      <a:pt x="80" y="98"/>
                    </a:cubicBezTo>
                    <a:cubicBezTo>
                      <a:pt x="72" y="103"/>
                      <a:pt x="63" y="106"/>
                      <a:pt x="51" y="106"/>
                    </a:cubicBezTo>
                    <a:cubicBezTo>
                      <a:pt x="43" y="106"/>
                      <a:pt x="36" y="104"/>
                      <a:pt x="30" y="102"/>
                    </a:cubicBezTo>
                    <a:cubicBezTo>
                      <a:pt x="24" y="99"/>
                      <a:pt x="18" y="96"/>
                      <a:pt x="14" y="91"/>
                    </a:cubicBezTo>
                    <a:cubicBezTo>
                      <a:pt x="10" y="87"/>
                      <a:pt x="6" y="81"/>
                      <a:pt x="4" y="75"/>
                    </a:cubicBezTo>
                    <a:cubicBezTo>
                      <a:pt x="1" y="68"/>
                      <a:pt x="0" y="61"/>
                      <a:pt x="0" y="53"/>
                    </a:cubicBezTo>
                    <a:cubicBezTo>
                      <a:pt x="0" y="46"/>
                      <a:pt x="1" y="39"/>
                      <a:pt x="4" y="32"/>
                    </a:cubicBezTo>
                    <a:cubicBezTo>
                      <a:pt x="6" y="26"/>
                      <a:pt x="10" y="20"/>
                      <a:pt x="14" y="16"/>
                    </a:cubicBezTo>
                    <a:cubicBezTo>
                      <a:pt x="19" y="11"/>
                      <a:pt x="24" y="7"/>
                      <a:pt x="31" y="4"/>
                    </a:cubicBezTo>
                    <a:cubicBezTo>
                      <a:pt x="37" y="2"/>
                      <a:pt x="44" y="0"/>
                      <a:pt x="51" y="0"/>
                    </a:cubicBezTo>
                    <a:cubicBezTo>
                      <a:pt x="60" y="0"/>
                      <a:pt x="67" y="2"/>
                      <a:pt x="74" y="5"/>
                    </a:cubicBezTo>
                    <a:cubicBezTo>
                      <a:pt x="80" y="9"/>
                      <a:pt x="85" y="13"/>
                      <a:pt x="89" y="19"/>
                    </a:cubicBezTo>
                    <a:cubicBezTo>
                      <a:pt x="93" y="24"/>
                      <a:pt x="96" y="30"/>
                      <a:pt x="98" y="38"/>
                    </a:cubicBezTo>
                    <a:cubicBezTo>
                      <a:pt x="100" y="45"/>
                      <a:pt x="100" y="52"/>
                      <a:pt x="100" y="60"/>
                    </a:cubicBezTo>
                    <a:cubicBezTo>
                      <a:pt x="28" y="60"/>
                      <a:pt x="28" y="60"/>
                      <a:pt x="28" y="60"/>
                    </a:cubicBezTo>
                    <a:cubicBezTo>
                      <a:pt x="28" y="69"/>
                      <a:pt x="30" y="75"/>
                      <a:pt x="34" y="79"/>
                    </a:cubicBezTo>
                    <a:close/>
                    <a:moveTo>
                      <a:pt x="66" y="27"/>
                    </a:moveTo>
                    <a:cubicBezTo>
                      <a:pt x="62" y="23"/>
                      <a:pt x="57" y="21"/>
                      <a:pt x="51" y="21"/>
                    </a:cubicBezTo>
                    <a:cubicBezTo>
                      <a:pt x="46" y="21"/>
                      <a:pt x="43" y="22"/>
                      <a:pt x="40" y="23"/>
                    </a:cubicBezTo>
                    <a:cubicBezTo>
                      <a:pt x="37" y="25"/>
                      <a:pt x="34" y="27"/>
                      <a:pt x="33" y="29"/>
                    </a:cubicBezTo>
                    <a:cubicBezTo>
                      <a:pt x="31" y="31"/>
                      <a:pt x="30" y="33"/>
                      <a:pt x="29" y="36"/>
                    </a:cubicBezTo>
                    <a:cubicBezTo>
                      <a:pt x="28" y="38"/>
                      <a:pt x="28" y="40"/>
                      <a:pt x="28" y="42"/>
                    </a:cubicBezTo>
                    <a:cubicBezTo>
                      <a:pt x="72" y="42"/>
                      <a:pt x="72" y="42"/>
                      <a:pt x="72" y="42"/>
                    </a:cubicBezTo>
                    <a:cubicBezTo>
                      <a:pt x="71" y="35"/>
                      <a:pt x="69" y="30"/>
                      <a:pt x="66" y="27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5" name="Freeform 21"/>
              <p:cNvSpPr>
                <a:spLocks/>
              </p:cNvSpPr>
              <p:nvPr userDrawn="1"/>
            </p:nvSpPr>
            <p:spPr bwMode="auto">
              <a:xfrm>
                <a:off x="1963738" y="4427538"/>
                <a:ext cx="119063" cy="136525"/>
              </a:xfrm>
              <a:custGeom>
                <a:avLst/>
                <a:gdLst>
                  <a:gd name="T0" fmla="*/ 2147483647 w 93"/>
                  <a:gd name="T1" fmla="*/ 2147483647 h 106"/>
                  <a:gd name="T2" fmla="*/ 2147483647 w 93"/>
                  <a:gd name="T3" fmla="*/ 2147483647 h 106"/>
                  <a:gd name="T4" fmla="*/ 2147483647 w 93"/>
                  <a:gd name="T5" fmla="*/ 2147483647 h 106"/>
                  <a:gd name="T6" fmla="*/ 2147483647 w 93"/>
                  <a:gd name="T7" fmla="*/ 2147483647 h 106"/>
                  <a:gd name="T8" fmla="*/ 2147483647 w 93"/>
                  <a:gd name="T9" fmla="*/ 2147483647 h 106"/>
                  <a:gd name="T10" fmla="*/ 2147483647 w 93"/>
                  <a:gd name="T11" fmla="*/ 2147483647 h 106"/>
                  <a:gd name="T12" fmla="*/ 2147483647 w 93"/>
                  <a:gd name="T13" fmla="*/ 2147483647 h 106"/>
                  <a:gd name="T14" fmla="*/ 2147483647 w 93"/>
                  <a:gd name="T15" fmla="*/ 2147483647 h 106"/>
                  <a:gd name="T16" fmla="*/ 2147483647 w 93"/>
                  <a:gd name="T17" fmla="*/ 2147483647 h 106"/>
                  <a:gd name="T18" fmla="*/ 2147483647 w 93"/>
                  <a:gd name="T19" fmla="*/ 2147483647 h 106"/>
                  <a:gd name="T20" fmla="*/ 2147483647 w 93"/>
                  <a:gd name="T21" fmla="*/ 2147483647 h 106"/>
                  <a:gd name="T22" fmla="*/ 2147483647 w 93"/>
                  <a:gd name="T23" fmla="*/ 2147483647 h 106"/>
                  <a:gd name="T24" fmla="*/ 2147483647 w 93"/>
                  <a:gd name="T25" fmla="*/ 2147483647 h 106"/>
                  <a:gd name="T26" fmla="*/ 2147483647 w 93"/>
                  <a:gd name="T27" fmla="*/ 2147483647 h 106"/>
                  <a:gd name="T28" fmla="*/ 2147483647 w 93"/>
                  <a:gd name="T29" fmla="*/ 2147483647 h 106"/>
                  <a:gd name="T30" fmla="*/ 2147483647 w 93"/>
                  <a:gd name="T31" fmla="*/ 2147483647 h 106"/>
                  <a:gd name="T32" fmla="*/ 2147483647 w 93"/>
                  <a:gd name="T33" fmla="*/ 2147483647 h 106"/>
                  <a:gd name="T34" fmla="*/ 2147483647 w 93"/>
                  <a:gd name="T35" fmla="*/ 0 h 106"/>
                  <a:gd name="T36" fmla="*/ 2147483647 w 93"/>
                  <a:gd name="T37" fmla="*/ 2147483647 h 106"/>
                  <a:gd name="T38" fmla="*/ 2147483647 w 93"/>
                  <a:gd name="T39" fmla="*/ 2147483647 h 106"/>
                  <a:gd name="T40" fmla="*/ 2147483647 w 93"/>
                  <a:gd name="T41" fmla="*/ 2147483647 h 106"/>
                  <a:gd name="T42" fmla="*/ 2147483647 w 93"/>
                  <a:gd name="T43" fmla="*/ 2147483647 h 106"/>
                  <a:gd name="T44" fmla="*/ 2147483647 w 93"/>
                  <a:gd name="T45" fmla="*/ 2147483647 h 106"/>
                  <a:gd name="T46" fmla="*/ 2147483647 w 93"/>
                  <a:gd name="T47" fmla="*/ 2147483647 h 106"/>
                  <a:gd name="T48" fmla="*/ 2147483647 w 93"/>
                  <a:gd name="T49" fmla="*/ 2147483647 h 106"/>
                  <a:gd name="T50" fmla="*/ 2147483647 w 93"/>
                  <a:gd name="T51" fmla="*/ 2147483647 h 106"/>
                  <a:gd name="T52" fmla="*/ 2147483647 w 93"/>
                  <a:gd name="T53" fmla="*/ 2147483647 h 106"/>
                  <a:gd name="T54" fmla="*/ 2147483647 w 93"/>
                  <a:gd name="T55" fmla="*/ 2147483647 h 106"/>
                  <a:gd name="T56" fmla="*/ 2147483647 w 93"/>
                  <a:gd name="T57" fmla="*/ 2147483647 h 106"/>
                  <a:gd name="T58" fmla="*/ 2147483647 w 93"/>
                  <a:gd name="T59" fmla="*/ 2147483647 h 106"/>
                  <a:gd name="T60" fmla="*/ 2147483647 w 93"/>
                  <a:gd name="T61" fmla="*/ 2147483647 h 106"/>
                  <a:gd name="T62" fmla="*/ 2147483647 w 93"/>
                  <a:gd name="T63" fmla="*/ 2147483647 h 106"/>
                  <a:gd name="T64" fmla="*/ 2147483647 w 93"/>
                  <a:gd name="T65" fmla="*/ 2147483647 h 106"/>
                  <a:gd name="T66" fmla="*/ 2147483647 w 93"/>
                  <a:gd name="T67" fmla="*/ 2147483647 h 106"/>
                  <a:gd name="T68" fmla="*/ 2147483647 w 93"/>
                  <a:gd name="T69" fmla="*/ 2147483647 h 106"/>
                  <a:gd name="T70" fmla="*/ 2147483647 w 93"/>
                  <a:gd name="T71" fmla="*/ 2147483647 h 106"/>
                  <a:gd name="T72" fmla="*/ 2147483647 w 93"/>
                  <a:gd name="T73" fmla="*/ 2147483647 h 106"/>
                  <a:gd name="T74" fmla="*/ 2147483647 w 93"/>
                  <a:gd name="T75" fmla="*/ 2147483647 h 106"/>
                  <a:gd name="T76" fmla="*/ 2147483647 w 93"/>
                  <a:gd name="T77" fmla="*/ 2147483647 h 106"/>
                  <a:gd name="T78" fmla="*/ 2147483647 w 93"/>
                  <a:gd name="T79" fmla="*/ 2147483647 h 106"/>
                  <a:gd name="T80" fmla="*/ 2147483647 w 93"/>
                  <a:gd name="T81" fmla="*/ 2147483647 h 106"/>
                  <a:gd name="T82" fmla="*/ 2147483647 w 93"/>
                  <a:gd name="T83" fmla="*/ 2147483647 h 106"/>
                  <a:gd name="T84" fmla="*/ 2147483647 w 93"/>
                  <a:gd name="T85" fmla="*/ 2147483647 h 106"/>
                  <a:gd name="T86" fmla="*/ 2147483647 w 93"/>
                  <a:gd name="T87" fmla="*/ 2147483647 h 106"/>
                  <a:gd name="T88" fmla="*/ 0 w 93"/>
                  <a:gd name="T89" fmla="*/ 2147483647 h 106"/>
                  <a:gd name="T90" fmla="*/ 2147483647 w 93"/>
                  <a:gd name="T91" fmla="*/ 2147483647 h 106"/>
                  <a:gd name="T92" fmla="*/ 2147483647 w 93"/>
                  <a:gd name="T93" fmla="*/ 2147483647 h 10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93" h="106">
                    <a:moveTo>
                      <a:pt x="28" y="78"/>
                    </a:moveTo>
                    <a:cubicBezTo>
                      <a:pt x="29" y="80"/>
                      <a:pt x="31" y="82"/>
                      <a:pt x="33" y="84"/>
                    </a:cubicBezTo>
                    <a:cubicBezTo>
                      <a:pt x="35" y="85"/>
                      <a:pt x="37" y="86"/>
                      <a:pt x="39" y="87"/>
                    </a:cubicBezTo>
                    <a:cubicBezTo>
                      <a:pt x="42" y="87"/>
                      <a:pt x="44" y="88"/>
                      <a:pt x="47" y="88"/>
                    </a:cubicBezTo>
                    <a:cubicBezTo>
                      <a:pt x="49" y="88"/>
                      <a:pt x="51" y="87"/>
                      <a:pt x="53" y="87"/>
                    </a:cubicBezTo>
                    <a:cubicBezTo>
                      <a:pt x="55" y="86"/>
                      <a:pt x="57" y="86"/>
                      <a:pt x="59" y="85"/>
                    </a:cubicBezTo>
                    <a:cubicBezTo>
                      <a:pt x="61" y="84"/>
                      <a:pt x="62" y="82"/>
                      <a:pt x="63" y="81"/>
                    </a:cubicBezTo>
                    <a:cubicBezTo>
                      <a:pt x="65" y="79"/>
                      <a:pt x="65" y="77"/>
                      <a:pt x="65" y="75"/>
                    </a:cubicBezTo>
                    <a:cubicBezTo>
                      <a:pt x="65" y="71"/>
                      <a:pt x="62" y="68"/>
                      <a:pt x="57" y="65"/>
                    </a:cubicBezTo>
                    <a:cubicBezTo>
                      <a:pt x="51" y="63"/>
                      <a:pt x="44" y="61"/>
                      <a:pt x="34" y="59"/>
                    </a:cubicBezTo>
                    <a:cubicBezTo>
                      <a:pt x="30" y="58"/>
                      <a:pt x="26" y="57"/>
                      <a:pt x="22" y="56"/>
                    </a:cubicBezTo>
                    <a:cubicBezTo>
                      <a:pt x="18" y="55"/>
                      <a:pt x="15" y="53"/>
                      <a:pt x="12" y="51"/>
                    </a:cubicBezTo>
                    <a:cubicBezTo>
                      <a:pt x="9" y="49"/>
                      <a:pt x="7" y="47"/>
                      <a:pt x="5" y="44"/>
                    </a:cubicBezTo>
                    <a:cubicBezTo>
                      <a:pt x="3" y="41"/>
                      <a:pt x="2" y="37"/>
                      <a:pt x="2" y="33"/>
                    </a:cubicBezTo>
                    <a:cubicBezTo>
                      <a:pt x="2" y="26"/>
                      <a:pt x="3" y="21"/>
                      <a:pt x="6" y="17"/>
                    </a:cubicBezTo>
                    <a:cubicBezTo>
                      <a:pt x="9" y="13"/>
                      <a:pt x="12" y="9"/>
                      <a:pt x="16" y="7"/>
                    </a:cubicBezTo>
                    <a:cubicBezTo>
                      <a:pt x="20" y="4"/>
                      <a:pt x="25" y="3"/>
                      <a:pt x="30" y="2"/>
                    </a:cubicBezTo>
                    <a:cubicBezTo>
                      <a:pt x="35" y="1"/>
                      <a:pt x="40" y="0"/>
                      <a:pt x="46" y="0"/>
                    </a:cubicBezTo>
                    <a:cubicBezTo>
                      <a:pt x="51" y="0"/>
                      <a:pt x="56" y="1"/>
                      <a:pt x="62" y="2"/>
                    </a:cubicBezTo>
                    <a:cubicBezTo>
                      <a:pt x="67" y="3"/>
                      <a:pt x="71" y="5"/>
                      <a:pt x="75" y="7"/>
                    </a:cubicBezTo>
                    <a:cubicBezTo>
                      <a:pt x="79" y="10"/>
                      <a:pt x="83" y="13"/>
                      <a:pt x="85" y="17"/>
                    </a:cubicBezTo>
                    <a:cubicBezTo>
                      <a:pt x="88" y="21"/>
                      <a:pt x="89" y="26"/>
                      <a:pt x="90" y="32"/>
                    </a:cubicBezTo>
                    <a:cubicBezTo>
                      <a:pt x="64" y="32"/>
                      <a:pt x="64" y="32"/>
                      <a:pt x="64" y="32"/>
                    </a:cubicBezTo>
                    <a:cubicBezTo>
                      <a:pt x="63" y="27"/>
                      <a:pt x="61" y="23"/>
                      <a:pt x="58" y="22"/>
                    </a:cubicBezTo>
                    <a:cubicBezTo>
                      <a:pt x="54" y="20"/>
                      <a:pt x="50" y="19"/>
                      <a:pt x="45" y="19"/>
                    </a:cubicBezTo>
                    <a:cubicBezTo>
                      <a:pt x="43" y="19"/>
                      <a:pt x="42" y="19"/>
                      <a:pt x="40" y="19"/>
                    </a:cubicBezTo>
                    <a:cubicBezTo>
                      <a:pt x="38" y="19"/>
                      <a:pt x="37" y="20"/>
                      <a:pt x="35" y="20"/>
                    </a:cubicBezTo>
                    <a:cubicBezTo>
                      <a:pt x="34" y="21"/>
                      <a:pt x="32" y="22"/>
                      <a:pt x="31" y="23"/>
                    </a:cubicBezTo>
                    <a:cubicBezTo>
                      <a:pt x="30" y="24"/>
                      <a:pt x="30" y="26"/>
                      <a:pt x="30" y="28"/>
                    </a:cubicBezTo>
                    <a:cubicBezTo>
                      <a:pt x="30" y="31"/>
                      <a:pt x="31" y="33"/>
                      <a:pt x="32" y="34"/>
                    </a:cubicBezTo>
                    <a:cubicBezTo>
                      <a:pt x="34" y="36"/>
                      <a:pt x="37" y="37"/>
                      <a:pt x="40" y="38"/>
                    </a:cubicBezTo>
                    <a:cubicBezTo>
                      <a:pt x="42" y="39"/>
                      <a:pt x="46" y="40"/>
                      <a:pt x="49" y="40"/>
                    </a:cubicBezTo>
                    <a:cubicBezTo>
                      <a:pt x="53" y="41"/>
                      <a:pt x="57" y="42"/>
                      <a:pt x="61" y="43"/>
                    </a:cubicBezTo>
                    <a:cubicBezTo>
                      <a:pt x="65" y="44"/>
                      <a:pt x="69" y="45"/>
                      <a:pt x="73" y="46"/>
                    </a:cubicBezTo>
                    <a:cubicBezTo>
                      <a:pt x="76" y="48"/>
                      <a:pt x="80" y="49"/>
                      <a:pt x="83" y="51"/>
                    </a:cubicBezTo>
                    <a:cubicBezTo>
                      <a:pt x="86" y="54"/>
                      <a:pt x="88" y="56"/>
                      <a:pt x="90" y="59"/>
                    </a:cubicBezTo>
                    <a:cubicBezTo>
                      <a:pt x="92" y="63"/>
                      <a:pt x="93" y="66"/>
                      <a:pt x="93" y="71"/>
                    </a:cubicBezTo>
                    <a:cubicBezTo>
                      <a:pt x="93" y="78"/>
                      <a:pt x="91" y="83"/>
                      <a:pt x="89" y="88"/>
                    </a:cubicBezTo>
                    <a:cubicBezTo>
                      <a:pt x="86" y="92"/>
                      <a:pt x="83" y="96"/>
                      <a:pt x="78" y="98"/>
                    </a:cubicBezTo>
                    <a:cubicBezTo>
                      <a:pt x="74" y="101"/>
                      <a:pt x="69" y="103"/>
                      <a:pt x="64" y="104"/>
                    </a:cubicBezTo>
                    <a:cubicBezTo>
                      <a:pt x="58" y="105"/>
                      <a:pt x="53" y="106"/>
                      <a:pt x="47" y="106"/>
                    </a:cubicBezTo>
                    <a:cubicBezTo>
                      <a:pt x="41" y="106"/>
                      <a:pt x="35" y="105"/>
                      <a:pt x="30" y="104"/>
                    </a:cubicBezTo>
                    <a:cubicBezTo>
                      <a:pt x="24" y="103"/>
                      <a:pt x="19" y="101"/>
                      <a:pt x="15" y="98"/>
                    </a:cubicBezTo>
                    <a:cubicBezTo>
                      <a:pt x="11" y="95"/>
                      <a:pt x="7" y="92"/>
                      <a:pt x="4" y="87"/>
                    </a:cubicBezTo>
                    <a:cubicBezTo>
                      <a:pt x="2" y="83"/>
                      <a:pt x="0" y="77"/>
                      <a:pt x="0" y="71"/>
                    </a:cubicBezTo>
                    <a:cubicBezTo>
                      <a:pt x="26" y="71"/>
                      <a:pt x="26" y="71"/>
                      <a:pt x="26" y="71"/>
                    </a:cubicBezTo>
                    <a:cubicBezTo>
                      <a:pt x="26" y="74"/>
                      <a:pt x="27" y="76"/>
                      <a:pt x="28" y="7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6" name="Freeform 22"/>
              <p:cNvSpPr>
                <a:spLocks/>
              </p:cNvSpPr>
              <p:nvPr userDrawn="1"/>
            </p:nvSpPr>
            <p:spPr bwMode="auto">
              <a:xfrm>
                <a:off x="2093913" y="4427538"/>
                <a:ext cx="119063" cy="136525"/>
              </a:xfrm>
              <a:custGeom>
                <a:avLst/>
                <a:gdLst>
                  <a:gd name="T0" fmla="*/ 2147483647 w 92"/>
                  <a:gd name="T1" fmla="*/ 2147483647 h 106"/>
                  <a:gd name="T2" fmla="*/ 2147483647 w 92"/>
                  <a:gd name="T3" fmla="*/ 2147483647 h 106"/>
                  <a:gd name="T4" fmla="*/ 2147483647 w 92"/>
                  <a:gd name="T5" fmla="*/ 2147483647 h 106"/>
                  <a:gd name="T6" fmla="*/ 2147483647 w 92"/>
                  <a:gd name="T7" fmla="*/ 2147483647 h 106"/>
                  <a:gd name="T8" fmla="*/ 2147483647 w 92"/>
                  <a:gd name="T9" fmla="*/ 2147483647 h 106"/>
                  <a:gd name="T10" fmla="*/ 2147483647 w 92"/>
                  <a:gd name="T11" fmla="*/ 2147483647 h 106"/>
                  <a:gd name="T12" fmla="*/ 2147483647 w 92"/>
                  <a:gd name="T13" fmla="*/ 2147483647 h 106"/>
                  <a:gd name="T14" fmla="*/ 2147483647 w 92"/>
                  <a:gd name="T15" fmla="*/ 2147483647 h 106"/>
                  <a:gd name="T16" fmla="*/ 2147483647 w 92"/>
                  <a:gd name="T17" fmla="*/ 2147483647 h 106"/>
                  <a:gd name="T18" fmla="*/ 2147483647 w 92"/>
                  <a:gd name="T19" fmla="*/ 2147483647 h 106"/>
                  <a:gd name="T20" fmla="*/ 2147483647 w 92"/>
                  <a:gd name="T21" fmla="*/ 2147483647 h 106"/>
                  <a:gd name="T22" fmla="*/ 2147483647 w 92"/>
                  <a:gd name="T23" fmla="*/ 2147483647 h 106"/>
                  <a:gd name="T24" fmla="*/ 2147483647 w 92"/>
                  <a:gd name="T25" fmla="*/ 2147483647 h 106"/>
                  <a:gd name="T26" fmla="*/ 2147483647 w 92"/>
                  <a:gd name="T27" fmla="*/ 2147483647 h 106"/>
                  <a:gd name="T28" fmla="*/ 2147483647 w 92"/>
                  <a:gd name="T29" fmla="*/ 2147483647 h 106"/>
                  <a:gd name="T30" fmla="*/ 2147483647 w 92"/>
                  <a:gd name="T31" fmla="*/ 2147483647 h 106"/>
                  <a:gd name="T32" fmla="*/ 2147483647 w 92"/>
                  <a:gd name="T33" fmla="*/ 2147483647 h 106"/>
                  <a:gd name="T34" fmla="*/ 2147483647 w 92"/>
                  <a:gd name="T35" fmla="*/ 0 h 106"/>
                  <a:gd name="T36" fmla="*/ 2147483647 w 92"/>
                  <a:gd name="T37" fmla="*/ 2147483647 h 106"/>
                  <a:gd name="T38" fmla="*/ 2147483647 w 92"/>
                  <a:gd name="T39" fmla="*/ 2147483647 h 106"/>
                  <a:gd name="T40" fmla="*/ 2147483647 w 92"/>
                  <a:gd name="T41" fmla="*/ 2147483647 h 106"/>
                  <a:gd name="T42" fmla="*/ 2147483647 w 92"/>
                  <a:gd name="T43" fmla="*/ 2147483647 h 106"/>
                  <a:gd name="T44" fmla="*/ 2147483647 w 92"/>
                  <a:gd name="T45" fmla="*/ 2147483647 h 106"/>
                  <a:gd name="T46" fmla="*/ 2147483647 w 92"/>
                  <a:gd name="T47" fmla="*/ 2147483647 h 106"/>
                  <a:gd name="T48" fmla="*/ 2147483647 w 92"/>
                  <a:gd name="T49" fmla="*/ 2147483647 h 106"/>
                  <a:gd name="T50" fmla="*/ 2147483647 w 92"/>
                  <a:gd name="T51" fmla="*/ 2147483647 h 106"/>
                  <a:gd name="T52" fmla="*/ 2147483647 w 92"/>
                  <a:gd name="T53" fmla="*/ 2147483647 h 106"/>
                  <a:gd name="T54" fmla="*/ 2147483647 w 92"/>
                  <a:gd name="T55" fmla="*/ 2147483647 h 106"/>
                  <a:gd name="T56" fmla="*/ 2147483647 w 92"/>
                  <a:gd name="T57" fmla="*/ 2147483647 h 106"/>
                  <a:gd name="T58" fmla="*/ 2147483647 w 92"/>
                  <a:gd name="T59" fmla="*/ 2147483647 h 106"/>
                  <a:gd name="T60" fmla="*/ 2147483647 w 92"/>
                  <a:gd name="T61" fmla="*/ 2147483647 h 106"/>
                  <a:gd name="T62" fmla="*/ 2147483647 w 92"/>
                  <a:gd name="T63" fmla="*/ 2147483647 h 106"/>
                  <a:gd name="T64" fmla="*/ 2147483647 w 92"/>
                  <a:gd name="T65" fmla="*/ 2147483647 h 106"/>
                  <a:gd name="T66" fmla="*/ 2147483647 w 92"/>
                  <a:gd name="T67" fmla="*/ 2147483647 h 106"/>
                  <a:gd name="T68" fmla="*/ 2147483647 w 92"/>
                  <a:gd name="T69" fmla="*/ 2147483647 h 106"/>
                  <a:gd name="T70" fmla="*/ 2147483647 w 92"/>
                  <a:gd name="T71" fmla="*/ 2147483647 h 106"/>
                  <a:gd name="T72" fmla="*/ 2147483647 w 92"/>
                  <a:gd name="T73" fmla="*/ 2147483647 h 106"/>
                  <a:gd name="T74" fmla="*/ 2147483647 w 92"/>
                  <a:gd name="T75" fmla="*/ 2147483647 h 106"/>
                  <a:gd name="T76" fmla="*/ 2147483647 w 92"/>
                  <a:gd name="T77" fmla="*/ 2147483647 h 106"/>
                  <a:gd name="T78" fmla="*/ 2147483647 w 92"/>
                  <a:gd name="T79" fmla="*/ 2147483647 h 106"/>
                  <a:gd name="T80" fmla="*/ 2147483647 w 92"/>
                  <a:gd name="T81" fmla="*/ 2147483647 h 106"/>
                  <a:gd name="T82" fmla="*/ 2147483647 w 92"/>
                  <a:gd name="T83" fmla="*/ 2147483647 h 106"/>
                  <a:gd name="T84" fmla="*/ 2147483647 w 92"/>
                  <a:gd name="T85" fmla="*/ 2147483647 h 106"/>
                  <a:gd name="T86" fmla="*/ 2147483647 w 92"/>
                  <a:gd name="T87" fmla="*/ 2147483647 h 106"/>
                  <a:gd name="T88" fmla="*/ 0 w 92"/>
                  <a:gd name="T89" fmla="*/ 2147483647 h 106"/>
                  <a:gd name="T90" fmla="*/ 2147483647 w 92"/>
                  <a:gd name="T91" fmla="*/ 2147483647 h 106"/>
                  <a:gd name="T92" fmla="*/ 2147483647 w 92"/>
                  <a:gd name="T93" fmla="*/ 2147483647 h 10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92" h="106">
                    <a:moveTo>
                      <a:pt x="27" y="78"/>
                    </a:moveTo>
                    <a:cubicBezTo>
                      <a:pt x="29" y="80"/>
                      <a:pt x="30" y="82"/>
                      <a:pt x="32" y="84"/>
                    </a:cubicBezTo>
                    <a:cubicBezTo>
                      <a:pt x="34" y="85"/>
                      <a:pt x="36" y="86"/>
                      <a:pt x="39" y="87"/>
                    </a:cubicBezTo>
                    <a:cubicBezTo>
                      <a:pt x="41" y="87"/>
                      <a:pt x="44" y="88"/>
                      <a:pt x="47" y="88"/>
                    </a:cubicBezTo>
                    <a:cubicBezTo>
                      <a:pt x="49" y="88"/>
                      <a:pt x="51" y="87"/>
                      <a:pt x="53" y="87"/>
                    </a:cubicBezTo>
                    <a:cubicBezTo>
                      <a:pt x="55" y="86"/>
                      <a:pt x="57" y="86"/>
                      <a:pt x="59" y="85"/>
                    </a:cubicBezTo>
                    <a:cubicBezTo>
                      <a:pt x="60" y="84"/>
                      <a:pt x="62" y="82"/>
                      <a:pt x="63" y="81"/>
                    </a:cubicBezTo>
                    <a:cubicBezTo>
                      <a:pt x="64" y="79"/>
                      <a:pt x="65" y="77"/>
                      <a:pt x="65" y="75"/>
                    </a:cubicBezTo>
                    <a:cubicBezTo>
                      <a:pt x="65" y="71"/>
                      <a:pt x="62" y="68"/>
                      <a:pt x="57" y="65"/>
                    </a:cubicBezTo>
                    <a:cubicBezTo>
                      <a:pt x="51" y="63"/>
                      <a:pt x="43" y="61"/>
                      <a:pt x="34" y="59"/>
                    </a:cubicBezTo>
                    <a:cubicBezTo>
                      <a:pt x="30" y="58"/>
                      <a:pt x="26" y="57"/>
                      <a:pt x="22" y="56"/>
                    </a:cubicBezTo>
                    <a:cubicBezTo>
                      <a:pt x="18" y="55"/>
                      <a:pt x="15" y="53"/>
                      <a:pt x="12" y="51"/>
                    </a:cubicBezTo>
                    <a:cubicBezTo>
                      <a:pt x="9" y="49"/>
                      <a:pt x="6" y="47"/>
                      <a:pt x="5" y="44"/>
                    </a:cubicBezTo>
                    <a:cubicBezTo>
                      <a:pt x="3" y="41"/>
                      <a:pt x="2" y="37"/>
                      <a:pt x="2" y="33"/>
                    </a:cubicBezTo>
                    <a:cubicBezTo>
                      <a:pt x="2" y="26"/>
                      <a:pt x="3" y="21"/>
                      <a:pt x="6" y="17"/>
                    </a:cubicBezTo>
                    <a:cubicBezTo>
                      <a:pt x="8" y="13"/>
                      <a:pt x="11" y="9"/>
                      <a:pt x="16" y="7"/>
                    </a:cubicBezTo>
                    <a:cubicBezTo>
                      <a:pt x="20" y="4"/>
                      <a:pt x="24" y="3"/>
                      <a:pt x="30" y="2"/>
                    </a:cubicBezTo>
                    <a:cubicBezTo>
                      <a:pt x="35" y="1"/>
                      <a:pt x="40" y="0"/>
                      <a:pt x="45" y="0"/>
                    </a:cubicBezTo>
                    <a:cubicBezTo>
                      <a:pt x="51" y="0"/>
                      <a:pt x="56" y="1"/>
                      <a:pt x="61" y="2"/>
                    </a:cubicBezTo>
                    <a:cubicBezTo>
                      <a:pt x="66" y="3"/>
                      <a:pt x="71" y="5"/>
                      <a:pt x="75" y="7"/>
                    </a:cubicBezTo>
                    <a:cubicBezTo>
                      <a:pt x="79" y="10"/>
                      <a:pt x="82" y="13"/>
                      <a:pt x="85" y="17"/>
                    </a:cubicBezTo>
                    <a:cubicBezTo>
                      <a:pt x="87" y="21"/>
                      <a:pt x="89" y="26"/>
                      <a:pt x="90" y="32"/>
                    </a:cubicBezTo>
                    <a:cubicBezTo>
                      <a:pt x="63" y="32"/>
                      <a:pt x="63" y="32"/>
                      <a:pt x="63" y="32"/>
                    </a:cubicBezTo>
                    <a:cubicBezTo>
                      <a:pt x="63" y="27"/>
                      <a:pt x="61" y="23"/>
                      <a:pt x="57" y="22"/>
                    </a:cubicBezTo>
                    <a:cubicBezTo>
                      <a:pt x="54" y="20"/>
                      <a:pt x="50" y="19"/>
                      <a:pt x="45" y="19"/>
                    </a:cubicBezTo>
                    <a:cubicBezTo>
                      <a:pt x="43" y="19"/>
                      <a:pt x="41" y="19"/>
                      <a:pt x="40" y="19"/>
                    </a:cubicBezTo>
                    <a:cubicBezTo>
                      <a:pt x="38" y="19"/>
                      <a:pt x="36" y="20"/>
                      <a:pt x="35" y="20"/>
                    </a:cubicBezTo>
                    <a:cubicBezTo>
                      <a:pt x="33" y="21"/>
                      <a:pt x="32" y="22"/>
                      <a:pt x="31" y="23"/>
                    </a:cubicBezTo>
                    <a:cubicBezTo>
                      <a:pt x="30" y="24"/>
                      <a:pt x="29" y="26"/>
                      <a:pt x="29" y="28"/>
                    </a:cubicBezTo>
                    <a:cubicBezTo>
                      <a:pt x="29" y="31"/>
                      <a:pt x="30" y="33"/>
                      <a:pt x="32" y="34"/>
                    </a:cubicBezTo>
                    <a:cubicBezTo>
                      <a:pt x="34" y="36"/>
                      <a:pt x="36" y="37"/>
                      <a:pt x="39" y="38"/>
                    </a:cubicBezTo>
                    <a:cubicBezTo>
                      <a:pt x="42" y="39"/>
                      <a:pt x="45" y="40"/>
                      <a:pt x="49" y="40"/>
                    </a:cubicBezTo>
                    <a:cubicBezTo>
                      <a:pt x="53" y="41"/>
                      <a:pt x="57" y="42"/>
                      <a:pt x="61" y="43"/>
                    </a:cubicBezTo>
                    <a:cubicBezTo>
                      <a:pt x="65" y="44"/>
                      <a:pt x="68" y="45"/>
                      <a:pt x="72" y="46"/>
                    </a:cubicBezTo>
                    <a:cubicBezTo>
                      <a:pt x="76" y="48"/>
                      <a:pt x="79" y="49"/>
                      <a:pt x="82" y="51"/>
                    </a:cubicBezTo>
                    <a:cubicBezTo>
                      <a:pt x="85" y="54"/>
                      <a:pt x="88" y="56"/>
                      <a:pt x="90" y="59"/>
                    </a:cubicBezTo>
                    <a:cubicBezTo>
                      <a:pt x="91" y="63"/>
                      <a:pt x="92" y="66"/>
                      <a:pt x="92" y="71"/>
                    </a:cubicBezTo>
                    <a:cubicBezTo>
                      <a:pt x="92" y="78"/>
                      <a:pt x="91" y="83"/>
                      <a:pt x="88" y="88"/>
                    </a:cubicBezTo>
                    <a:cubicBezTo>
                      <a:pt x="86" y="92"/>
                      <a:pt x="82" y="96"/>
                      <a:pt x="78" y="98"/>
                    </a:cubicBezTo>
                    <a:cubicBezTo>
                      <a:pt x="74" y="101"/>
                      <a:pt x="69" y="103"/>
                      <a:pt x="63" y="104"/>
                    </a:cubicBezTo>
                    <a:cubicBezTo>
                      <a:pt x="58" y="105"/>
                      <a:pt x="52" y="106"/>
                      <a:pt x="47" y="106"/>
                    </a:cubicBezTo>
                    <a:cubicBezTo>
                      <a:pt x="41" y="106"/>
                      <a:pt x="35" y="105"/>
                      <a:pt x="30" y="104"/>
                    </a:cubicBezTo>
                    <a:cubicBezTo>
                      <a:pt x="24" y="103"/>
                      <a:pt x="19" y="101"/>
                      <a:pt x="15" y="98"/>
                    </a:cubicBezTo>
                    <a:cubicBezTo>
                      <a:pt x="10" y="95"/>
                      <a:pt x="7" y="92"/>
                      <a:pt x="4" y="87"/>
                    </a:cubicBezTo>
                    <a:cubicBezTo>
                      <a:pt x="1" y="83"/>
                      <a:pt x="0" y="77"/>
                      <a:pt x="0" y="71"/>
                    </a:cubicBezTo>
                    <a:cubicBezTo>
                      <a:pt x="26" y="71"/>
                      <a:pt x="26" y="71"/>
                      <a:pt x="26" y="71"/>
                    </a:cubicBezTo>
                    <a:cubicBezTo>
                      <a:pt x="26" y="74"/>
                      <a:pt x="26" y="76"/>
                      <a:pt x="27" y="7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7" name="Freeform 23"/>
              <p:cNvSpPr>
                <a:spLocks/>
              </p:cNvSpPr>
              <p:nvPr userDrawn="1"/>
            </p:nvSpPr>
            <p:spPr bwMode="auto">
              <a:xfrm>
                <a:off x="1173163" y="4627563"/>
                <a:ext cx="150813" cy="187325"/>
              </a:xfrm>
              <a:custGeom>
                <a:avLst/>
                <a:gdLst>
                  <a:gd name="T0" fmla="*/ 2147483647 w 117"/>
                  <a:gd name="T1" fmla="*/ 2147483647 h 145"/>
                  <a:gd name="T2" fmla="*/ 2147483647 w 117"/>
                  <a:gd name="T3" fmla="*/ 2147483647 h 145"/>
                  <a:gd name="T4" fmla="*/ 2147483647 w 117"/>
                  <a:gd name="T5" fmla="*/ 2147483647 h 145"/>
                  <a:gd name="T6" fmla="*/ 2147483647 w 117"/>
                  <a:gd name="T7" fmla="*/ 2147483647 h 145"/>
                  <a:gd name="T8" fmla="*/ 2147483647 w 117"/>
                  <a:gd name="T9" fmla="*/ 2147483647 h 145"/>
                  <a:gd name="T10" fmla="*/ 2147483647 w 117"/>
                  <a:gd name="T11" fmla="*/ 2147483647 h 145"/>
                  <a:gd name="T12" fmla="*/ 2147483647 w 117"/>
                  <a:gd name="T13" fmla="*/ 2147483647 h 145"/>
                  <a:gd name="T14" fmla="*/ 2147483647 w 117"/>
                  <a:gd name="T15" fmla="*/ 2147483647 h 145"/>
                  <a:gd name="T16" fmla="*/ 2147483647 w 117"/>
                  <a:gd name="T17" fmla="*/ 2147483647 h 145"/>
                  <a:gd name="T18" fmla="*/ 2147483647 w 117"/>
                  <a:gd name="T19" fmla="*/ 2147483647 h 145"/>
                  <a:gd name="T20" fmla="*/ 2147483647 w 117"/>
                  <a:gd name="T21" fmla="*/ 2147483647 h 145"/>
                  <a:gd name="T22" fmla="*/ 2147483647 w 117"/>
                  <a:gd name="T23" fmla="*/ 2147483647 h 145"/>
                  <a:gd name="T24" fmla="*/ 2147483647 w 117"/>
                  <a:gd name="T25" fmla="*/ 2147483647 h 145"/>
                  <a:gd name="T26" fmla="*/ 2147483647 w 117"/>
                  <a:gd name="T27" fmla="*/ 2147483647 h 145"/>
                  <a:gd name="T28" fmla="*/ 2147483647 w 117"/>
                  <a:gd name="T29" fmla="*/ 2147483647 h 145"/>
                  <a:gd name="T30" fmla="*/ 2147483647 w 117"/>
                  <a:gd name="T31" fmla="*/ 2147483647 h 145"/>
                  <a:gd name="T32" fmla="*/ 2147483647 w 117"/>
                  <a:gd name="T33" fmla="*/ 2147483647 h 145"/>
                  <a:gd name="T34" fmla="*/ 2147483647 w 117"/>
                  <a:gd name="T35" fmla="*/ 2147483647 h 145"/>
                  <a:gd name="T36" fmla="*/ 2147483647 w 117"/>
                  <a:gd name="T37" fmla="*/ 2147483647 h 145"/>
                  <a:gd name="T38" fmla="*/ 2147483647 w 117"/>
                  <a:gd name="T39" fmla="*/ 0 h 145"/>
                  <a:gd name="T40" fmla="*/ 2147483647 w 117"/>
                  <a:gd name="T41" fmla="*/ 2147483647 h 145"/>
                  <a:gd name="T42" fmla="*/ 2147483647 w 117"/>
                  <a:gd name="T43" fmla="*/ 2147483647 h 145"/>
                  <a:gd name="T44" fmla="*/ 2147483647 w 117"/>
                  <a:gd name="T45" fmla="*/ 2147483647 h 145"/>
                  <a:gd name="T46" fmla="*/ 2147483647 w 117"/>
                  <a:gd name="T47" fmla="*/ 2147483647 h 145"/>
                  <a:gd name="T48" fmla="*/ 2147483647 w 117"/>
                  <a:gd name="T49" fmla="*/ 2147483647 h 145"/>
                  <a:gd name="T50" fmla="*/ 2147483647 w 117"/>
                  <a:gd name="T51" fmla="*/ 2147483647 h 145"/>
                  <a:gd name="T52" fmla="*/ 2147483647 w 117"/>
                  <a:gd name="T53" fmla="*/ 2147483647 h 145"/>
                  <a:gd name="T54" fmla="*/ 2147483647 w 117"/>
                  <a:gd name="T55" fmla="*/ 2147483647 h 145"/>
                  <a:gd name="T56" fmla="*/ 2147483647 w 117"/>
                  <a:gd name="T57" fmla="*/ 2147483647 h 145"/>
                  <a:gd name="T58" fmla="*/ 2147483647 w 117"/>
                  <a:gd name="T59" fmla="*/ 2147483647 h 145"/>
                  <a:gd name="T60" fmla="*/ 2147483647 w 117"/>
                  <a:gd name="T61" fmla="*/ 2147483647 h 145"/>
                  <a:gd name="T62" fmla="*/ 2147483647 w 117"/>
                  <a:gd name="T63" fmla="*/ 2147483647 h 145"/>
                  <a:gd name="T64" fmla="*/ 2147483647 w 117"/>
                  <a:gd name="T65" fmla="*/ 2147483647 h 145"/>
                  <a:gd name="T66" fmla="*/ 2147483647 w 117"/>
                  <a:gd name="T67" fmla="*/ 2147483647 h 145"/>
                  <a:gd name="T68" fmla="*/ 2147483647 w 117"/>
                  <a:gd name="T69" fmla="*/ 2147483647 h 145"/>
                  <a:gd name="T70" fmla="*/ 2147483647 w 117"/>
                  <a:gd name="T71" fmla="*/ 2147483647 h 145"/>
                  <a:gd name="T72" fmla="*/ 2147483647 w 117"/>
                  <a:gd name="T73" fmla="*/ 2147483647 h 145"/>
                  <a:gd name="T74" fmla="*/ 2147483647 w 117"/>
                  <a:gd name="T75" fmla="*/ 2147483647 h 145"/>
                  <a:gd name="T76" fmla="*/ 2147483647 w 117"/>
                  <a:gd name="T77" fmla="*/ 2147483647 h 145"/>
                  <a:gd name="T78" fmla="*/ 2147483647 w 117"/>
                  <a:gd name="T79" fmla="*/ 2147483647 h 145"/>
                  <a:gd name="T80" fmla="*/ 2147483647 w 117"/>
                  <a:gd name="T81" fmla="*/ 2147483647 h 145"/>
                  <a:gd name="T82" fmla="*/ 2147483647 w 117"/>
                  <a:gd name="T83" fmla="*/ 2147483647 h 145"/>
                  <a:gd name="T84" fmla="*/ 2147483647 w 117"/>
                  <a:gd name="T85" fmla="*/ 2147483647 h 145"/>
                  <a:gd name="T86" fmla="*/ 2147483647 w 117"/>
                  <a:gd name="T87" fmla="*/ 2147483647 h 145"/>
                  <a:gd name="T88" fmla="*/ 2147483647 w 117"/>
                  <a:gd name="T89" fmla="*/ 2147483647 h 145"/>
                  <a:gd name="T90" fmla="*/ 2147483647 w 117"/>
                  <a:gd name="T91" fmla="*/ 2147483647 h 145"/>
                  <a:gd name="T92" fmla="*/ 2147483647 w 117"/>
                  <a:gd name="T93" fmla="*/ 2147483647 h 145"/>
                  <a:gd name="T94" fmla="*/ 2147483647 w 117"/>
                  <a:gd name="T95" fmla="*/ 2147483647 h 145"/>
                  <a:gd name="T96" fmla="*/ 0 w 117"/>
                  <a:gd name="T97" fmla="*/ 2147483647 h 145"/>
                  <a:gd name="T98" fmla="*/ 2147483647 w 117"/>
                  <a:gd name="T99" fmla="*/ 2147483647 h 145"/>
                  <a:gd name="T100" fmla="*/ 2147483647 w 117"/>
                  <a:gd name="T101" fmla="*/ 2147483647 h 145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117" h="145">
                    <a:moveTo>
                      <a:pt x="32" y="108"/>
                    </a:moveTo>
                    <a:cubicBezTo>
                      <a:pt x="34" y="111"/>
                      <a:pt x="36" y="114"/>
                      <a:pt x="39" y="116"/>
                    </a:cubicBezTo>
                    <a:cubicBezTo>
                      <a:pt x="42" y="118"/>
                      <a:pt x="45" y="119"/>
                      <a:pt x="49" y="120"/>
                    </a:cubicBezTo>
                    <a:cubicBezTo>
                      <a:pt x="52" y="121"/>
                      <a:pt x="56" y="122"/>
                      <a:pt x="60" y="122"/>
                    </a:cubicBezTo>
                    <a:cubicBezTo>
                      <a:pt x="63" y="122"/>
                      <a:pt x="66" y="121"/>
                      <a:pt x="69" y="121"/>
                    </a:cubicBezTo>
                    <a:cubicBezTo>
                      <a:pt x="72" y="121"/>
                      <a:pt x="75" y="120"/>
                      <a:pt x="78" y="118"/>
                    </a:cubicBezTo>
                    <a:cubicBezTo>
                      <a:pt x="80" y="117"/>
                      <a:pt x="83" y="115"/>
                      <a:pt x="84" y="113"/>
                    </a:cubicBezTo>
                    <a:cubicBezTo>
                      <a:pt x="86" y="111"/>
                      <a:pt x="87" y="108"/>
                      <a:pt x="87" y="104"/>
                    </a:cubicBezTo>
                    <a:cubicBezTo>
                      <a:pt x="87" y="101"/>
                      <a:pt x="86" y="98"/>
                      <a:pt x="84" y="95"/>
                    </a:cubicBezTo>
                    <a:cubicBezTo>
                      <a:pt x="81" y="93"/>
                      <a:pt x="78" y="91"/>
                      <a:pt x="74" y="90"/>
                    </a:cubicBezTo>
                    <a:cubicBezTo>
                      <a:pt x="70" y="88"/>
                      <a:pt x="66" y="87"/>
                      <a:pt x="61" y="85"/>
                    </a:cubicBezTo>
                    <a:cubicBezTo>
                      <a:pt x="56" y="84"/>
                      <a:pt x="51" y="83"/>
                      <a:pt x="46" y="82"/>
                    </a:cubicBezTo>
                    <a:cubicBezTo>
                      <a:pt x="41" y="80"/>
                      <a:pt x="36" y="79"/>
                      <a:pt x="31" y="77"/>
                    </a:cubicBezTo>
                    <a:cubicBezTo>
                      <a:pt x="26" y="75"/>
                      <a:pt x="22" y="73"/>
                      <a:pt x="18" y="70"/>
                    </a:cubicBezTo>
                    <a:cubicBezTo>
                      <a:pt x="14" y="67"/>
                      <a:pt x="11" y="63"/>
                      <a:pt x="8" y="58"/>
                    </a:cubicBezTo>
                    <a:cubicBezTo>
                      <a:pt x="6" y="54"/>
                      <a:pt x="5" y="49"/>
                      <a:pt x="5" y="42"/>
                    </a:cubicBezTo>
                    <a:cubicBezTo>
                      <a:pt x="5" y="35"/>
                      <a:pt x="6" y="29"/>
                      <a:pt x="9" y="24"/>
                    </a:cubicBezTo>
                    <a:cubicBezTo>
                      <a:pt x="12" y="19"/>
                      <a:pt x="16" y="14"/>
                      <a:pt x="21" y="11"/>
                    </a:cubicBezTo>
                    <a:cubicBezTo>
                      <a:pt x="26" y="7"/>
                      <a:pt x="32" y="5"/>
                      <a:pt x="38" y="3"/>
                    </a:cubicBezTo>
                    <a:cubicBezTo>
                      <a:pt x="44" y="1"/>
                      <a:pt x="50" y="0"/>
                      <a:pt x="56" y="0"/>
                    </a:cubicBezTo>
                    <a:cubicBezTo>
                      <a:pt x="64" y="0"/>
                      <a:pt x="71" y="1"/>
                      <a:pt x="77" y="3"/>
                    </a:cubicBezTo>
                    <a:cubicBezTo>
                      <a:pt x="84" y="4"/>
                      <a:pt x="90" y="7"/>
                      <a:pt x="95" y="11"/>
                    </a:cubicBezTo>
                    <a:cubicBezTo>
                      <a:pt x="100" y="14"/>
                      <a:pt x="104" y="19"/>
                      <a:pt x="107" y="25"/>
                    </a:cubicBezTo>
                    <a:cubicBezTo>
                      <a:pt x="110" y="30"/>
                      <a:pt x="112" y="37"/>
                      <a:pt x="112" y="45"/>
                    </a:cubicBezTo>
                    <a:cubicBezTo>
                      <a:pt x="82" y="45"/>
                      <a:pt x="82" y="45"/>
                      <a:pt x="82" y="45"/>
                    </a:cubicBezTo>
                    <a:cubicBezTo>
                      <a:pt x="82" y="41"/>
                      <a:pt x="81" y="37"/>
                      <a:pt x="80" y="35"/>
                    </a:cubicBezTo>
                    <a:cubicBezTo>
                      <a:pt x="78" y="32"/>
                      <a:pt x="76" y="30"/>
                      <a:pt x="74" y="28"/>
                    </a:cubicBezTo>
                    <a:cubicBezTo>
                      <a:pt x="71" y="27"/>
                      <a:pt x="69" y="26"/>
                      <a:pt x="65" y="25"/>
                    </a:cubicBezTo>
                    <a:cubicBezTo>
                      <a:pt x="62" y="24"/>
                      <a:pt x="59" y="24"/>
                      <a:pt x="55" y="24"/>
                    </a:cubicBezTo>
                    <a:cubicBezTo>
                      <a:pt x="53" y="24"/>
                      <a:pt x="50" y="24"/>
                      <a:pt x="48" y="25"/>
                    </a:cubicBezTo>
                    <a:cubicBezTo>
                      <a:pt x="45" y="25"/>
                      <a:pt x="43" y="26"/>
                      <a:pt x="41" y="28"/>
                    </a:cubicBezTo>
                    <a:cubicBezTo>
                      <a:pt x="39" y="29"/>
                      <a:pt x="37" y="30"/>
                      <a:pt x="36" y="32"/>
                    </a:cubicBezTo>
                    <a:cubicBezTo>
                      <a:pt x="35" y="34"/>
                      <a:pt x="34" y="37"/>
                      <a:pt x="34" y="40"/>
                    </a:cubicBezTo>
                    <a:cubicBezTo>
                      <a:pt x="34" y="42"/>
                      <a:pt x="35" y="45"/>
                      <a:pt x="36" y="46"/>
                    </a:cubicBezTo>
                    <a:cubicBezTo>
                      <a:pt x="37" y="48"/>
                      <a:pt x="39" y="50"/>
                      <a:pt x="42" y="51"/>
                    </a:cubicBezTo>
                    <a:cubicBezTo>
                      <a:pt x="45" y="52"/>
                      <a:pt x="49" y="54"/>
                      <a:pt x="54" y="55"/>
                    </a:cubicBezTo>
                    <a:cubicBezTo>
                      <a:pt x="60" y="57"/>
                      <a:pt x="67" y="58"/>
                      <a:pt x="75" y="61"/>
                    </a:cubicBezTo>
                    <a:cubicBezTo>
                      <a:pt x="78" y="61"/>
                      <a:pt x="82" y="62"/>
                      <a:pt x="86" y="63"/>
                    </a:cubicBezTo>
                    <a:cubicBezTo>
                      <a:pt x="91" y="65"/>
                      <a:pt x="95" y="67"/>
                      <a:pt x="100" y="70"/>
                    </a:cubicBezTo>
                    <a:cubicBezTo>
                      <a:pt x="104" y="73"/>
                      <a:pt x="108" y="77"/>
                      <a:pt x="112" y="82"/>
                    </a:cubicBezTo>
                    <a:cubicBezTo>
                      <a:pt x="115" y="87"/>
                      <a:pt x="117" y="93"/>
                      <a:pt x="117" y="101"/>
                    </a:cubicBezTo>
                    <a:cubicBezTo>
                      <a:pt x="117" y="107"/>
                      <a:pt x="115" y="113"/>
                      <a:pt x="113" y="119"/>
                    </a:cubicBezTo>
                    <a:cubicBezTo>
                      <a:pt x="110" y="124"/>
                      <a:pt x="107" y="129"/>
                      <a:pt x="102" y="133"/>
                    </a:cubicBezTo>
                    <a:cubicBezTo>
                      <a:pt x="97" y="137"/>
                      <a:pt x="91" y="140"/>
                      <a:pt x="84" y="142"/>
                    </a:cubicBezTo>
                    <a:cubicBezTo>
                      <a:pt x="77" y="144"/>
                      <a:pt x="68" y="145"/>
                      <a:pt x="59" y="145"/>
                    </a:cubicBezTo>
                    <a:cubicBezTo>
                      <a:pt x="51" y="145"/>
                      <a:pt x="44" y="144"/>
                      <a:pt x="37" y="142"/>
                    </a:cubicBezTo>
                    <a:cubicBezTo>
                      <a:pt x="30" y="140"/>
                      <a:pt x="23" y="138"/>
                      <a:pt x="18" y="134"/>
                    </a:cubicBezTo>
                    <a:cubicBezTo>
                      <a:pt x="12" y="129"/>
                      <a:pt x="8" y="124"/>
                      <a:pt x="5" y="118"/>
                    </a:cubicBezTo>
                    <a:cubicBezTo>
                      <a:pt x="2" y="112"/>
                      <a:pt x="0" y="105"/>
                      <a:pt x="0" y="96"/>
                    </a:cubicBezTo>
                    <a:cubicBezTo>
                      <a:pt x="30" y="96"/>
                      <a:pt x="30" y="96"/>
                      <a:pt x="30" y="96"/>
                    </a:cubicBezTo>
                    <a:cubicBezTo>
                      <a:pt x="30" y="101"/>
                      <a:pt x="30" y="105"/>
                      <a:pt x="32" y="10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8" name="Freeform 24"/>
              <p:cNvSpPr>
                <a:spLocks noEditPoints="1"/>
              </p:cNvSpPr>
              <p:nvPr userDrawn="1"/>
            </p:nvSpPr>
            <p:spPr bwMode="auto">
              <a:xfrm>
                <a:off x="1333500" y="4678363"/>
                <a:ext cx="128588" cy="136525"/>
              </a:xfrm>
              <a:custGeom>
                <a:avLst/>
                <a:gdLst>
                  <a:gd name="T0" fmla="*/ 2147483647 w 100"/>
                  <a:gd name="T1" fmla="*/ 2147483647 h 106"/>
                  <a:gd name="T2" fmla="*/ 2147483647 w 100"/>
                  <a:gd name="T3" fmla="*/ 2147483647 h 106"/>
                  <a:gd name="T4" fmla="*/ 2147483647 w 100"/>
                  <a:gd name="T5" fmla="*/ 2147483647 h 106"/>
                  <a:gd name="T6" fmla="*/ 2147483647 w 100"/>
                  <a:gd name="T7" fmla="*/ 2147483647 h 106"/>
                  <a:gd name="T8" fmla="*/ 2147483647 w 100"/>
                  <a:gd name="T9" fmla="*/ 2147483647 h 106"/>
                  <a:gd name="T10" fmla="*/ 2147483647 w 100"/>
                  <a:gd name="T11" fmla="*/ 2147483647 h 106"/>
                  <a:gd name="T12" fmla="*/ 2147483647 w 100"/>
                  <a:gd name="T13" fmla="*/ 2147483647 h 106"/>
                  <a:gd name="T14" fmla="*/ 2147483647 w 100"/>
                  <a:gd name="T15" fmla="*/ 2147483647 h 106"/>
                  <a:gd name="T16" fmla="*/ 2147483647 w 100"/>
                  <a:gd name="T17" fmla="*/ 2147483647 h 106"/>
                  <a:gd name="T18" fmla="*/ 2147483647 w 100"/>
                  <a:gd name="T19" fmla="*/ 2147483647 h 106"/>
                  <a:gd name="T20" fmla="*/ 0 w 100"/>
                  <a:gd name="T21" fmla="*/ 2147483647 h 106"/>
                  <a:gd name="T22" fmla="*/ 2147483647 w 100"/>
                  <a:gd name="T23" fmla="*/ 2147483647 h 106"/>
                  <a:gd name="T24" fmla="*/ 2147483647 w 100"/>
                  <a:gd name="T25" fmla="*/ 2147483647 h 106"/>
                  <a:gd name="T26" fmla="*/ 2147483647 w 100"/>
                  <a:gd name="T27" fmla="*/ 2147483647 h 106"/>
                  <a:gd name="T28" fmla="*/ 2147483647 w 100"/>
                  <a:gd name="T29" fmla="*/ 0 h 106"/>
                  <a:gd name="T30" fmla="*/ 2147483647 w 100"/>
                  <a:gd name="T31" fmla="*/ 2147483647 h 106"/>
                  <a:gd name="T32" fmla="*/ 2147483647 w 100"/>
                  <a:gd name="T33" fmla="*/ 2147483647 h 106"/>
                  <a:gd name="T34" fmla="*/ 2147483647 w 100"/>
                  <a:gd name="T35" fmla="*/ 2147483647 h 106"/>
                  <a:gd name="T36" fmla="*/ 2147483647 w 100"/>
                  <a:gd name="T37" fmla="*/ 2147483647 h 106"/>
                  <a:gd name="T38" fmla="*/ 2147483647 w 100"/>
                  <a:gd name="T39" fmla="*/ 2147483647 h 106"/>
                  <a:gd name="T40" fmla="*/ 2147483647 w 100"/>
                  <a:gd name="T41" fmla="*/ 2147483647 h 106"/>
                  <a:gd name="T42" fmla="*/ 2147483647 w 100"/>
                  <a:gd name="T43" fmla="*/ 2147483647 h 106"/>
                  <a:gd name="T44" fmla="*/ 2147483647 w 100"/>
                  <a:gd name="T45" fmla="*/ 2147483647 h 106"/>
                  <a:gd name="T46" fmla="*/ 2147483647 w 100"/>
                  <a:gd name="T47" fmla="*/ 2147483647 h 106"/>
                  <a:gd name="T48" fmla="*/ 2147483647 w 100"/>
                  <a:gd name="T49" fmla="*/ 2147483647 h 106"/>
                  <a:gd name="T50" fmla="*/ 2147483647 w 100"/>
                  <a:gd name="T51" fmla="*/ 2147483647 h 106"/>
                  <a:gd name="T52" fmla="*/ 2147483647 w 100"/>
                  <a:gd name="T53" fmla="*/ 2147483647 h 106"/>
                  <a:gd name="T54" fmla="*/ 2147483647 w 100"/>
                  <a:gd name="T55" fmla="*/ 2147483647 h 106"/>
                  <a:gd name="T56" fmla="*/ 2147483647 w 100"/>
                  <a:gd name="T57" fmla="*/ 2147483647 h 10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00" h="106">
                    <a:moveTo>
                      <a:pt x="34" y="79"/>
                    </a:moveTo>
                    <a:cubicBezTo>
                      <a:pt x="38" y="83"/>
                      <a:pt x="44" y="85"/>
                      <a:pt x="52" y="85"/>
                    </a:cubicBezTo>
                    <a:cubicBezTo>
                      <a:pt x="57" y="85"/>
                      <a:pt x="62" y="84"/>
                      <a:pt x="66" y="81"/>
                    </a:cubicBezTo>
                    <a:cubicBezTo>
                      <a:pt x="70" y="78"/>
                      <a:pt x="73" y="75"/>
                      <a:pt x="74" y="72"/>
                    </a:cubicBezTo>
                    <a:cubicBezTo>
                      <a:pt x="98" y="72"/>
                      <a:pt x="98" y="72"/>
                      <a:pt x="98" y="72"/>
                    </a:cubicBezTo>
                    <a:cubicBezTo>
                      <a:pt x="94" y="84"/>
                      <a:pt x="88" y="93"/>
                      <a:pt x="80" y="98"/>
                    </a:cubicBezTo>
                    <a:cubicBezTo>
                      <a:pt x="72" y="103"/>
                      <a:pt x="62" y="106"/>
                      <a:pt x="51" y="106"/>
                    </a:cubicBezTo>
                    <a:cubicBezTo>
                      <a:pt x="43" y="106"/>
                      <a:pt x="36" y="104"/>
                      <a:pt x="30" y="102"/>
                    </a:cubicBezTo>
                    <a:cubicBezTo>
                      <a:pt x="23" y="99"/>
                      <a:pt x="18" y="96"/>
                      <a:pt x="14" y="91"/>
                    </a:cubicBezTo>
                    <a:cubicBezTo>
                      <a:pt x="9" y="86"/>
                      <a:pt x="6" y="81"/>
                      <a:pt x="3" y="74"/>
                    </a:cubicBezTo>
                    <a:cubicBezTo>
                      <a:pt x="1" y="68"/>
                      <a:pt x="0" y="61"/>
                      <a:pt x="0" y="53"/>
                    </a:cubicBezTo>
                    <a:cubicBezTo>
                      <a:pt x="0" y="46"/>
                      <a:pt x="1" y="39"/>
                      <a:pt x="3" y="32"/>
                    </a:cubicBezTo>
                    <a:cubicBezTo>
                      <a:pt x="6" y="26"/>
                      <a:pt x="9" y="20"/>
                      <a:pt x="14" y="15"/>
                    </a:cubicBezTo>
                    <a:cubicBezTo>
                      <a:pt x="18" y="11"/>
                      <a:pt x="24" y="7"/>
                      <a:pt x="30" y="4"/>
                    </a:cubicBezTo>
                    <a:cubicBezTo>
                      <a:pt x="36" y="2"/>
                      <a:pt x="43" y="0"/>
                      <a:pt x="51" y="0"/>
                    </a:cubicBezTo>
                    <a:cubicBezTo>
                      <a:pt x="59" y="0"/>
                      <a:pt x="67" y="2"/>
                      <a:pt x="73" y="5"/>
                    </a:cubicBezTo>
                    <a:cubicBezTo>
                      <a:pt x="80" y="8"/>
                      <a:pt x="85" y="13"/>
                      <a:pt x="89" y="18"/>
                    </a:cubicBezTo>
                    <a:cubicBezTo>
                      <a:pt x="93" y="24"/>
                      <a:pt x="96" y="30"/>
                      <a:pt x="98" y="37"/>
                    </a:cubicBezTo>
                    <a:cubicBezTo>
                      <a:pt x="99" y="44"/>
                      <a:pt x="100" y="52"/>
                      <a:pt x="100" y="60"/>
                    </a:cubicBezTo>
                    <a:cubicBezTo>
                      <a:pt x="27" y="60"/>
                      <a:pt x="27" y="60"/>
                      <a:pt x="27" y="60"/>
                    </a:cubicBezTo>
                    <a:cubicBezTo>
                      <a:pt x="28" y="69"/>
                      <a:pt x="30" y="75"/>
                      <a:pt x="34" y="79"/>
                    </a:cubicBezTo>
                    <a:close/>
                    <a:moveTo>
                      <a:pt x="65" y="26"/>
                    </a:moveTo>
                    <a:cubicBezTo>
                      <a:pt x="62" y="23"/>
                      <a:pt x="57" y="21"/>
                      <a:pt x="50" y="21"/>
                    </a:cubicBezTo>
                    <a:cubicBezTo>
                      <a:pt x="46" y="21"/>
                      <a:pt x="42" y="22"/>
                      <a:pt x="39" y="23"/>
                    </a:cubicBezTo>
                    <a:cubicBezTo>
                      <a:pt x="36" y="25"/>
                      <a:pt x="34" y="26"/>
                      <a:pt x="32" y="29"/>
                    </a:cubicBezTo>
                    <a:cubicBezTo>
                      <a:pt x="31" y="31"/>
                      <a:pt x="29" y="33"/>
                      <a:pt x="29" y="36"/>
                    </a:cubicBezTo>
                    <a:cubicBezTo>
                      <a:pt x="28" y="38"/>
                      <a:pt x="27" y="40"/>
                      <a:pt x="27" y="42"/>
                    </a:cubicBezTo>
                    <a:cubicBezTo>
                      <a:pt x="72" y="42"/>
                      <a:pt x="72" y="42"/>
                      <a:pt x="72" y="42"/>
                    </a:cubicBezTo>
                    <a:cubicBezTo>
                      <a:pt x="71" y="35"/>
                      <a:pt x="68" y="30"/>
                      <a:pt x="65" y="26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19" name="Freeform 25"/>
              <p:cNvSpPr>
                <a:spLocks/>
              </p:cNvSpPr>
              <p:nvPr userDrawn="1"/>
            </p:nvSpPr>
            <p:spPr bwMode="auto">
              <a:xfrm>
                <a:off x="1479550" y="4678363"/>
                <a:ext cx="82550" cy="133350"/>
              </a:xfrm>
              <a:custGeom>
                <a:avLst/>
                <a:gdLst>
                  <a:gd name="T0" fmla="*/ 2147483647 w 64"/>
                  <a:gd name="T1" fmla="*/ 2147483647 h 103"/>
                  <a:gd name="T2" fmla="*/ 2147483647 w 64"/>
                  <a:gd name="T3" fmla="*/ 2147483647 h 103"/>
                  <a:gd name="T4" fmla="*/ 2147483647 w 64"/>
                  <a:gd name="T5" fmla="*/ 2147483647 h 103"/>
                  <a:gd name="T6" fmla="*/ 2147483647 w 64"/>
                  <a:gd name="T7" fmla="*/ 2147483647 h 103"/>
                  <a:gd name="T8" fmla="*/ 2147483647 w 64"/>
                  <a:gd name="T9" fmla="*/ 2147483647 h 103"/>
                  <a:gd name="T10" fmla="*/ 2147483647 w 64"/>
                  <a:gd name="T11" fmla="*/ 2147483647 h 103"/>
                  <a:gd name="T12" fmla="*/ 2147483647 w 64"/>
                  <a:gd name="T13" fmla="*/ 0 h 103"/>
                  <a:gd name="T14" fmla="*/ 2147483647 w 64"/>
                  <a:gd name="T15" fmla="*/ 2147483647 h 103"/>
                  <a:gd name="T16" fmla="*/ 2147483647 w 64"/>
                  <a:gd name="T17" fmla="*/ 2147483647 h 103"/>
                  <a:gd name="T18" fmla="*/ 2147483647 w 64"/>
                  <a:gd name="T19" fmla="*/ 2147483647 h 103"/>
                  <a:gd name="T20" fmla="*/ 2147483647 w 64"/>
                  <a:gd name="T21" fmla="*/ 2147483647 h 103"/>
                  <a:gd name="T22" fmla="*/ 2147483647 w 64"/>
                  <a:gd name="T23" fmla="*/ 2147483647 h 103"/>
                  <a:gd name="T24" fmla="*/ 2147483647 w 64"/>
                  <a:gd name="T25" fmla="*/ 2147483647 h 103"/>
                  <a:gd name="T26" fmla="*/ 2147483647 w 64"/>
                  <a:gd name="T27" fmla="*/ 2147483647 h 103"/>
                  <a:gd name="T28" fmla="*/ 2147483647 w 64"/>
                  <a:gd name="T29" fmla="*/ 2147483647 h 103"/>
                  <a:gd name="T30" fmla="*/ 2147483647 w 64"/>
                  <a:gd name="T31" fmla="*/ 2147483647 h 103"/>
                  <a:gd name="T32" fmla="*/ 0 w 64"/>
                  <a:gd name="T33" fmla="*/ 2147483647 h 103"/>
                  <a:gd name="T34" fmla="*/ 0 w 64"/>
                  <a:gd name="T35" fmla="*/ 2147483647 h 103"/>
                  <a:gd name="T36" fmla="*/ 2147483647 w 64"/>
                  <a:gd name="T37" fmla="*/ 2147483647 h 10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4" h="103">
                    <a:moveTo>
                      <a:pt x="26" y="3"/>
                    </a:moveTo>
                    <a:cubicBezTo>
                      <a:pt x="26" y="21"/>
                      <a:pt x="26" y="21"/>
                      <a:pt x="26" y="21"/>
                    </a:cubicBezTo>
                    <a:cubicBezTo>
                      <a:pt x="27" y="21"/>
                      <a:pt x="27" y="21"/>
                      <a:pt x="27" y="21"/>
                    </a:cubicBezTo>
                    <a:cubicBezTo>
                      <a:pt x="28" y="18"/>
                      <a:pt x="30" y="16"/>
                      <a:pt x="32" y="13"/>
                    </a:cubicBezTo>
                    <a:cubicBezTo>
                      <a:pt x="34" y="10"/>
                      <a:pt x="36" y="8"/>
                      <a:pt x="39" y="6"/>
                    </a:cubicBezTo>
                    <a:cubicBezTo>
                      <a:pt x="42" y="4"/>
                      <a:pt x="45" y="3"/>
                      <a:pt x="48" y="2"/>
                    </a:cubicBezTo>
                    <a:cubicBezTo>
                      <a:pt x="52" y="1"/>
                      <a:pt x="55" y="0"/>
                      <a:pt x="58" y="0"/>
                    </a:cubicBezTo>
                    <a:cubicBezTo>
                      <a:pt x="60" y="0"/>
                      <a:pt x="62" y="1"/>
                      <a:pt x="64" y="1"/>
                    </a:cubicBezTo>
                    <a:cubicBezTo>
                      <a:pt x="64" y="27"/>
                      <a:pt x="64" y="27"/>
                      <a:pt x="64" y="27"/>
                    </a:cubicBezTo>
                    <a:cubicBezTo>
                      <a:pt x="63" y="26"/>
                      <a:pt x="62" y="26"/>
                      <a:pt x="60" y="26"/>
                    </a:cubicBezTo>
                    <a:cubicBezTo>
                      <a:pt x="58" y="26"/>
                      <a:pt x="56" y="26"/>
                      <a:pt x="55" y="26"/>
                    </a:cubicBezTo>
                    <a:cubicBezTo>
                      <a:pt x="50" y="26"/>
                      <a:pt x="45" y="27"/>
                      <a:pt x="42" y="28"/>
                    </a:cubicBezTo>
                    <a:cubicBezTo>
                      <a:pt x="38" y="30"/>
                      <a:pt x="36" y="32"/>
                      <a:pt x="33" y="35"/>
                    </a:cubicBezTo>
                    <a:cubicBezTo>
                      <a:pt x="31" y="38"/>
                      <a:pt x="30" y="41"/>
                      <a:pt x="29" y="45"/>
                    </a:cubicBezTo>
                    <a:cubicBezTo>
                      <a:pt x="28" y="49"/>
                      <a:pt x="27" y="53"/>
                      <a:pt x="27" y="58"/>
                    </a:cubicBezTo>
                    <a:cubicBezTo>
                      <a:pt x="27" y="103"/>
                      <a:pt x="27" y="103"/>
                      <a:pt x="27" y="103"/>
                    </a:cubicBezTo>
                    <a:cubicBezTo>
                      <a:pt x="0" y="103"/>
                      <a:pt x="0" y="103"/>
                      <a:pt x="0" y="103"/>
                    </a:cubicBezTo>
                    <a:cubicBezTo>
                      <a:pt x="0" y="3"/>
                      <a:pt x="0" y="3"/>
                      <a:pt x="0" y="3"/>
                    </a:cubicBezTo>
                    <a:lnTo>
                      <a:pt x="26" y="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0" name="Freeform 26"/>
              <p:cNvSpPr>
                <a:spLocks/>
              </p:cNvSpPr>
              <p:nvPr userDrawn="1"/>
            </p:nvSpPr>
            <p:spPr bwMode="auto">
              <a:xfrm>
                <a:off x="1573213" y="4681538"/>
                <a:ext cx="127000" cy="130175"/>
              </a:xfrm>
              <a:custGeom>
                <a:avLst/>
                <a:gdLst>
                  <a:gd name="T0" fmla="*/ 2147483647 w 80"/>
                  <a:gd name="T1" fmla="*/ 2147483647 h 82"/>
                  <a:gd name="T2" fmla="*/ 0 w 80"/>
                  <a:gd name="T3" fmla="*/ 0 h 82"/>
                  <a:gd name="T4" fmla="*/ 2147483647 w 80"/>
                  <a:gd name="T5" fmla="*/ 0 h 82"/>
                  <a:gd name="T6" fmla="*/ 2147483647 w 80"/>
                  <a:gd name="T7" fmla="*/ 2147483647 h 82"/>
                  <a:gd name="T8" fmla="*/ 2147483647 w 80"/>
                  <a:gd name="T9" fmla="*/ 2147483647 h 82"/>
                  <a:gd name="T10" fmla="*/ 2147483647 w 80"/>
                  <a:gd name="T11" fmla="*/ 0 h 82"/>
                  <a:gd name="T12" fmla="*/ 2147483647 w 80"/>
                  <a:gd name="T13" fmla="*/ 0 h 82"/>
                  <a:gd name="T14" fmla="*/ 2147483647 w 80"/>
                  <a:gd name="T15" fmla="*/ 2147483647 h 82"/>
                  <a:gd name="T16" fmla="*/ 2147483647 w 80"/>
                  <a:gd name="T17" fmla="*/ 2147483647 h 8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80" h="82">
                    <a:moveTo>
                      <a:pt x="28" y="82"/>
                    </a:moveTo>
                    <a:lnTo>
                      <a:pt x="0" y="0"/>
                    </a:lnTo>
                    <a:lnTo>
                      <a:pt x="24" y="0"/>
                    </a:lnTo>
                    <a:lnTo>
                      <a:pt x="41" y="56"/>
                    </a:lnTo>
                    <a:lnTo>
                      <a:pt x="58" y="0"/>
                    </a:lnTo>
                    <a:lnTo>
                      <a:pt x="80" y="0"/>
                    </a:lnTo>
                    <a:lnTo>
                      <a:pt x="53" y="82"/>
                    </a:lnTo>
                    <a:lnTo>
                      <a:pt x="28" y="8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1" name="Freeform 27"/>
              <p:cNvSpPr>
                <a:spLocks noEditPoints="1"/>
              </p:cNvSpPr>
              <p:nvPr userDrawn="1"/>
            </p:nvSpPr>
            <p:spPr bwMode="auto">
              <a:xfrm>
                <a:off x="1712913" y="4632326"/>
                <a:ext cx="34925" cy="179388"/>
              </a:xfrm>
              <a:custGeom>
                <a:avLst/>
                <a:gdLst>
                  <a:gd name="T0" fmla="*/ 0 w 22"/>
                  <a:gd name="T1" fmla="*/ 2147483647 h 113"/>
                  <a:gd name="T2" fmla="*/ 0 w 22"/>
                  <a:gd name="T3" fmla="*/ 0 h 113"/>
                  <a:gd name="T4" fmla="*/ 2147483647 w 22"/>
                  <a:gd name="T5" fmla="*/ 0 h 113"/>
                  <a:gd name="T6" fmla="*/ 2147483647 w 22"/>
                  <a:gd name="T7" fmla="*/ 2147483647 h 113"/>
                  <a:gd name="T8" fmla="*/ 0 w 22"/>
                  <a:gd name="T9" fmla="*/ 2147483647 h 113"/>
                  <a:gd name="T10" fmla="*/ 2147483647 w 22"/>
                  <a:gd name="T11" fmla="*/ 2147483647 h 113"/>
                  <a:gd name="T12" fmla="*/ 2147483647 w 22"/>
                  <a:gd name="T13" fmla="*/ 2147483647 h 113"/>
                  <a:gd name="T14" fmla="*/ 0 w 22"/>
                  <a:gd name="T15" fmla="*/ 2147483647 h 113"/>
                  <a:gd name="T16" fmla="*/ 0 w 22"/>
                  <a:gd name="T17" fmla="*/ 2147483647 h 113"/>
                  <a:gd name="T18" fmla="*/ 2147483647 w 22"/>
                  <a:gd name="T19" fmla="*/ 2147483647 h 11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2" h="113">
                    <a:moveTo>
                      <a:pt x="0" y="18"/>
                    </a:moveTo>
                    <a:lnTo>
                      <a:pt x="0" y="0"/>
                    </a:lnTo>
                    <a:lnTo>
                      <a:pt x="22" y="0"/>
                    </a:lnTo>
                    <a:lnTo>
                      <a:pt x="22" y="18"/>
                    </a:lnTo>
                    <a:lnTo>
                      <a:pt x="0" y="18"/>
                    </a:lnTo>
                    <a:close/>
                    <a:moveTo>
                      <a:pt x="22" y="31"/>
                    </a:moveTo>
                    <a:lnTo>
                      <a:pt x="22" y="113"/>
                    </a:lnTo>
                    <a:lnTo>
                      <a:pt x="0" y="113"/>
                    </a:lnTo>
                    <a:lnTo>
                      <a:pt x="0" y="31"/>
                    </a:lnTo>
                    <a:lnTo>
                      <a:pt x="22" y="3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2" name="Freeform 28"/>
              <p:cNvSpPr>
                <a:spLocks/>
              </p:cNvSpPr>
              <p:nvPr userDrawn="1"/>
            </p:nvSpPr>
            <p:spPr bwMode="auto">
              <a:xfrm>
                <a:off x="1766888" y="4678363"/>
                <a:ext cx="127000" cy="136525"/>
              </a:xfrm>
              <a:custGeom>
                <a:avLst/>
                <a:gdLst>
                  <a:gd name="T0" fmla="*/ 2147483647 w 99"/>
                  <a:gd name="T1" fmla="*/ 2147483647 h 106"/>
                  <a:gd name="T2" fmla="*/ 2147483647 w 99"/>
                  <a:gd name="T3" fmla="*/ 2147483647 h 106"/>
                  <a:gd name="T4" fmla="*/ 2147483647 w 99"/>
                  <a:gd name="T5" fmla="*/ 2147483647 h 106"/>
                  <a:gd name="T6" fmla="*/ 2147483647 w 99"/>
                  <a:gd name="T7" fmla="*/ 2147483647 h 106"/>
                  <a:gd name="T8" fmla="*/ 2147483647 w 99"/>
                  <a:gd name="T9" fmla="*/ 2147483647 h 106"/>
                  <a:gd name="T10" fmla="*/ 2147483647 w 99"/>
                  <a:gd name="T11" fmla="*/ 2147483647 h 106"/>
                  <a:gd name="T12" fmla="*/ 2147483647 w 99"/>
                  <a:gd name="T13" fmla="*/ 2147483647 h 106"/>
                  <a:gd name="T14" fmla="*/ 2147483647 w 99"/>
                  <a:gd name="T15" fmla="*/ 2147483647 h 106"/>
                  <a:gd name="T16" fmla="*/ 2147483647 w 99"/>
                  <a:gd name="T17" fmla="*/ 2147483647 h 106"/>
                  <a:gd name="T18" fmla="*/ 2147483647 w 99"/>
                  <a:gd name="T19" fmla="*/ 2147483647 h 106"/>
                  <a:gd name="T20" fmla="*/ 2147483647 w 99"/>
                  <a:gd name="T21" fmla="*/ 2147483647 h 106"/>
                  <a:gd name="T22" fmla="*/ 2147483647 w 99"/>
                  <a:gd name="T23" fmla="*/ 2147483647 h 106"/>
                  <a:gd name="T24" fmla="*/ 2147483647 w 99"/>
                  <a:gd name="T25" fmla="*/ 2147483647 h 106"/>
                  <a:gd name="T26" fmla="*/ 2147483647 w 99"/>
                  <a:gd name="T27" fmla="*/ 2147483647 h 106"/>
                  <a:gd name="T28" fmla="*/ 2147483647 w 99"/>
                  <a:gd name="T29" fmla="*/ 2147483647 h 106"/>
                  <a:gd name="T30" fmla="*/ 2147483647 w 99"/>
                  <a:gd name="T31" fmla="*/ 2147483647 h 106"/>
                  <a:gd name="T32" fmla="*/ 2147483647 w 99"/>
                  <a:gd name="T33" fmla="*/ 2147483647 h 106"/>
                  <a:gd name="T34" fmla="*/ 0 w 99"/>
                  <a:gd name="T35" fmla="*/ 2147483647 h 106"/>
                  <a:gd name="T36" fmla="*/ 2147483647 w 99"/>
                  <a:gd name="T37" fmla="*/ 2147483647 h 106"/>
                  <a:gd name="T38" fmla="*/ 2147483647 w 99"/>
                  <a:gd name="T39" fmla="*/ 2147483647 h 106"/>
                  <a:gd name="T40" fmla="*/ 2147483647 w 99"/>
                  <a:gd name="T41" fmla="*/ 2147483647 h 106"/>
                  <a:gd name="T42" fmla="*/ 2147483647 w 99"/>
                  <a:gd name="T43" fmla="*/ 0 h 106"/>
                  <a:gd name="T44" fmla="*/ 2147483647 w 99"/>
                  <a:gd name="T45" fmla="*/ 2147483647 h 106"/>
                  <a:gd name="T46" fmla="*/ 2147483647 w 99"/>
                  <a:gd name="T47" fmla="*/ 2147483647 h 106"/>
                  <a:gd name="T48" fmla="*/ 2147483647 w 99"/>
                  <a:gd name="T49" fmla="*/ 2147483647 h 106"/>
                  <a:gd name="T50" fmla="*/ 2147483647 w 99"/>
                  <a:gd name="T51" fmla="*/ 2147483647 h 106"/>
                  <a:gd name="T52" fmla="*/ 2147483647 w 99"/>
                  <a:gd name="T53" fmla="*/ 2147483647 h 106"/>
                  <a:gd name="T54" fmla="*/ 2147483647 w 99"/>
                  <a:gd name="T55" fmla="*/ 2147483647 h 10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99" h="106">
                    <a:moveTo>
                      <a:pt x="51" y="21"/>
                    </a:moveTo>
                    <a:cubicBezTo>
                      <a:pt x="47" y="21"/>
                      <a:pt x="43" y="22"/>
                      <a:pt x="40" y="24"/>
                    </a:cubicBezTo>
                    <a:cubicBezTo>
                      <a:pt x="37" y="26"/>
                      <a:pt x="35" y="28"/>
                      <a:pt x="33" y="32"/>
                    </a:cubicBezTo>
                    <a:cubicBezTo>
                      <a:pt x="31" y="35"/>
                      <a:pt x="30" y="38"/>
                      <a:pt x="29" y="42"/>
                    </a:cubicBezTo>
                    <a:cubicBezTo>
                      <a:pt x="28" y="46"/>
                      <a:pt x="28" y="50"/>
                      <a:pt x="28" y="53"/>
                    </a:cubicBezTo>
                    <a:cubicBezTo>
                      <a:pt x="28" y="57"/>
                      <a:pt x="28" y="61"/>
                      <a:pt x="29" y="64"/>
                    </a:cubicBezTo>
                    <a:cubicBezTo>
                      <a:pt x="30" y="68"/>
                      <a:pt x="31" y="72"/>
                      <a:pt x="33" y="75"/>
                    </a:cubicBezTo>
                    <a:cubicBezTo>
                      <a:pt x="34" y="78"/>
                      <a:pt x="37" y="80"/>
                      <a:pt x="40" y="82"/>
                    </a:cubicBezTo>
                    <a:cubicBezTo>
                      <a:pt x="43" y="84"/>
                      <a:pt x="46" y="85"/>
                      <a:pt x="51" y="85"/>
                    </a:cubicBezTo>
                    <a:cubicBezTo>
                      <a:pt x="57" y="85"/>
                      <a:pt x="62" y="83"/>
                      <a:pt x="66" y="79"/>
                    </a:cubicBezTo>
                    <a:cubicBezTo>
                      <a:pt x="69" y="76"/>
                      <a:pt x="72" y="71"/>
                      <a:pt x="73" y="65"/>
                    </a:cubicBezTo>
                    <a:cubicBezTo>
                      <a:pt x="99" y="65"/>
                      <a:pt x="99" y="65"/>
                      <a:pt x="99" y="65"/>
                    </a:cubicBezTo>
                    <a:cubicBezTo>
                      <a:pt x="97" y="78"/>
                      <a:pt x="92" y="88"/>
                      <a:pt x="84" y="95"/>
                    </a:cubicBezTo>
                    <a:cubicBezTo>
                      <a:pt x="75" y="102"/>
                      <a:pt x="64" y="106"/>
                      <a:pt x="51" y="106"/>
                    </a:cubicBezTo>
                    <a:cubicBezTo>
                      <a:pt x="43" y="106"/>
                      <a:pt x="36" y="104"/>
                      <a:pt x="30" y="102"/>
                    </a:cubicBezTo>
                    <a:cubicBezTo>
                      <a:pt x="24" y="99"/>
                      <a:pt x="19" y="96"/>
                      <a:pt x="14" y="91"/>
                    </a:cubicBezTo>
                    <a:cubicBezTo>
                      <a:pt x="10" y="87"/>
                      <a:pt x="6" y="81"/>
                      <a:pt x="4" y="75"/>
                    </a:cubicBezTo>
                    <a:cubicBezTo>
                      <a:pt x="2" y="69"/>
                      <a:pt x="0" y="62"/>
                      <a:pt x="0" y="54"/>
                    </a:cubicBezTo>
                    <a:cubicBezTo>
                      <a:pt x="0" y="47"/>
                      <a:pt x="1" y="39"/>
                      <a:pt x="4" y="33"/>
                    </a:cubicBezTo>
                    <a:cubicBezTo>
                      <a:pt x="6" y="26"/>
                      <a:pt x="9" y="20"/>
                      <a:pt x="14" y="16"/>
                    </a:cubicBezTo>
                    <a:cubicBezTo>
                      <a:pt x="18" y="11"/>
                      <a:pt x="23" y="7"/>
                      <a:pt x="30" y="4"/>
                    </a:cubicBezTo>
                    <a:cubicBezTo>
                      <a:pt x="36" y="2"/>
                      <a:pt x="43" y="0"/>
                      <a:pt x="51" y="0"/>
                    </a:cubicBezTo>
                    <a:cubicBezTo>
                      <a:pt x="57" y="0"/>
                      <a:pt x="63" y="1"/>
                      <a:pt x="69" y="2"/>
                    </a:cubicBezTo>
                    <a:cubicBezTo>
                      <a:pt x="74" y="4"/>
                      <a:pt x="79" y="6"/>
                      <a:pt x="83" y="10"/>
                    </a:cubicBezTo>
                    <a:cubicBezTo>
                      <a:pt x="88" y="13"/>
                      <a:pt x="91" y="17"/>
                      <a:pt x="94" y="21"/>
                    </a:cubicBezTo>
                    <a:cubicBezTo>
                      <a:pt x="97" y="26"/>
                      <a:pt x="98" y="32"/>
                      <a:pt x="99" y="38"/>
                    </a:cubicBezTo>
                    <a:cubicBezTo>
                      <a:pt x="72" y="38"/>
                      <a:pt x="72" y="38"/>
                      <a:pt x="72" y="38"/>
                    </a:cubicBezTo>
                    <a:cubicBezTo>
                      <a:pt x="70" y="27"/>
                      <a:pt x="63" y="21"/>
                      <a:pt x="51" y="2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3" name="Freeform 29"/>
              <p:cNvSpPr>
                <a:spLocks noEditPoints="1"/>
              </p:cNvSpPr>
              <p:nvPr userDrawn="1"/>
            </p:nvSpPr>
            <p:spPr bwMode="auto">
              <a:xfrm>
                <a:off x="1903413" y="4678363"/>
                <a:ext cx="130175" cy="136525"/>
              </a:xfrm>
              <a:custGeom>
                <a:avLst/>
                <a:gdLst>
                  <a:gd name="T0" fmla="*/ 2147483647 w 101"/>
                  <a:gd name="T1" fmla="*/ 2147483647 h 106"/>
                  <a:gd name="T2" fmla="*/ 2147483647 w 101"/>
                  <a:gd name="T3" fmla="*/ 2147483647 h 106"/>
                  <a:gd name="T4" fmla="*/ 2147483647 w 101"/>
                  <a:gd name="T5" fmla="*/ 2147483647 h 106"/>
                  <a:gd name="T6" fmla="*/ 2147483647 w 101"/>
                  <a:gd name="T7" fmla="*/ 2147483647 h 106"/>
                  <a:gd name="T8" fmla="*/ 2147483647 w 101"/>
                  <a:gd name="T9" fmla="*/ 2147483647 h 106"/>
                  <a:gd name="T10" fmla="*/ 2147483647 w 101"/>
                  <a:gd name="T11" fmla="*/ 2147483647 h 106"/>
                  <a:gd name="T12" fmla="*/ 2147483647 w 101"/>
                  <a:gd name="T13" fmla="*/ 2147483647 h 106"/>
                  <a:gd name="T14" fmla="*/ 2147483647 w 101"/>
                  <a:gd name="T15" fmla="*/ 2147483647 h 106"/>
                  <a:gd name="T16" fmla="*/ 2147483647 w 101"/>
                  <a:gd name="T17" fmla="*/ 2147483647 h 106"/>
                  <a:gd name="T18" fmla="*/ 2147483647 w 101"/>
                  <a:gd name="T19" fmla="*/ 2147483647 h 106"/>
                  <a:gd name="T20" fmla="*/ 0 w 101"/>
                  <a:gd name="T21" fmla="*/ 2147483647 h 106"/>
                  <a:gd name="T22" fmla="*/ 2147483647 w 101"/>
                  <a:gd name="T23" fmla="*/ 2147483647 h 106"/>
                  <a:gd name="T24" fmla="*/ 2147483647 w 101"/>
                  <a:gd name="T25" fmla="*/ 2147483647 h 106"/>
                  <a:gd name="T26" fmla="*/ 2147483647 w 101"/>
                  <a:gd name="T27" fmla="*/ 2147483647 h 106"/>
                  <a:gd name="T28" fmla="*/ 2147483647 w 101"/>
                  <a:gd name="T29" fmla="*/ 0 h 106"/>
                  <a:gd name="T30" fmla="*/ 2147483647 w 101"/>
                  <a:gd name="T31" fmla="*/ 2147483647 h 106"/>
                  <a:gd name="T32" fmla="*/ 2147483647 w 101"/>
                  <a:gd name="T33" fmla="*/ 2147483647 h 106"/>
                  <a:gd name="T34" fmla="*/ 2147483647 w 101"/>
                  <a:gd name="T35" fmla="*/ 2147483647 h 106"/>
                  <a:gd name="T36" fmla="*/ 2147483647 w 101"/>
                  <a:gd name="T37" fmla="*/ 2147483647 h 106"/>
                  <a:gd name="T38" fmla="*/ 2147483647 w 101"/>
                  <a:gd name="T39" fmla="*/ 2147483647 h 106"/>
                  <a:gd name="T40" fmla="*/ 2147483647 w 101"/>
                  <a:gd name="T41" fmla="*/ 2147483647 h 106"/>
                  <a:gd name="T42" fmla="*/ 2147483647 w 101"/>
                  <a:gd name="T43" fmla="*/ 2147483647 h 106"/>
                  <a:gd name="T44" fmla="*/ 2147483647 w 101"/>
                  <a:gd name="T45" fmla="*/ 2147483647 h 106"/>
                  <a:gd name="T46" fmla="*/ 2147483647 w 101"/>
                  <a:gd name="T47" fmla="*/ 2147483647 h 106"/>
                  <a:gd name="T48" fmla="*/ 2147483647 w 101"/>
                  <a:gd name="T49" fmla="*/ 2147483647 h 106"/>
                  <a:gd name="T50" fmla="*/ 2147483647 w 101"/>
                  <a:gd name="T51" fmla="*/ 2147483647 h 106"/>
                  <a:gd name="T52" fmla="*/ 2147483647 w 101"/>
                  <a:gd name="T53" fmla="*/ 2147483647 h 106"/>
                  <a:gd name="T54" fmla="*/ 2147483647 w 101"/>
                  <a:gd name="T55" fmla="*/ 2147483647 h 106"/>
                  <a:gd name="T56" fmla="*/ 2147483647 w 101"/>
                  <a:gd name="T57" fmla="*/ 2147483647 h 10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01" h="106">
                    <a:moveTo>
                      <a:pt x="35" y="79"/>
                    </a:moveTo>
                    <a:cubicBezTo>
                      <a:pt x="39" y="83"/>
                      <a:pt x="45" y="85"/>
                      <a:pt x="52" y="85"/>
                    </a:cubicBezTo>
                    <a:cubicBezTo>
                      <a:pt x="58" y="85"/>
                      <a:pt x="63" y="84"/>
                      <a:pt x="67" y="81"/>
                    </a:cubicBezTo>
                    <a:cubicBezTo>
                      <a:pt x="71" y="78"/>
                      <a:pt x="73" y="75"/>
                      <a:pt x="74" y="72"/>
                    </a:cubicBezTo>
                    <a:cubicBezTo>
                      <a:pt x="98" y="72"/>
                      <a:pt x="98" y="72"/>
                      <a:pt x="98" y="72"/>
                    </a:cubicBezTo>
                    <a:cubicBezTo>
                      <a:pt x="94" y="84"/>
                      <a:pt x="89" y="93"/>
                      <a:pt x="81" y="98"/>
                    </a:cubicBezTo>
                    <a:cubicBezTo>
                      <a:pt x="73" y="103"/>
                      <a:pt x="63" y="106"/>
                      <a:pt x="51" y="106"/>
                    </a:cubicBezTo>
                    <a:cubicBezTo>
                      <a:pt x="44" y="106"/>
                      <a:pt x="36" y="104"/>
                      <a:pt x="30" y="102"/>
                    </a:cubicBezTo>
                    <a:cubicBezTo>
                      <a:pt x="24" y="99"/>
                      <a:pt x="18" y="96"/>
                      <a:pt x="14" y="91"/>
                    </a:cubicBezTo>
                    <a:cubicBezTo>
                      <a:pt x="10" y="86"/>
                      <a:pt x="6" y="81"/>
                      <a:pt x="4" y="74"/>
                    </a:cubicBezTo>
                    <a:cubicBezTo>
                      <a:pt x="2" y="68"/>
                      <a:pt x="0" y="61"/>
                      <a:pt x="0" y="53"/>
                    </a:cubicBezTo>
                    <a:cubicBezTo>
                      <a:pt x="0" y="46"/>
                      <a:pt x="2" y="39"/>
                      <a:pt x="4" y="32"/>
                    </a:cubicBezTo>
                    <a:cubicBezTo>
                      <a:pt x="6" y="26"/>
                      <a:pt x="10" y="20"/>
                      <a:pt x="14" y="15"/>
                    </a:cubicBezTo>
                    <a:cubicBezTo>
                      <a:pt x="19" y="11"/>
                      <a:pt x="24" y="7"/>
                      <a:pt x="31" y="4"/>
                    </a:cubicBezTo>
                    <a:cubicBezTo>
                      <a:pt x="37" y="2"/>
                      <a:pt x="44" y="0"/>
                      <a:pt x="51" y="0"/>
                    </a:cubicBezTo>
                    <a:cubicBezTo>
                      <a:pt x="60" y="0"/>
                      <a:pt x="67" y="2"/>
                      <a:pt x="74" y="5"/>
                    </a:cubicBezTo>
                    <a:cubicBezTo>
                      <a:pt x="80" y="8"/>
                      <a:pt x="85" y="13"/>
                      <a:pt x="89" y="18"/>
                    </a:cubicBezTo>
                    <a:cubicBezTo>
                      <a:pt x="93" y="24"/>
                      <a:pt x="96" y="30"/>
                      <a:pt x="98" y="37"/>
                    </a:cubicBezTo>
                    <a:cubicBezTo>
                      <a:pt x="100" y="44"/>
                      <a:pt x="101" y="52"/>
                      <a:pt x="100" y="60"/>
                    </a:cubicBezTo>
                    <a:cubicBezTo>
                      <a:pt x="28" y="60"/>
                      <a:pt x="28" y="60"/>
                      <a:pt x="28" y="60"/>
                    </a:cubicBezTo>
                    <a:cubicBezTo>
                      <a:pt x="28" y="69"/>
                      <a:pt x="30" y="75"/>
                      <a:pt x="35" y="79"/>
                    </a:cubicBezTo>
                    <a:close/>
                    <a:moveTo>
                      <a:pt x="66" y="26"/>
                    </a:moveTo>
                    <a:cubicBezTo>
                      <a:pt x="62" y="23"/>
                      <a:pt x="57" y="21"/>
                      <a:pt x="51" y="21"/>
                    </a:cubicBezTo>
                    <a:cubicBezTo>
                      <a:pt x="46" y="21"/>
                      <a:pt x="43" y="22"/>
                      <a:pt x="40" y="23"/>
                    </a:cubicBezTo>
                    <a:cubicBezTo>
                      <a:pt x="37" y="25"/>
                      <a:pt x="35" y="26"/>
                      <a:pt x="33" y="29"/>
                    </a:cubicBezTo>
                    <a:cubicBezTo>
                      <a:pt x="31" y="31"/>
                      <a:pt x="30" y="33"/>
                      <a:pt x="29" y="36"/>
                    </a:cubicBezTo>
                    <a:cubicBezTo>
                      <a:pt x="28" y="38"/>
                      <a:pt x="28" y="40"/>
                      <a:pt x="28" y="42"/>
                    </a:cubicBezTo>
                    <a:cubicBezTo>
                      <a:pt x="73" y="42"/>
                      <a:pt x="73" y="42"/>
                      <a:pt x="73" y="42"/>
                    </a:cubicBezTo>
                    <a:cubicBezTo>
                      <a:pt x="71" y="35"/>
                      <a:pt x="69" y="30"/>
                      <a:pt x="66" y="26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  <p:sp>
            <p:nvSpPr>
              <p:cNvPr id="24" name="Freeform 30"/>
              <p:cNvSpPr>
                <a:spLocks/>
              </p:cNvSpPr>
              <p:nvPr userDrawn="1"/>
            </p:nvSpPr>
            <p:spPr bwMode="auto">
              <a:xfrm>
                <a:off x="2043113" y="4678363"/>
                <a:ext cx="119063" cy="136525"/>
              </a:xfrm>
              <a:custGeom>
                <a:avLst/>
                <a:gdLst>
                  <a:gd name="T0" fmla="*/ 2147483647 w 93"/>
                  <a:gd name="T1" fmla="*/ 2147483647 h 106"/>
                  <a:gd name="T2" fmla="*/ 2147483647 w 93"/>
                  <a:gd name="T3" fmla="*/ 2147483647 h 106"/>
                  <a:gd name="T4" fmla="*/ 2147483647 w 93"/>
                  <a:gd name="T5" fmla="*/ 2147483647 h 106"/>
                  <a:gd name="T6" fmla="*/ 2147483647 w 93"/>
                  <a:gd name="T7" fmla="*/ 2147483647 h 106"/>
                  <a:gd name="T8" fmla="*/ 2147483647 w 93"/>
                  <a:gd name="T9" fmla="*/ 2147483647 h 106"/>
                  <a:gd name="T10" fmla="*/ 2147483647 w 93"/>
                  <a:gd name="T11" fmla="*/ 2147483647 h 106"/>
                  <a:gd name="T12" fmla="*/ 2147483647 w 93"/>
                  <a:gd name="T13" fmla="*/ 2147483647 h 106"/>
                  <a:gd name="T14" fmla="*/ 2147483647 w 93"/>
                  <a:gd name="T15" fmla="*/ 2147483647 h 106"/>
                  <a:gd name="T16" fmla="*/ 2147483647 w 93"/>
                  <a:gd name="T17" fmla="*/ 2147483647 h 106"/>
                  <a:gd name="T18" fmla="*/ 2147483647 w 93"/>
                  <a:gd name="T19" fmla="*/ 2147483647 h 106"/>
                  <a:gd name="T20" fmla="*/ 2147483647 w 93"/>
                  <a:gd name="T21" fmla="*/ 2147483647 h 106"/>
                  <a:gd name="T22" fmla="*/ 2147483647 w 93"/>
                  <a:gd name="T23" fmla="*/ 2147483647 h 106"/>
                  <a:gd name="T24" fmla="*/ 2147483647 w 93"/>
                  <a:gd name="T25" fmla="*/ 2147483647 h 106"/>
                  <a:gd name="T26" fmla="*/ 2147483647 w 93"/>
                  <a:gd name="T27" fmla="*/ 2147483647 h 106"/>
                  <a:gd name="T28" fmla="*/ 2147483647 w 93"/>
                  <a:gd name="T29" fmla="*/ 2147483647 h 106"/>
                  <a:gd name="T30" fmla="*/ 2147483647 w 93"/>
                  <a:gd name="T31" fmla="*/ 2147483647 h 106"/>
                  <a:gd name="T32" fmla="*/ 2147483647 w 93"/>
                  <a:gd name="T33" fmla="*/ 2147483647 h 106"/>
                  <a:gd name="T34" fmla="*/ 2147483647 w 93"/>
                  <a:gd name="T35" fmla="*/ 0 h 106"/>
                  <a:gd name="T36" fmla="*/ 2147483647 w 93"/>
                  <a:gd name="T37" fmla="*/ 2147483647 h 106"/>
                  <a:gd name="T38" fmla="*/ 2147483647 w 93"/>
                  <a:gd name="T39" fmla="*/ 2147483647 h 106"/>
                  <a:gd name="T40" fmla="*/ 2147483647 w 93"/>
                  <a:gd name="T41" fmla="*/ 2147483647 h 106"/>
                  <a:gd name="T42" fmla="*/ 2147483647 w 93"/>
                  <a:gd name="T43" fmla="*/ 2147483647 h 106"/>
                  <a:gd name="T44" fmla="*/ 2147483647 w 93"/>
                  <a:gd name="T45" fmla="*/ 2147483647 h 106"/>
                  <a:gd name="T46" fmla="*/ 2147483647 w 93"/>
                  <a:gd name="T47" fmla="*/ 2147483647 h 106"/>
                  <a:gd name="T48" fmla="*/ 2147483647 w 93"/>
                  <a:gd name="T49" fmla="*/ 2147483647 h 106"/>
                  <a:gd name="T50" fmla="*/ 2147483647 w 93"/>
                  <a:gd name="T51" fmla="*/ 2147483647 h 106"/>
                  <a:gd name="T52" fmla="*/ 2147483647 w 93"/>
                  <a:gd name="T53" fmla="*/ 2147483647 h 106"/>
                  <a:gd name="T54" fmla="*/ 2147483647 w 93"/>
                  <a:gd name="T55" fmla="*/ 2147483647 h 106"/>
                  <a:gd name="T56" fmla="*/ 2147483647 w 93"/>
                  <a:gd name="T57" fmla="*/ 2147483647 h 106"/>
                  <a:gd name="T58" fmla="*/ 2147483647 w 93"/>
                  <a:gd name="T59" fmla="*/ 2147483647 h 106"/>
                  <a:gd name="T60" fmla="*/ 2147483647 w 93"/>
                  <a:gd name="T61" fmla="*/ 2147483647 h 106"/>
                  <a:gd name="T62" fmla="*/ 2147483647 w 93"/>
                  <a:gd name="T63" fmla="*/ 2147483647 h 106"/>
                  <a:gd name="T64" fmla="*/ 2147483647 w 93"/>
                  <a:gd name="T65" fmla="*/ 2147483647 h 106"/>
                  <a:gd name="T66" fmla="*/ 2147483647 w 93"/>
                  <a:gd name="T67" fmla="*/ 2147483647 h 106"/>
                  <a:gd name="T68" fmla="*/ 2147483647 w 93"/>
                  <a:gd name="T69" fmla="*/ 2147483647 h 106"/>
                  <a:gd name="T70" fmla="*/ 2147483647 w 93"/>
                  <a:gd name="T71" fmla="*/ 2147483647 h 106"/>
                  <a:gd name="T72" fmla="*/ 2147483647 w 93"/>
                  <a:gd name="T73" fmla="*/ 2147483647 h 106"/>
                  <a:gd name="T74" fmla="*/ 2147483647 w 93"/>
                  <a:gd name="T75" fmla="*/ 2147483647 h 106"/>
                  <a:gd name="T76" fmla="*/ 2147483647 w 93"/>
                  <a:gd name="T77" fmla="*/ 2147483647 h 106"/>
                  <a:gd name="T78" fmla="*/ 2147483647 w 93"/>
                  <a:gd name="T79" fmla="*/ 2147483647 h 106"/>
                  <a:gd name="T80" fmla="*/ 2147483647 w 93"/>
                  <a:gd name="T81" fmla="*/ 2147483647 h 106"/>
                  <a:gd name="T82" fmla="*/ 2147483647 w 93"/>
                  <a:gd name="T83" fmla="*/ 2147483647 h 106"/>
                  <a:gd name="T84" fmla="*/ 2147483647 w 93"/>
                  <a:gd name="T85" fmla="*/ 2147483647 h 106"/>
                  <a:gd name="T86" fmla="*/ 2147483647 w 93"/>
                  <a:gd name="T87" fmla="*/ 2147483647 h 106"/>
                  <a:gd name="T88" fmla="*/ 0 w 93"/>
                  <a:gd name="T89" fmla="*/ 2147483647 h 106"/>
                  <a:gd name="T90" fmla="*/ 2147483647 w 93"/>
                  <a:gd name="T91" fmla="*/ 2147483647 h 106"/>
                  <a:gd name="T92" fmla="*/ 2147483647 w 93"/>
                  <a:gd name="T93" fmla="*/ 2147483647 h 10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93" h="106">
                    <a:moveTo>
                      <a:pt x="28" y="78"/>
                    </a:moveTo>
                    <a:cubicBezTo>
                      <a:pt x="29" y="80"/>
                      <a:pt x="31" y="82"/>
                      <a:pt x="33" y="83"/>
                    </a:cubicBezTo>
                    <a:cubicBezTo>
                      <a:pt x="35" y="85"/>
                      <a:pt x="37" y="86"/>
                      <a:pt x="39" y="86"/>
                    </a:cubicBezTo>
                    <a:cubicBezTo>
                      <a:pt x="42" y="87"/>
                      <a:pt x="45" y="87"/>
                      <a:pt x="47" y="87"/>
                    </a:cubicBezTo>
                    <a:cubicBezTo>
                      <a:pt x="49" y="87"/>
                      <a:pt x="51" y="87"/>
                      <a:pt x="53" y="87"/>
                    </a:cubicBezTo>
                    <a:cubicBezTo>
                      <a:pt x="56" y="86"/>
                      <a:pt x="57" y="85"/>
                      <a:pt x="59" y="85"/>
                    </a:cubicBezTo>
                    <a:cubicBezTo>
                      <a:pt x="61" y="84"/>
                      <a:pt x="62" y="82"/>
                      <a:pt x="64" y="81"/>
                    </a:cubicBezTo>
                    <a:cubicBezTo>
                      <a:pt x="65" y="79"/>
                      <a:pt x="65" y="77"/>
                      <a:pt x="65" y="75"/>
                    </a:cubicBezTo>
                    <a:cubicBezTo>
                      <a:pt x="65" y="70"/>
                      <a:pt x="63" y="67"/>
                      <a:pt x="57" y="65"/>
                    </a:cubicBezTo>
                    <a:cubicBezTo>
                      <a:pt x="52" y="63"/>
                      <a:pt x="44" y="61"/>
                      <a:pt x="34" y="59"/>
                    </a:cubicBezTo>
                    <a:cubicBezTo>
                      <a:pt x="30" y="58"/>
                      <a:pt x="26" y="57"/>
                      <a:pt x="22" y="56"/>
                    </a:cubicBezTo>
                    <a:cubicBezTo>
                      <a:pt x="19" y="55"/>
                      <a:pt x="15" y="53"/>
                      <a:pt x="12" y="51"/>
                    </a:cubicBezTo>
                    <a:cubicBezTo>
                      <a:pt x="9" y="49"/>
                      <a:pt x="7" y="46"/>
                      <a:pt x="5" y="43"/>
                    </a:cubicBezTo>
                    <a:cubicBezTo>
                      <a:pt x="3" y="40"/>
                      <a:pt x="2" y="37"/>
                      <a:pt x="2" y="32"/>
                    </a:cubicBezTo>
                    <a:cubicBezTo>
                      <a:pt x="2" y="26"/>
                      <a:pt x="4" y="21"/>
                      <a:pt x="6" y="16"/>
                    </a:cubicBezTo>
                    <a:cubicBezTo>
                      <a:pt x="9" y="12"/>
                      <a:pt x="12" y="9"/>
                      <a:pt x="16" y="7"/>
                    </a:cubicBezTo>
                    <a:cubicBezTo>
                      <a:pt x="20" y="4"/>
                      <a:pt x="25" y="3"/>
                      <a:pt x="30" y="2"/>
                    </a:cubicBezTo>
                    <a:cubicBezTo>
                      <a:pt x="35" y="1"/>
                      <a:pt x="41" y="0"/>
                      <a:pt x="46" y="0"/>
                    </a:cubicBezTo>
                    <a:cubicBezTo>
                      <a:pt x="51" y="0"/>
                      <a:pt x="57" y="1"/>
                      <a:pt x="62" y="2"/>
                    </a:cubicBezTo>
                    <a:cubicBezTo>
                      <a:pt x="67" y="3"/>
                      <a:pt x="71" y="4"/>
                      <a:pt x="75" y="7"/>
                    </a:cubicBezTo>
                    <a:cubicBezTo>
                      <a:pt x="79" y="9"/>
                      <a:pt x="83" y="13"/>
                      <a:pt x="85" y="17"/>
                    </a:cubicBezTo>
                    <a:cubicBezTo>
                      <a:pt x="88" y="21"/>
                      <a:pt x="90" y="26"/>
                      <a:pt x="90" y="32"/>
                    </a:cubicBezTo>
                    <a:cubicBezTo>
                      <a:pt x="64" y="32"/>
                      <a:pt x="64" y="32"/>
                      <a:pt x="64" y="32"/>
                    </a:cubicBezTo>
                    <a:cubicBezTo>
                      <a:pt x="64" y="27"/>
                      <a:pt x="62" y="23"/>
                      <a:pt x="58" y="21"/>
                    </a:cubicBezTo>
                    <a:cubicBezTo>
                      <a:pt x="54" y="20"/>
                      <a:pt x="50" y="19"/>
                      <a:pt x="45" y="19"/>
                    </a:cubicBezTo>
                    <a:cubicBezTo>
                      <a:pt x="44" y="19"/>
                      <a:pt x="42" y="19"/>
                      <a:pt x="40" y="19"/>
                    </a:cubicBezTo>
                    <a:cubicBezTo>
                      <a:pt x="38" y="19"/>
                      <a:pt x="37" y="19"/>
                      <a:pt x="35" y="20"/>
                    </a:cubicBezTo>
                    <a:cubicBezTo>
                      <a:pt x="34" y="21"/>
                      <a:pt x="32" y="22"/>
                      <a:pt x="31" y="23"/>
                    </a:cubicBezTo>
                    <a:cubicBezTo>
                      <a:pt x="30" y="24"/>
                      <a:pt x="30" y="26"/>
                      <a:pt x="30" y="28"/>
                    </a:cubicBezTo>
                    <a:cubicBezTo>
                      <a:pt x="30" y="30"/>
                      <a:pt x="31" y="32"/>
                      <a:pt x="33" y="34"/>
                    </a:cubicBezTo>
                    <a:cubicBezTo>
                      <a:pt x="34" y="35"/>
                      <a:pt x="37" y="37"/>
                      <a:pt x="40" y="38"/>
                    </a:cubicBezTo>
                    <a:cubicBezTo>
                      <a:pt x="43" y="39"/>
                      <a:pt x="46" y="39"/>
                      <a:pt x="50" y="40"/>
                    </a:cubicBezTo>
                    <a:cubicBezTo>
                      <a:pt x="53" y="41"/>
                      <a:pt x="57" y="42"/>
                      <a:pt x="61" y="43"/>
                    </a:cubicBezTo>
                    <a:cubicBezTo>
                      <a:pt x="65" y="44"/>
                      <a:pt x="69" y="45"/>
                      <a:pt x="73" y="46"/>
                    </a:cubicBezTo>
                    <a:cubicBezTo>
                      <a:pt x="77" y="47"/>
                      <a:pt x="80" y="49"/>
                      <a:pt x="83" y="51"/>
                    </a:cubicBezTo>
                    <a:cubicBezTo>
                      <a:pt x="86" y="53"/>
                      <a:pt x="88" y="56"/>
                      <a:pt x="90" y="59"/>
                    </a:cubicBezTo>
                    <a:cubicBezTo>
                      <a:pt x="92" y="62"/>
                      <a:pt x="93" y="66"/>
                      <a:pt x="93" y="71"/>
                    </a:cubicBezTo>
                    <a:cubicBezTo>
                      <a:pt x="93" y="77"/>
                      <a:pt x="91" y="83"/>
                      <a:pt x="89" y="87"/>
                    </a:cubicBezTo>
                    <a:cubicBezTo>
                      <a:pt x="86" y="92"/>
                      <a:pt x="83" y="95"/>
                      <a:pt x="78" y="98"/>
                    </a:cubicBezTo>
                    <a:cubicBezTo>
                      <a:pt x="74" y="101"/>
                      <a:pt x="69" y="103"/>
                      <a:pt x="64" y="104"/>
                    </a:cubicBezTo>
                    <a:cubicBezTo>
                      <a:pt x="58" y="105"/>
                      <a:pt x="53" y="106"/>
                      <a:pt x="47" y="106"/>
                    </a:cubicBezTo>
                    <a:cubicBezTo>
                      <a:pt x="41" y="106"/>
                      <a:pt x="36" y="105"/>
                      <a:pt x="30" y="104"/>
                    </a:cubicBezTo>
                    <a:cubicBezTo>
                      <a:pt x="25" y="103"/>
                      <a:pt x="20" y="101"/>
                      <a:pt x="15" y="98"/>
                    </a:cubicBezTo>
                    <a:cubicBezTo>
                      <a:pt x="11" y="95"/>
                      <a:pt x="7" y="92"/>
                      <a:pt x="5" y="87"/>
                    </a:cubicBezTo>
                    <a:cubicBezTo>
                      <a:pt x="2" y="83"/>
                      <a:pt x="0" y="77"/>
                      <a:pt x="0" y="70"/>
                    </a:cubicBezTo>
                    <a:cubicBezTo>
                      <a:pt x="26" y="70"/>
                      <a:pt x="26" y="70"/>
                      <a:pt x="26" y="70"/>
                    </a:cubicBezTo>
                    <a:cubicBezTo>
                      <a:pt x="26" y="73"/>
                      <a:pt x="27" y="76"/>
                      <a:pt x="28" y="7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fr-FR"/>
              </a:p>
            </p:txBody>
          </p:sp>
        </p:grp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30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6" y="339726"/>
            <a:ext cx="2301875" cy="3460750"/>
          </a:xfrm>
        </p:spPr>
        <p:txBody>
          <a:bodyPr tIns="109720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344415133"/>
      </p:ext>
    </p:extLst>
  </p:cSld>
  <p:clrMapOvr>
    <a:masterClrMapping/>
  </p:clrMapOvr>
  <p:transition spd="med">
    <p:fade/>
  </p:transition>
  <p:hf sldNum="0" hdr="0" ftr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611188" y="4657725"/>
            <a:ext cx="1081087" cy="2905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7" rIns="91432" bIns="45717" anchor="ctr"/>
          <a:lstStyle/>
          <a:p>
            <a:pPr algn="ctr" defTabSz="712731">
              <a:defRPr/>
            </a:pPr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2" y="33972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06" marR="0" indent="-401606" algn="l" defTabSz="514309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06" indent="-401606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06" indent="-401606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4197742236"/>
      </p:ext>
    </p:extLst>
  </p:cSld>
  <p:clrMapOvr>
    <a:masterClrMapping/>
  </p:clrMapOvr>
  <p:transition spd="med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611188" y="4657725"/>
            <a:ext cx="1081087" cy="2905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7" rIns="91432" bIns="45717" anchor="ctr"/>
          <a:lstStyle/>
          <a:p>
            <a:pPr algn="ctr" defTabSz="712731">
              <a:defRPr/>
            </a:pPr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2" y="33972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423909475"/>
      </p:ext>
    </p:extLst>
  </p:cSld>
  <p:clrMapOvr>
    <a:masterClrMapping/>
  </p:clrMapOvr>
  <p:transition spd="med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611188" y="4657725"/>
            <a:ext cx="1081087" cy="2905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7" rIns="91432" bIns="45717" anchor="ctr"/>
          <a:lstStyle/>
          <a:p>
            <a:pPr algn="ctr" defTabSz="712731">
              <a:defRPr/>
            </a:pPr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2" y="1304926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1916603"/>
      </p:ext>
    </p:extLst>
  </p:cSld>
  <p:clrMapOvr>
    <a:masterClrMapping/>
  </p:clrMapOvr>
  <p:transition spd="med"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611188" y="4657725"/>
            <a:ext cx="1081087" cy="2905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7" rIns="91432" bIns="45717" anchor="ctr"/>
          <a:lstStyle/>
          <a:p>
            <a:pPr algn="ctr" defTabSz="712731">
              <a:defRPr/>
            </a:pPr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7" y="1304926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94" y="1304926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5281600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3166957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611188" y="4657725"/>
            <a:ext cx="1081087" cy="2905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7" rIns="91432" bIns="45717" anchor="ctr"/>
          <a:lstStyle/>
          <a:p>
            <a:pPr algn="ctr" defTabSz="712731">
              <a:defRPr/>
            </a:pPr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2" y="1304927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2411673"/>
      </p:ext>
    </p:extLst>
  </p:cSld>
  <p:clrMapOvr>
    <a:masterClrMapping/>
  </p:clrMapOvr>
  <p:transition spd="med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611188" y="4657725"/>
            <a:ext cx="1081087" cy="2905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7" rIns="91432" bIns="45717" anchor="ctr"/>
          <a:lstStyle/>
          <a:p>
            <a:pPr algn="ctr" defTabSz="712731">
              <a:defRPr/>
            </a:pPr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32" y="33972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011875"/>
      </p:ext>
    </p:extLst>
  </p:cSld>
  <p:clrMapOvr>
    <a:masterClrMapping/>
  </p:clrMapOvr>
  <p:transition spd="med"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611188" y="4657725"/>
            <a:ext cx="1081087" cy="2905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7" rIns="91432" bIns="45717" anchor="ctr"/>
          <a:lstStyle/>
          <a:p>
            <a:pPr algn="ctr" defTabSz="712731">
              <a:defRPr/>
            </a:pPr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4801013"/>
      </p:ext>
    </p:extLst>
  </p:cSld>
  <p:clrMapOvr>
    <a:masterClrMapping/>
  </p:clrMapOvr>
  <p:transition spd="med"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611188" y="4657725"/>
            <a:ext cx="1081087" cy="2905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7" rIns="91432" bIns="45717" anchor="ctr"/>
          <a:lstStyle/>
          <a:p>
            <a:pPr algn="ctr" defTabSz="712731">
              <a:defRPr/>
            </a:pPr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7964463"/>
      </p:ext>
    </p:extLst>
  </p:cSld>
  <p:clrMapOvr>
    <a:masterClrMapping/>
  </p:clrMapOvr>
  <p:transition spd="med"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5"/>
          <p:cNvCxnSpPr/>
          <p:nvPr userDrawn="1"/>
        </p:nvCxnSpPr>
        <p:spPr>
          <a:xfrm>
            <a:off x="350838" y="663575"/>
            <a:ext cx="8639175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re 1"/>
          <p:cNvSpPr>
            <a:spLocks noGrp="1"/>
          </p:cNvSpPr>
          <p:nvPr>
            <p:ph type="title"/>
          </p:nvPr>
        </p:nvSpPr>
        <p:spPr>
          <a:xfrm>
            <a:off x="339725" y="339730"/>
            <a:ext cx="8470900" cy="621329"/>
          </a:xfrm>
        </p:spPr>
        <p:txBody>
          <a:bodyPr/>
          <a:lstStyle>
            <a:lvl1pPr>
              <a:defRPr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5874926"/>
      </p:ext>
    </p:extLst>
  </p:cSld>
  <p:clrMapOvr>
    <a:masterClrMapping/>
  </p:clrMapOvr>
  <p:transition spd="med"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7" descr="icone-benefices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6113" y="195263"/>
            <a:ext cx="547687" cy="42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Straight Connector 4"/>
          <p:cNvCxnSpPr/>
          <p:nvPr userDrawn="1"/>
        </p:nvCxnSpPr>
        <p:spPr>
          <a:xfrm>
            <a:off x="179388" y="663575"/>
            <a:ext cx="8675687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3350252"/>
      </p:ext>
    </p:extLst>
  </p:cSld>
  <p:clrMapOvr>
    <a:masterClrMapping/>
  </p:clrMapOvr>
  <p:transition spd="med"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8" r="661"/>
          <a:stretch>
            <a:fillRect/>
          </a:stretch>
        </p:blipFill>
        <p:spPr bwMode="auto">
          <a:xfrm>
            <a:off x="0" y="2386013"/>
            <a:ext cx="9144000" cy="1092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404" name="Rectangle 4"/>
          <p:cNvSpPr>
            <a:spLocks noGrp="1" noChangeArrowheads="1"/>
          </p:cNvSpPr>
          <p:nvPr>
            <p:ph type="ctrTitle"/>
          </p:nvPr>
        </p:nvSpPr>
        <p:spPr>
          <a:xfrm>
            <a:off x="3297248" y="2131219"/>
            <a:ext cx="5522911" cy="1196814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5400">
                <a:latin typeface="Helvetica 35 Thin" pitchFamily="34" charset="0"/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4997917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5"/>
          <p:cNvCxnSpPr/>
          <p:nvPr userDrawn="1"/>
        </p:nvCxnSpPr>
        <p:spPr>
          <a:xfrm>
            <a:off x="350838" y="663575"/>
            <a:ext cx="8639175" cy="0"/>
          </a:xfrm>
          <a:prstGeom prst="line">
            <a:avLst/>
          </a:prstGeom>
          <a:ln w="19050"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age 7" descr="icone-enjeux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4863" y="158750"/>
            <a:ext cx="460375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1537234"/>
      </p:ext>
    </p:extLst>
  </p:cSld>
  <p:clrMapOvr>
    <a:masterClrMapping/>
  </p:clrMapOvr>
  <p:transition spd="med"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4635" name="Diapositive think-cell" r:id="rId4" imgW="360" imgH="360" progId="TCLayout.ActiveDocument.1">
                  <p:embed/>
                </p:oleObj>
              </mc:Choice>
              <mc:Fallback>
                <p:oleObj name="Diapositive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10"/>
          <p:cNvSpPr txBox="1">
            <a:spLocks/>
          </p:cNvSpPr>
          <p:nvPr/>
        </p:nvSpPr>
        <p:spPr>
          <a:xfrm>
            <a:off x="336550" y="4471988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C53A034-F47A-407B-94D4-388A417AEFE2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7" name="Text Placeholder 10"/>
          <p:cNvSpPr txBox="1">
            <a:spLocks/>
          </p:cNvSpPr>
          <p:nvPr/>
        </p:nvSpPr>
        <p:spPr>
          <a:xfrm>
            <a:off x="655638" y="4467225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  <p:sp>
        <p:nvSpPr>
          <p:cNvPr id="8" name="Rectangle 7"/>
          <p:cNvSpPr/>
          <p:nvPr/>
        </p:nvSpPr>
        <p:spPr>
          <a:xfrm>
            <a:off x="168275" y="4468813"/>
            <a:ext cx="4237038" cy="4841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7" rIns="91432" bIns="45717" anchor="ctr"/>
          <a:lstStyle/>
          <a:p>
            <a:pPr algn="ctr" defTabSz="712731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9" name="Group 5"/>
          <p:cNvGrpSpPr>
            <a:grpSpLocks/>
          </p:cNvGrpSpPr>
          <p:nvPr/>
        </p:nvGrpSpPr>
        <p:grpSpPr bwMode="auto">
          <a:xfrm>
            <a:off x="339725" y="4130675"/>
            <a:ext cx="676275" cy="676275"/>
            <a:chOff x="360362" y="1781889"/>
            <a:chExt cx="1144765" cy="1144191"/>
          </a:xfrm>
        </p:grpSpPr>
        <p:sp>
          <p:nvSpPr>
            <p:cNvPr id="10" name="Rectangle 8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5pPr>
              <a:lvl6pPr marL="18827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6pPr>
              <a:lvl7pPr marL="23399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7pPr>
              <a:lvl8pPr marL="27971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8pPr>
              <a:lvl9pPr marL="32543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 pitchFamily="34" charset="0"/>
                  <a:ea typeface="ＭＳ Ｐゴシック" pitchFamily="34" charset="-128"/>
                </a:defRPr>
              </a:lvl9pPr>
            </a:lstStyle>
            <a:p>
              <a:pPr defTabSz="914327" eaLnBrk="1" hangingPunct="1"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US" altLang="en-US" sz="1800" dirty="0">
                <a:solidFill>
                  <a:srgbClr val="FF6600"/>
                </a:solidFill>
                <a:latin typeface="Helvetica 75 Bold" pitchFamily="34" charset="0"/>
                <a:cs typeface="Arial" charset="0"/>
              </a:endParaRPr>
            </a:p>
          </p:txBody>
        </p:sp>
        <p:sp>
          <p:nvSpPr>
            <p:cNvPr id="11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7 w 104"/>
                <a:gd name="T1" fmla="*/ 2147483647 h 122"/>
                <a:gd name="T2" fmla="*/ 2147483647 w 104"/>
                <a:gd name="T3" fmla="*/ 2147483647 h 122"/>
                <a:gd name="T4" fmla="*/ 2147483647 w 104"/>
                <a:gd name="T5" fmla="*/ 2147483647 h 122"/>
                <a:gd name="T6" fmla="*/ 2147483647 w 104"/>
                <a:gd name="T7" fmla="*/ 2147483647 h 122"/>
                <a:gd name="T8" fmla="*/ 2147483647 w 104"/>
                <a:gd name="T9" fmla="*/ 2147483647 h 122"/>
                <a:gd name="T10" fmla="*/ 2147483647 w 104"/>
                <a:gd name="T11" fmla="*/ 2147483647 h 122"/>
                <a:gd name="T12" fmla="*/ 2147483647 w 104"/>
                <a:gd name="T13" fmla="*/ 2147483647 h 122"/>
                <a:gd name="T14" fmla="*/ 0 w 104"/>
                <a:gd name="T15" fmla="*/ 2147483647 h 122"/>
                <a:gd name="T16" fmla="*/ 2147483647 w 104"/>
                <a:gd name="T17" fmla="*/ 2147483647 h 122"/>
                <a:gd name="T18" fmla="*/ 2147483647 w 104"/>
                <a:gd name="T19" fmla="*/ 2147483647 h 122"/>
                <a:gd name="T20" fmla="*/ 2147483647 w 104"/>
                <a:gd name="T21" fmla="*/ 2147483647 h 122"/>
                <a:gd name="T22" fmla="*/ 2147483647 w 104"/>
                <a:gd name="T23" fmla="*/ 2147483647 h 122"/>
                <a:gd name="T24" fmla="*/ 2147483647 w 104"/>
                <a:gd name="T25" fmla="*/ 2147483647 h 122"/>
                <a:gd name="T26" fmla="*/ 2147483647 w 104"/>
                <a:gd name="T27" fmla="*/ 0 h 122"/>
                <a:gd name="T28" fmla="*/ 2147483647 w 104"/>
                <a:gd name="T29" fmla="*/ 2147483647 h 122"/>
                <a:gd name="T30" fmla="*/ 2147483647 w 104"/>
                <a:gd name="T31" fmla="*/ 2147483647 h 122"/>
                <a:gd name="T32" fmla="*/ 2147483647 w 104"/>
                <a:gd name="T33" fmla="*/ 2147483647 h 122"/>
                <a:gd name="T34" fmla="*/ 2147483647 w 104"/>
                <a:gd name="T35" fmla="*/ 2147483647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7 h 120"/>
                <a:gd name="T2" fmla="*/ 2147483647 w 105"/>
                <a:gd name="T3" fmla="*/ 2147483647 h 120"/>
                <a:gd name="T4" fmla="*/ 2147483647 w 105"/>
                <a:gd name="T5" fmla="*/ 2147483647 h 120"/>
                <a:gd name="T6" fmla="*/ 2147483647 w 105"/>
                <a:gd name="T7" fmla="*/ 0 h 120"/>
                <a:gd name="T8" fmla="*/ 2147483647 w 105"/>
                <a:gd name="T9" fmla="*/ 2147483647 h 120"/>
                <a:gd name="T10" fmla="*/ 2147483647 w 105"/>
                <a:gd name="T11" fmla="*/ 2147483647 h 120"/>
                <a:gd name="T12" fmla="*/ 2147483647 w 105"/>
                <a:gd name="T13" fmla="*/ 2147483647 h 120"/>
                <a:gd name="T14" fmla="*/ 2147483647 w 105"/>
                <a:gd name="T15" fmla="*/ 2147483647 h 120"/>
                <a:gd name="T16" fmla="*/ 2147483647 w 105"/>
                <a:gd name="T17" fmla="*/ 2147483647 h 120"/>
                <a:gd name="T18" fmla="*/ 2147483647 w 105"/>
                <a:gd name="T19" fmla="*/ 2147483647 h 120"/>
                <a:gd name="T20" fmla="*/ 2147483647 w 105"/>
                <a:gd name="T21" fmla="*/ 2147483647 h 120"/>
                <a:gd name="T22" fmla="*/ 0 w 105"/>
                <a:gd name="T23" fmla="*/ 2147483647 h 120"/>
                <a:gd name="T24" fmla="*/ 0 w 105"/>
                <a:gd name="T25" fmla="*/ 2147483647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7 w 109"/>
                <a:gd name="T1" fmla="*/ 2147483647 h 122"/>
                <a:gd name="T2" fmla="*/ 2147483647 w 109"/>
                <a:gd name="T3" fmla="*/ 2147483647 h 122"/>
                <a:gd name="T4" fmla="*/ 2147483647 w 109"/>
                <a:gd name="T5" fmla="*/ 2147483647 h 122"/>
                <a:gd name="T6" fmla="*/ 2147483647 w 109"/>
                <a:gd name="T7" fmla="*/ 2147483647 h 122"/>
                <a:gd name="T8" fmla="*/ 2147483647 w 109"/>
                <a:gd name="T9" fmla="*/ 2147483647 h 122"/>
                <a:gd name="T10" fmla="*/ 0 w 109"/>
                <a:gd name="T11" fmla="*/ 2147483647 h 122"/>
                <a:gd name="T12" fmla="*/ 2147483647 w 109"/>
                <a:gd name="T13" fmla="*/ 0 h 122"/>
                <a:gd name="T14" fmla="*/ 2147483647 w 109"/>
                <a:gd name="T15" fmla="*/ 2147483647 h 122"/>
                <a:gd name="T16" fmla="*/ 2147483647 w 109"/>
                <a:gd name="T17" fmla="*/ 2147483647 h 122"/>
                <a:gd name="T18" fmla="*/ 2147483647 w 109"/>
                <a:gd name="T19" fmla="*/ 2147483647 h 122"/>
                <a:gd name="T20" fmla="*/ 2147483647 w 109"/>
                <a:gd name="T21" fmla="*/ 2147483647 h 122"/>
                <a:gd name="T22" fmla="*/ 2147483647 w 109"/>
                <a:gd name="T23" fmla="*/ 2147483647 h 122"/>
                <a:gd name="T24" fmla="*/ 2147483647 w 109"/>
                <a:gd name="T25" fmla="*/ 2147483647 h 122"/>
                <a:gd name="T26" fmla="*/ 2147483647 w 109"/>
                <a:gd name="T27" fmla="*/ 2147483647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7 w 116"/>
                <a:gd name="T1" fmla="*/ 2147483647 h 124"/>
                <a:gd name="T2" fmla="*/ 2147483647 w 116"/>
                <a:gd name="T3" fmla="*/ 2147483647 h 124"/>
                <a:gd name="T4" fmla="*/ 2147483647 w 116"/>
                <a:gd name="T5" fmla="*/ 2147483647 h 124"/>
                <a:gd name="T6" fmla="*/ 2147483647 w 116"/>
                <a:gd name="T7" fmla="*/ 2147483647 h 124"/>
                <a:gd name="T8" fmla="*/ 2147483647 w 116"/>
                <a:gd name="T9" fmla="*/ 2147483647 h 124"/>
                <a:gd name="T10" fmla="*/ 2147483647 w 116"/>
                <a:gd name="T11" fmla="*/ 2147483647 h 124"/>
                <a:gd name="T12" fmla="*/ 0 w 116"/>
                <a:gd name="T13" fmla="*/ 2147483647 h 124"/>
                <a:gd name="T14" fmla="*/ 2147483647 w 116"/>
                <a:gd name="T15" fmla="*/ 0 h 124"/>
                <a:gd name="T16" fmla="*/ 2147483647 w 116"/>
                <a:gd name="T17" fmla="*/ 2147483647 h 124"/>
                <a:gd name="T18" fmla="*/ 2147483647 w 116"/>
                <a:gd name="T19" fmla="*/ 2147483647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7 h 120"/>
                <a:gd name="T2" fmla="*/ 2147483647 w 66"/>
                <a:gd name="T3" fmla="*/ 2147483647 h 120"/>
                <a:gd name="T4" fmla="*/ 2147483647 w 66"/>
                <a:gd name="T5" fmla="*/ 2147483647 h 120"/>
                <a:gd name="T6" fmla="*/ 2147483647 w 66"/>
                <a:gd name="T7" fmla="*/ 0 h 120"/>
                <a:gd name="T8" fmla="*/ 2147483647 w 66"/>
                <a:gd name="T9" fmla="*/ 2147483647 h 120"/>
                <a:gd name="T10" fmla="*/ 2147483647 w 66"/>
                <a:gd name="T11" fmla="*/ 2147483647 h 120"/>
                <a:gd name="T12" fmla="*/ 2147483647 w 66"/>
                <a:gd name="T13" fmla="*/ 2147483647 h 120"/>
                <a:gd name="T14" fmla="*/ 2147483647 w 66"/>
                <a:gd name="T15" fmla="*/ 2147483647 h 120"/>
                <a:gd name="T16" fmla="*/ 2147483647 w 66"/>
                <a:gd name="T17" fmla="*/ 2147483647 h 120"/>
                <a:gd name="T18" fmla="*/ 0 w 66"/>
                <a:gd name="T19" fmla="*/ 2147483647 h 120"/>
                <a:gd name="T20" fmla="*/ 0 w 66"/>
                <a:gd name="T21" fmla="*/ 2147483647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7 w 110"/>
                <a:gd name="T1" fmla="*/ 2147483647 h 166"/>
                <a:gd name="T2" fmla="*/ 2147483647 w 110"/>
                <a:gd name="T3" fmla="*/ 2147483647 h 166"/>
                <a:gd name="T4" fmla="*/ 2147483647 w 110"/>
                <a:gd name="T5" fmla="*/ 2147483647 h 166"/>
                <a:gd name="T6" fmla="*/ 2147483647 w 110"/>
                <a:gd name="T7" fmla="*/ 2147483647 h 166"/>
                <a:gd name="T8" fmla="*/ 2147483647 w 110"/>
                <a:gd name="T9" fmla="*/ 2147483647 h 166"/>
                <a:gd name="T10" fmla="*/ 2147483647 w 110"/>
                <a:gd name="T11" fmla="*/ 2147483647 h 166"/>
                <a:gd name="T12" fmla="*/ 2147483647 w 110"/>
                <a:gd name="T13" fmla="*/ 2147483647 h 166"/>
                <a:gd name="T14" fmla="*/ 2147483647 w 110"/>
                <a:gd name="T15" fmla="*/ 2147483647 h 166"/>
                <a:gd name="T16" fmla="*/ 2147483647 w 110"/>
                <a:gd name="T17" fmla="*/ 2147483647 h 166"/>
                <a:gd name="T18" fmla="*/ 2147483647 w 110"/>
                <a:gd name="T19" fmla="*/ 2147483647 h 166"/>
                <a:gd name="T20" fmla="*/ 0 w 110"/>
                <a:gd name="T21" fmla="*/ 2147483647 h 166"/>
                <a:gd name="T22" fmla="*/ 2147483647 w 110"/>
                <a:gd name="T23" fmla="*/ 0 h 166"/>
                <a:gd name="T24" fmla="*/ 2147483647 w 110"/>
                <a:gd name="T25" fmla="*/ 2147483647 h 166"/>
                <a:gd name="T26" fmla="*/ 2147483647 w 110"/>
                <a:gd name="T27" fmla="*/ 2147483647 h 166"/>
                <a:gd name="T28" fmla="*/ 2147483647 w 110"/>
                <a:gd name="T29" fmla="*/ 2147483647 h 166"/>
                <a:gd name="T30" fmla="*/ 2147483647 w 110"/>
                <a:gd name="T31" fmla="*/ 2147483647 h 166"/>
                <a:gd name="T32" fmla="*/ 2147483647 w 110"/>
                <a:gd name="T33" fmla="*/ 2147483647 h 166"/>
                <a:gd name="T34" fmla="*/ 2147483647 w 110"/>
                <a:gd name="T35" fmla="*/ 2147483647 h 166"/>
                <a:gd name="T36" fmla="*/ 2147483647 w 110"/>
                <a:gd name="T37" fmla="*/ 2147483647 h 166"/>
                <a:gd name="T38" fmla="*/ 2147483647 w 110"/>
                <a:gd name="T39" fmla="*/ 2147483647 h 166"/>
                <a:gd name="T40" fmla="*/ 2147483647 w 110"/>
                <a:gd name="T41" fmla="*/ 2147483647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7 w 195"/>
                <a:gd name="T1" fmla="*/ 2147483647 h 92"/>
                <a:gd name="T2" fmla="*/ 2147483647 w 195"/>
                <a:gd name="T3" fmla="*/ 2147483647 h 92"/>
                <a:gd name="T4" fmla="*/ 2147483647 w 195"/>
                <a:gd name="T5" fmla="*/ 2147483647 h 92"/>
                <a:gd name="T6" fmla="*/ 2147483647 w 195"/>
                <a:gd name="T7" fmla="*/ 2147483647 h 92"/>
                <a:gd name="T8" fmla="*/ 2147483647 w 195"/>
                <a:gd name="T9" fmla="*/ 2147483647 h 92"/>
                <a:gd name="T10" fmla="*/ 2147483647 w 195"/>
                <a:gd name="T11" fmla="*/ 2147483647 h 92"/>
                <a:gd name="T12" fmla="*/ 2147483647 w 195"/>
                <a:gd name="T13" fmla="*/ 2147483647 h 92"/>
                <a:gd name="T14" fmla="*/ 2147483647 w 195"/>
                <a:gd name="T15" fmla="*/ 2147483647 h 92"/>
                <a:gd name="T16" fmla="*/ 2147483647 w 195"/>
                <a:gd name="T17" fmla="*/ 2147483647 h 92"/>
                <a:gd name="T18" fmla="*/ 2147483647 w 195"/>
                <a:gd name="T19" fmla="*/ 2147483647 h 92"/>
                <a:gd name="T20" fmla="*/ 2147483647 w 195"/>
                <a:gd name="T21" fmla="*/ 0 h 92"/>
                <a:gd name="T22" fmla="*/ 2147483647 w 195"/>
                <a:gd name="T23" fmla="*/ 0 h 92"/>
                <a:gd name="T24" fmla="*/ 2147483647 w 195"/>
                <a:gd name="T25" fmla="*/ 2147483647 h 92"/>
                <a:gd name="T26" fmla="*/ 2147483647 w 195"/>
                <a:gd name="T27" fmla="*/ 0 h 92"/>
                <a:gd name="T28" fmla="*/ 2147483647 w 195"/>
                <a:gd name="T29" fmla="*/ 0 h 92"/>
                <a:gd name="T30" fmla="*/ 2147483647 w 195"/>
                <a:gd name="T31" fmla="*/ 2147483647 h 92"/>
                <a:gd name="T32" fmla="*/ 2147483647 w 195"/>
                <a:gd name="T33" fmla="*/ 2147483647 h 92"/>
                <a:gd name="T34" fmla="*/ 2147483647 w 195"/>
                <a:gd name="T35" fmla="*/ 2147483647 h 92"/>
                <a:gd name="T36" fmla="*/ 2147483647 w 195"/>
                <a:gd name="T37" fmla="*/ 2147483647 h 92"/>
                <a:gd name="T38" fmla="*/ 2147483647 w 195"/>
                <a:gd name="T39" fmla="*/ 2147483647 h 92"/>
                <a:gd name="T40" fmla="*/ 2147483647 w 195"/>
                <a:gd name="T41" fmla="*/ 2147483647 h 92"/>
                <a:gd name="T42" fmla="*/ 0 w 195"/>
                <a:gd name="T43" fmla="*/ 2147483647 h 92"/>
                <a:gd name="T44" fmla="*/ 0 w 195"/>
                <a:gd name="T45" fmla="*/ 0 h 92"/>
                <a:gd name="T46" fmla="*/ 2147483647 w 195"/>
                <a:gd name="T47" fmla="*/ 0 h 92"/>
                <a:gd name="T48" fmla="*/ 2147483647 w 195"/>
                <a:gd name="T49" fmla="*/ 2147483647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9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53" y="339726"/>
            <a:ext cx="2301876" cy="3460750"/>
          </a:xfrm>
        </p:spPr>
        <p:txBody>
          <a:bodyPr tIns="109720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273735711"/>
      </p:ext>
    </p:extLst>
  </p:cSld>
  <p:clrMapOvr>
    <a:masterClrMapping/>
  </p:clrMapOvr>
  <p:transition spd="med">
    <p:fade/>
  </p:transition>
  <p:hf sldNum="0" hdr="0" ftr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9" y="339728"/>
            <a:ext cx="8470900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06" marR="0" indent="-401606" algn="l" defTabSz="514309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06" indent="-401606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06" indent="-401606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3558460006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4976641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9" y="339728"/>
            <a:ext cx="8470900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535831995"/>
      </p:ext>
    </p:extLst>
  </p:cSld>
  <p:clrMapOvr>
    <a:masterClrMapping/>
  </p:clrMapOvr>
  <p:transition spd="med"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9" y="1304927"/>
            <a:ext cx="8470900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9126613"/>
      </p:ext>
    </p:extLst>
  </p:cSld>
  <p:clrMapOvr>
    <a:masterClrMapping/>
  </p:clrMapOvr>
  <p:transition spd="med"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9130916"/>
      </p:ext>
    </p:extLst>
  </p:cSld>
  <p:clrMapOvr>
    <a:masterClrMapping/>
  </p:clrMapOvr>
  <p:transition spd="med"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9" y="1304927"/>
            <a:ext cx="8470900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39725" y="339725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7827537"/>
      </p:ext>
    </p:extLst>
  </p:cSld>
  <p:clrMapOvr>
    <a:masterClrMapping/>
  </p:clrMapOvr>
  <p:transition spd="med"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9" y="339728"/>
            <a:ext cx="8470900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4717444"/>
      </p:ext>
    </p:extLst>
  </p:cSld>
  <p:clrMapOvr>
    <a:masterClrMapping/>
  </p:clrMapOvr>
  <p:transition spd="med"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8023991"/>
      </p:ext>
    </p:extLst>
  </p:cSld>
  <p:clrMapOvr>
    <a:masterClrMapping/>
  </p:clrMapOvr>
  <p:transition spd="med"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45042525"/>
      </p:ext>
    </p:extLst>
  </p:cSld>
  <p:clrMapOvr>
    <a:masterClrMapping/>
  </p:clrMapOvr>
  <p:transition spd="med"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ces simp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016213" y="302400"/>
            <a:ext cx="7084800" cy="737100"/>
          </a:xfrm>
        </p:spPr>
        <p:txBody>
          <a:bodyPr/>
          <a:lstStyle>
            <a:lvl1pPr algn="l">
              <a:defRPr baseline="0"/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26" name="Espace réservé du contenu 2"/>
          <p:cNvSpPr>
            <a:spLocks noGrp="1"/>
          </p:cNvSpPr>
          <p:nvPr>
            <p:ph idx="1"/>
          </p:nvPr>
        </p:nvSpPr>
        <p:spPr>
          <a:xfrm>
            <a:off x="1042989" y="1329929"/>
            <a:ext cx="7058025" cy="2915840"/>
          </a:xfrm>
        </p:spPr>
        <p:txBody>
          <a:bodyPr/>
          <a:lstStyle>
            <a:lvl1pPr>
              <a:defRPr sz="1500" baseline="0"/>
            </a:lvl1pPr>
            <a:lvl2pPr>
              <a:spcAft>
                <a:spcPct val="0"/>
              </a:spcAft>
              <a:buFont typeface="Arial" charset="0"/>
              <a:buChar char="–"/>
              <a:defRPr/>
            </a:lvl2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23994112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logo_rgb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0075" y="4408488"/>
            <a:ext cx="57467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20"/>
          <p:cNvSpPr txBox="1">
            <a:spLocks noChangeArrowheads="1"/>
          </p:cNvSpPr>
          <p:nvPr userDrawn="1"/>
        </p:nvSpPr>
        <p:spPr bwMode="auto">
          <a:xfrm>
            <a:off x="3897313" y="4873625"/>
            <a:ext cx="1250950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6191" tIns="38095" rIns="76191" bIns="3809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712731" eaLnBrk="1" hangingPunct="1">
              <a:spcBef>
                <a:spcPct val="50000"/>
              </a:spcBef>
              <a:defRPr/>
            </a:pPr>
            <a:r>
              <a:rPr lang="fr-FR" altLang="fr-FR" sz="800" dirty="0" smtClean="0">
                <a:solidFill>
                  <a:srgbClr val="FF6600"/>
                </a:solidFill>
                <a:latin typeface="Helvetica 65 Medium" pitchFamily="34" charset="0"/>
                <a:ea typeface="ＭＳ Ｐゴシック" pitchFamily="34" charset="-128"/>
              </a:rPr>
              <a:t>confidentiel Orange</a:t>
            </a:r>
          </a:p>
        </p:txBody>
      </p:sp>
      <p:sp>
        <p:nvSpPr>
          <p:cNvPr id="20848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4392" y="2139554"/>
            <a:ext cx="7883877" cy="485775"/>
          </a:xfrm>
        </p:spPr>
        <p:txBody>
          <a:bodyPr lIns="29997" tIns="29997" anchor="b"/>
          <a:lstStyle>
            <a:lvl1pPr rtl="1">
              <a:defRPr>
                <a:solidFill>
                  <a:schemeClr val="bg2"/>
                </a:solidFill>
              </a:defRPr>
            </a:lvl1pPr>
          </a:lstStyle>
          <a:p>
            <a:r>
              <a:rPr lang="fr-FR"/>
              <a:t>titre de la présentation</a:t>
            </a:r>
          </a:p>
        </p:txBody>
      </p:sp>
      <p:sp>
        <p:nvSpPr>
          <p:cNvPr id="20848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84392" y="2652716"/>
            <a:ext cx="7883877" cy="351235"/>
          </a:xfrm>
        </p:spPr>
        <p:txBody>
          <a:bodyPr lIns="29997" tIns="29997"/>
          <a:lstStyle>
            <a:lvl1pPr marL="0" indent="0">
              <a:defRPr sz="2100">
                <a:solidFill>
                  <a:schemeClr val="tx1"/>
                </a:solidFill>
              </a:defRPr>
            </a:lvl1pPr>
          </a:lstStyle>
          <a:p>
            <a:r>
              <a:rPr lang="fr-FR"/>
              <a:t>prénom nom service</a:t>
            </a:r>
          </a:p>
        </p:txBody>
      </p:sp>
    </p:spTree>
    <p:extLst>
      <p:ext uri="{BB962C8B-B14F-4D97-AF65-F5344CB8AC3E}">
        <p14:creationId xmlns:p14="http://schemas.microsoft.com/office/powerpoint/2010/main" val="148253385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6" y="339727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06" indent="-401606">
              <a:lnSpc>
                <a:spcPct val="85000"/>
              </a:lnSpc>
              <a:spcAft>
                <a:spcPts val="0"/>
              </a:spcAft>
              <a:buFont typeface="+mj-lt"/>
              <a:buAutoNum type="arabicPeriod"/>
              <a:defRPr sz="30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9824310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_1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5188639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>
            <a:spLocks noChangeArrowheads="1"/>
          </p:cNvSpPr>
          <p:nvPr userDrawn="1"/>
        </p:nvSpPr>
        <p:spPr bwMode="auto">
          <a:xfrm>
            <a:off x="107950" y="4779963"/>
            <a:ext cx="23018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7" rIns="0" bIns="45717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327">
              <a:defRPr/>
            </a:pPr>
            <a:fld id="{18430362-0B3A-490F-92B5-C91C9FBE4515}" type="slidenum">
              <a:rPr lang="fr-FR" altLang="fr-FR" sz="800" smtClean="0">
                <a:solidFill>
                  <a:srgbClr val="000000"/>
                </a:solidFill>
                <a:latin typeface="Helvetica 55 Roman" panose="020B0604020202020204" pitchFamily="2" charset="0"/>
                <a:ea typeface="+mn-ea"/>
                <a:cs typeface="Arial" charset="0"/>
              </a:rPr>
              <a:pPr defTabSz="914327">
                <a:defRPr/>
              </a:pPr>
              <a:t>‹N°›</a:t>
            </a:fld>
            <a:endParaRPr lang="fr-FR" altLang="fr-FR" sz="800" dirty="0" smtClean="0">
              <a:solidFill>
                <a:srgbClr val="000000"/>
              </a:solidFill>
              <a:latin typeface="Helvetica 55 Roman" panose="020B0604020202020204" pitchFamily="2" charset="0"/>
              <a:ea typeface="+mn-ea"/>
              <a:cs typeface="Arial" charset="0"/>
            </a:endParaRPr>
          </a:p>
        </p:txBody>
      </p:sp>
      <p:sp>
        <p:nvSpPr>
          <p:cNvPr id="5" name="Rectangle 762"/>
          <p:cNvSpPr>
            <a:spLocks noChangeArrowheads="1"/>
          </p:cNvSpPr>
          <p:nvPr userDrawn="1"/>
        </p:nvSpPr>
        <p:spPr bwMode="auto">
          <a:xfrm rot="16200000">
            <a:off x="7676357" y="3601244"/>
            <a:ext cx="2795587" cy="18732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45717" rIns="0" bIns="45717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327" eaLnBrk="1" hangingPunct="1">
              <a:defRPr/>
            </a:pPr>
            <a:r>
              <a:rPr lang="en-GB" altLang="fr-FR" sz="700" dirty="0" smtClean="0">
                <a:solidFill>
                  <a:srgbClr val="7F7F7F"/>
                </a:solidFill>
                <a:latin typeface="Helvetica 55 Roman" pitchFamily="2" charset="0"/>
                <a:ea typeface="+mn-ea"/>
              </a:rPr>
              <a:t>Interne</a:t>
            </a:r>
            <a:r>
              <a:rPr lang="en-US" altLang="fr-FR" sz="700" dirty="0" smtClean="0">
                <a:solidFill>
                  <a:srgbClr val="7F7F7F"/>
                </a:solidFill>
                <a:latin typeface="Helvetica 55 Roman" pitchFamily="2" charset="0"/>
                <a:ea typeface="+mn-ea"/>
              </a:rPr>
              <a:t> Orange – DR Orange Open pro partagé 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 bwMode="gray">
          <a:xfrm>
            <a:off x="250829" y="1059583"/>
            <a:ext cx="8664575" cy="3611810"/>
          </a:xfrm>
        </p:spPr>
        <p:txBody>
          <a:bodyPr/>
          <a:lstStyle>
            <a:lvl1pPr>
              <a:buSzPct val="100000"/>
              <a:defRPr/>
            </a:lvl1pPr>
            <a:lvl3pPr>
              <a:buSzPct val="100000"/>
              <a:defRPr/>
            </a:lvl3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8618868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/>
          <p:cNvSpPr txBox="1">
            <a:spLocks noChangeArrowheads="1"/>
          </p:cNvSpPr>
          <p:nvPr/>
        </p:nvSpPr>
        <p:spPr bwMode="auto">
          <a:xfrm>
            <a:off x="250825" y="4779963"/>
            <a:ext cx="344488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7" rIns="0" bIns="45717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327">
              <a:defRPr/>
            </a:pPr>
            <a:fld id="{D9E6EF3D-2D41-44AB-8C33-2C03FB682BB3}" type="slidenum">
              <a:rPr lang="fr-FR" altLang="fr-FR" sz="1200" smtClean="0">
                <a:solidFill>
                  <a:srgbClr val="000000"/>
                </a:solidFill>
                <a:latin typeface="Helvetica 55 Roman" panose="020B0604020202020204" pitchFamily="2" charset="0"/>
                <a:ea typeface="+mn-ea"/>
                <a:cs typeface="Arial" charset="0"/>
              </a:rPr>
              <a:pPr defTabSz="914327">
                <a:defRPr/>
              </a:pPr>
              <a:t>‹N°›</a:t>
            </a:fld>
            <a:endParaRPr lang="fr-FR" altLang="fr-FR" sz="1600" dirty="0" smtClean="0">
              <a:solidFill>
                <a:srgbClr val="000000"/>
              </a:solidFill>
              <a:latin typeface="Helvetica 55 Roman" panose="020B0604020202020204" pitchFamily="2" charset="0"/>
              <a:ea typeface="+mn-ea"/>
              <a:cs typeface="Arial" charset="0"/>
            </a:endParaRPr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250828" y="228601"/>
            <a:ext cx="8683625" cy="738188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 bwMode="gray">
          <a:xfrm>
            <a:off x="250825" y="1599643"/>
            <a:ext cx="4177160" cy="3071750"/>
          </a:xfrm>
        </p:spPr>
        <p:txBody>
          <a:bodyPr/>
          <a:lstStyle>
            <a:lvl1pPr>
              <a:buSzPct val="100000"/>
              <a:defRPr/>
            </a:lvl1pPr>
            <a:lvl3pPr>
              <a:buSzPct val="100000"/>
              <a:defRPr/>
            </a:lvl3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1"/>
          </p:nvPr>
        </p:nvSpPr>
        <p:spPr>
          <a:xfrm>
            <a:off x="4758450" y="1600629"/>
            <a:ext cx="4176000" cy="307735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lang="fr-FR" dirty="0" smtClean="0"/>
            </a:lvl1pPr>
            <a:lvl2pPr>
              <a:defRPr lang="fr-FR" dirty="0" smtClean="0"/>
            </a:lvl2pPr>
            <a:lvl3pPr>
              <a:defRPr lang="fr-FR" dirty="0" smtClean="0"/>
            </a:lvl3pPr>
            <a:lvl4pPr>
              <a:defRPr lang="fr-FR" dirty="0" smtClean="0"/>
            </a:lvl4pPr>
            <a:lvl5pPr>
              <a:defRPr lang="fr-FR" dirty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250827" y="1114090"/>
            <a:ext cx="4177159" cy="37754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marL="0" indent="0">
              <a:buNone/>
              <a:defRPr lang="fr-FR" sz="2000" b="1" dirty="0" smtClean="0">
                <a:solidFill>
                  <a:schemeClr val="tx2"/>
                </a:solidFill>
                <a:latin typeface="Helvetica 75 Bold" panose="020B0804020202020204" pitchFamily="34" charset="0"/>
              </a:defRPr>
            </a:lvl1pPr>
            <a:lvl2pPr>
              <a:defRPr lang="fr-FR" dirty="0" smtClean="0"/>
            </a:lvl2pPr>
            <a:lvl3pPr>
              <a:defRPr lang="fr-FR" dirty="0" smtClean="0"/>
            </a:lvl3pPr>
            <a:lvl4pPr>
              <a:defRPr lang="fr-FR" dirty="0" smtClean="0"/>
            </a:lvl4pPr>
            <a:lvl5pPr>
              <a:defRPr lang="fr-FR" dirty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4758453" y="1114090"/>
            <a:ext cx="4177159" cy="37754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marL="0" indent="0">
              <a:buNone/>
              <a:defRPr lang="fr-FR" sz="2000" b="1" dirty="0" smtClean="0">
                <a:solidFill>
                  <a:schemeClr val="tx2"/>
                </a:solidFill>
                <a:latin typeface="Helvetica 75 Bold" panose="020B0804020202020204" pitchFamily="34" charset="0"/>
              </a:defRPr>
            </a:lvl1pPr>
            <a:lvl2pPr>
              <a:defRPr lang="fr-FR" dirty="0" smtClean="0"/>
            </a:lvl2pPr>
            <a:lvl3pPr>
              <a:defRPr lang="fr-FR" dirty="0" smtClean="0"/>
            </a:lvl3pPr>
            <a:lvl4pPr>
              <a:defRPr lang="fr-FR" dirty="0" smtClean="0"/>
            </a:lvl4pPr>
            <a:lvl5pPr>
              <a:defRPr lang="fr-FR" dirty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91393588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62"/>
          <p:cNvSpPr>
            <a:spLocks noChangeArrowheads="1"/>
          </p:cNvSpPr>
          <p:nvPr userDrawn="1"/>
        </p:nvSpPr>
        <p:spPr bwMode="auto">
          <a:xfrm rot="16200000">
            <a:off x="7676357" y="3601244"/>
            <a:ext cx="2795587" cy="18732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45717" rIns="0" bIns="45717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327" eaLnBrk="1" hangingPunct="1">
              <a:defRPr/>
            </a:pPr>
            <a:r>
              <a:rPr lang="en-GB" altLang="fr-FR" sz="700" dirty="0" smtClean="0">
                <a:solidFill>
                  <a:srgbClr val="7F7F7F"/>
                </a:solidFill>
                <a:latin typeface="Helvetica 55 Roman" pitchFamily="2" charset="0"/>
                <a:ea typeface="+mn-ea"/>
              </a:rPr>
              <a:t>Interne</a:t>
            </a:r>
            <a:r>
              <a:rPr lang="en-US" altLang="fr-FR" sz="700" dirty="0" smtClean="0">
                <a:solidFill>
                  <a:srgbClr val="7F7F7F"/>
                </a:solidFill>
                <a:latin typeface="Helvetica 55 Roman" pitchFamily="2" charset="0"/>
                <a:ea typeface="+mn-ea"/>
              </a:rPr>
              <a:t> Orange – DR Orange Open pro partagé </a:t>
            </a:r>
          </a:p>
        </p:txBody>
      </p:sp>
      <p:sp>
        <p:nvSpPr>
          <p:cNvPr id="4" name="ZoneTexte 3"/>
          <p:cNvSpPr txBox="1">
            <a:spLocks noChangeArrowheads="1"/>
          </p:cNvSpPr>
          <p:nvPr userDrawn="1"/>
        </p:nvSpPr>
        <p:spPr bwMode="auto">
          <a:xfrm>
            <a:off x="107950" y="4779963"/>
            <a:ext cx="23018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7" rIns="0" bIns="45717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327">
              <a:defRPr/>
            </a:pPr>
            <a:fld id="{7CB9F206-EAC9-404D-B6F9-994B5FD560DD}" type="slidenum">
              <a:rPr lang="fr-FR" altLang="fr-FR" sz="800" smtClean="0">
                <a:solidFill>
                  <a:srgbClr val="000000"/>
                </a:solidFill>
                <a:latin typeface="Helvetica 55 Roman" panose="020B0604020202020204" pitchFamily="2" charset="0"/>
                <a:ea typeface="+mn-ea"/>
                <a:cs typeface="Arial" charset="0"/>
              </a:rPr>
              <a:pPr defTabSz="914327">
                <a:defRPr/>
              </a:pPr>
              <a:t>‹N°›</a:t>
            </a:fld>
            <a:endParaRPr lang="fr-FR" altLang="fr-FR" sz="800" dirty="0" smtClean="0">
              <a:solidFill>
                <a:srgbClr val="000000"/>
              </a:solidFill>
              <a:latin typeface="Helvetica 55 Roman" panose="020B0604020202020204" pitchFamily="2" charset="0"/>
              <a:ea typeface="+mn-ea"/>
              <a:cs typeface="Arial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632741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62"/>
          <p:cNvSpPr>
            <a:spLocks noChangeArrowheads="1"/>
          </p:cNvSpPr>
          <p:nvPr userDrawn="1"/>
        </p:nvSpPr>
        <p:spPr bwMode="auto">
          <a:xfrm rot="16200000">
            <a:off x="7676357" y="3601244"/>
            <a:ext cx="2795587" cy="18732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45717" rIns="0" bIns="45717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327" eaLnBrk="1" hangingPunct="1">
              <a:defRPr/>
            </a:pPr>
            <a:r>
              <a:rPr lang="en-GB" altLang="fr-FR" sz="700" dirty="0" smtClean="0">
                <a:solidFill>
                  <a:srgbClr val="7F7F7F"/>
                </a:solidFill>
                <a:latin typeface="Helvetica 55 Roman" pitchFamily="2" charset="0"/>
                <a:ea typeface="+mn-ea"/>
              </a:rPr>
              <a:t>Interne</a:t>
            </a:r>
            <a:r>
              <a:rPr lang="en-US" altLang="fr-FR" sz="700" dirty="0" smtClean="0">
                <a:solidFill>
                  <a:srgbClr val="7F7F7F"/>
                </a:solidFill>
                <a:latin typeface="Helvetica 55 Roman" pitchFamily="2" charset="0"/>
                <a:ea typeface="+mn-ea"/>
              </a:rPr>
              <a:t> Orange – DR Orange Open pro partagé </a:t>
            </a:r>
          </a:p>
        </p:txBody>
      </p:sp>
      <p:sp>
        <p:nvSpPr>
          <p:cNvPr id="3" name="ZoneTexte 2"/>
          <p:cNvSpPr txBox="1">
            <a:spLocks noChangeArrowheads="1"/>
          </p:cNvSpPr>
          <p:nvPr userDrawn="1"/>
        </p:nvSpPr>
        <p:spPr bwMode="auto">
          <a:xfrm>
            <a:off x="107950" y="4779963"/>
            <a:ext cx="23018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7" rIns="0" bIns="45717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327">
              <a:defRPr/>
            </a:pPr>
            <a:fld id="{B8D63089-EB7D-4F55-9F9F-BEA8EAEE0925}" type="slidenum">
              <a:rPr lang="fr-FR" altLang="fr-FR" sz="800" smtClean="0">
                <a:solidFill>
                  <a:srgbClr val="000000"/>
                </a:solidFill>
                <a:latin typeface="Helvetica 55 Roman" panose="020B0604020202020204" pitchFamily="2" charset="0"/>
                <a:ea typeface="+mn-ea"/>
                <a:cs typeface="Arial" charset="0"/>
              </a:rPr>
              <a:pPr defTabSz="914327">
                <a:defRPr/>
              </a:pPr>
              <a:t>‹N°›</a:t>
            </a:fld>
            <a:endParaRPr lang="fr-FR" altLang="fr-FR" sz="800" dirty="0" smtClean="0">
              <a:solidFill>
                <a:srgbClr val="000000"/>
              </a:solidFill>
              <a:latin typeface="Helvetica 55 Roman" panose="020B0604020202020204" pitchFamily="2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846848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EMTA8361\Documents\Divers\Logos\O BS logo bottom right_RGB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6338" y="4300538"/>
            <a:ext cx="1319212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63558" y="1597821"/>
            <a:ext cx="8474400" cy="1679178"/>
          </a:xfrm>
        </p:spPr>
        <p:txBody>
          <a:bodyPr>
            <a:spAutoFit/>
          </a:bodyPr>
          <a:lstStyle>
            <a:lvl1pPr>
              <a:defRPr sz="4400" b="0"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363557" y="2400302"/>
            <a:ext cx="8474400" cy="947952"/>
          </a:xfrm>
        </p:spPr>
        <p:txBody>
          <a:bodyPr>
            <a:spAutoFit/>
          </a:bodyPr>
          <a:lstStyle>
            <a:lvl1pPr marL="344461" indent="-344461">
              <a:buClr>
                <a:schemeClr val="bg1">
                  <a:lumMod val="50000"/>
                  <a:lumOff val="50000"/>
                </a:schemeClr>
              </a:buClr>
              <a:buSzPct val="100000"/>
              <a:buFont typeface="Helvetica 35 Thin" pitchFamily="34" charset="0"/>
              <a:buChar char="&gt;"/>
              <a:defRPr sz="2800">
                <a:solidFill>
                  <a:schemeClr val="bg1">
                    <a:lumMod val="50000"/>
                    <a:lumOff val="50000"/>
                  </a:schemeClr>
                </a:solidFill>
                <a:latin typeface="Helvetica 75 Bold" panose="020B0804020202020204" pitchFamily="34" charset="0"/>
              </a:defRPr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1"/>
          </p:nvPr>
        </p:nvSpPr>
        <p:spPr>
          <a:xfrm>
            <a:off x="363556" y="3314703"/>
            <a:ext cx="8474400" cy="236988"/>
          </a:xfrm>
        </p:spPr>
        <p:txBody>
          <a:bodyPr>
            <a:spAutoFit/>
          </a:bodyPr>
          <a:lstStyle>
            <a:lvl1pPr marL="0" indent="0">
              <a:buNone/>
              <a:defRPr sz="1400"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51237803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/>
          <p:cNvSpPr txBox="1">
            <a:spLocks noChangeArrowheads="1"/>
          </p:cNvSpPr>
          <p:nvPr userDrawn="1"/>
        </p:nvSpPr>
        <p:spPr bwMode="auto">
          <a:xfrm>
            <a:off x="107950" y="4779963"/>
            <a:ext cx="23018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7" rIns="0" bIns="45717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327">
              <a:defRPr/>
            </a:pPr>
            <a:fld id="{8FE4E6A5-305F-4D58-8A0F-9B039F2EE84B}" type="slidenum">
              <a:rPr lang="fr-FR" altLang="fr-FR" sz="800" smtClean="0">
                <a:solidFill>
                  <a:srgbClr val="000000"/>
                </a:solidFill>
                <a:latin typeface="Helvetica 55 Roman" panose="020B0604020202020204" pitchFamily="2" charset="0"/>
                <a:ea typeface="+mn-ea"/>
                <a:cs typeface="Arial" charset="0"/>
              </a:rPr>
              <a:pPr defTabSz="914327">
                <a:defRPr/>
              </a:pPr>
              <a:t>‹N°›</a:t>
            </a:fld>
            <a:endParaRPr lang="fr-FR" altLang="fr-FR" sz="800" dirty="0" smtClean="0">
              <a:solidFill>
                <a:srgbClr val="000000"/>
              </a:solidFill>
              <a:latin typeface="Helvetica 55 Roman" panose="020B0604020202020204" pitchFamily="2" charset="0"/>
              <a:ea typeface="+mn-ea"/>
              <a:cs typeface="Arial" charset="0"/>
            </a:endParaRPr>
          </a:p>
        </p:txBody>
      </p:sp>
      <p:sp>
        <p:nvSpPr>
          <p:cNvPr id="5" name="Rectangle 762"/>
          <p:cNvSpPr>
            <a:spLocks noChangeArrowheads="1"/>
          </p:cNvSpPr>
          <p:nvPr userDrawn="1"/>
        </p:nvSpPr>
        <p:spPr bwMode="auto">
          <a:xfrm rot="16200000">
            <a:off x="7676357" y="3601244"/>
            <a:ext cx="2795587" cy="18732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45717" rIns="0" bIns="45717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327" eaLnBrk="1" hangingPunct="1">
              <a:defRPr/>
            </a:pPr>
            <a:r>
              <a:rPr lang="en-GB" altLang="fr-FR" sz="700" dirty="0" smtClean="0">
                <a:solidFill>
                  <a:srgbClr val="7F7F7F"/>
                </a:solidFill>
                <a:latin typeface="Helvetica 55 Roman" pitchFamily="2" charset="0"/>
                <a:ea typeface="+mn-ea"/>
              </a:rPr>
              <a:t>Interne</a:t>
            </a:r>
            <a:r>
              <a:rPr lang="en-US" altLang="fr-FR" sz="700" dirty="0" smtClean="0">
                <a:solidFill>
                  <a:srgbClr val="7F7F7F"/>
                </a:solidFill>
                <a:latin typeface="Helvetica 55 Roman" pitchFamily="2" charset="0"/>
                <a:ea typeface="+mn-ea"/>
              </a:rPr>
              <a:t> Orange – DR Orange Open pro partagé </a:t>
            </a:r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 bwMode="gray">
          <a:xfrm>
            <a:off x="250829" y="1059583"/>
            <a:ext cx="8664575" cy="3611810"/>
          </a:xfrm>
        </p:spPr>
        <p:txBody>
          <a:bodyPr/>
          <a:lstStyle>
            <a:lvl1pPr>
              <a:buSzPct val="100000"/>
              <a:defRPr/>
            </a:lvl1pPr>
            <a:lvl3pPr>
              <a:buSzPct val="100000"/>
              <a:defRPr/>
            </a:lvl3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4476435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oneTexte 6"/>
          <p:cNvSpPr txBox="1">
            <a:spLocks noChangeArrowheads="1"/>
          </p:cNvSpPr>
          <p:nvPr/>
        </p:nvSpPr>
        <p:spPr bwMode="auto">
          <a:xfrm>
            <a:off x="250825" y="4779963"/>
            <a:ext cx="344488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7" rIns="0" bIns="45717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327">
              <a:defRPr/>
            </a:pPr>
            <a:fld id="{D8330427-4D61-4D9C-868B-1261D560780E}" type="slidenum">
              <a:rPr lang="fr-FR" altLang="fr-FR" sz="1200" smtClean="0">
                <a:solidFill>
                  <a:srgbClr val="000000"/>
                </a:solidFill>
                <a:latin typeface="Helvetica 55 Roman" panose="020B0604020202020204" pitchFamily="2" charset="0"/>
                <a:ea typeface="+mn-ea"/>
                <a:cs typeface="Arial" charset="0"/>
              </a:rPr>
              <a:pPr defTabSz="914327">
                <a:defRPr/>
              </a:pPr>
              <a:t>‹N°›</a:t>
            </a:fld>
            <a:endParaRPr lang="fr-FR" altLang="fr-FR" sz="1600" dirty="0" smtClean="0">
              <a:solidFill>
                <a:srgbClr val="000000"/>
              </a:solidFill>
              <a:latin typeface="Helvetica 55 Roman" panose="020B0604020202020204" pitchFamily="2" charset="0"/>
              <a:ea typeface="+mn-ea"/>
              <a:cs typeface="Arial" charset="0"/>
            </a:endParaRPr>
          </a:p>
        </p:txBody>
      </p:sp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250828" y="228601"/>
            <a:ext cx="8683625" cy="738188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10" name="Espace réservé du contenu 9"/>
          <p:cNvSpPr>
            <a:spLocks noGrp="1"/>
          </p:cNvSpPr>
          <p:nvPr>
            <p:ph sz="quarter" idx="10"/>
          </p:nvPr>
        </p:nvSpPr>
        <p:spPr bwMode="gray">
          <a:xfrm>
            <a:off x="250825" y="1599643"/>
            <a:ext cx="4177160" cy="3071750"/>
          </a:xfrm>
        </p:spPr>
        <p:txBody>
          <a:bodyPr/>
          <a:lstStyle>
            <a:lvl1pPr>
              <a:buSzPct val="100000"/>
              <a:defRPr/>
            </a:lvl1pPr>
            <a:lvl3pPr>
              <a:buSzPct val="100000"/>
              <a:defRPr/>
            </a:lvl3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quarter" idx="11"/>
          </p:nvPr>
        </p:nvSpPr>
        <p:spPr>
          <a:xfrm>
            <a:off x="4758450" y="1600629"/>
            <a:ext cx="4176000" cy="3077357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lang="fr-FR" dirty="0" smtClean="0"/>
            </a:lvl1pPr>
            <a:lvl2pPr>
              <a:defRPr lang="fr-FR" dirty="0" smtClean="0"/>
            </a:lvl2pPr>
            <a:lvl3pPr>
              <a:defRPr lang="fr-FR" dirty="0" smtClean="0"/>
            </a:lvl3pPr>
            <a:lvl4pPr>
              <a:defRPr lang="fr-FR" dirty="0" smtClean="0"/>
            </a:lvl4pPr>
            <a:lvl5pPr>
              <a:defRPr lang="fr-FR" dirty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250827" y="1114090"/>
            <a:ext cx="4177159" cy="37754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marL="0" indent="0">
              <a:buNone/>
              <a:defRPr lang="fr-FR" sz="2000" b="1" dirty="0" smtClean="0">
                <a:solidFill>
                  <a:schemeClr val="tx2"/>
                </a:solidFill>
                <a:latin typeface="Helvetica 75 Bold" panose="020B0804020202020204" pitchFamily="34" charset="0"/>
              </a:defRPr>
            </a:lvl1pPr>
            <a:lvl2pPr>
              <a:defRPr lang="fr-FR" dirty="0" smtClean="0"/>
            </a:lvl2pPr>
            <a:lvl3pPr>
              <a:defRPr lang="fr-FR" dirty="0" smtClean="0"/>
            </a:lvl3pPr>
            <a:lvl4pPr>
              <a:defRPr lang="fr-FR" dirty="0" smtClean="0"/>
            </a:lvl4pPr>
            <a:lvl5pPr>
              <a:defRPr lang="fr-FR" dirty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4758453" y="1114090"/>
            <a:ext cx="4177159" cy="37754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marL="0" indent="0">
              <a:buNone/>
              <a:defRPr lang="fr-FR" sz="2000" b="1" dirty="0" smtClean="0">
                <a:solidFill>
                  <a:schemeClr val="tx2"/>
                </a:solidFill>
                <a:latin typeface="Helvetica 75 Bold" panose="020B0804020202020204" pitchFamily="34" charset="0"/>
              </a:defRPr>
            </a:lvl1pPr>
            <a:lvl2pPr>
              <a:defRPr lang="fr-FR" dirty="0" smtClean="0"/>
            </a:lvl2pPr>
            <a:lvl3pPr>
              <a:defRPr lang="fr-FR" dirty="0" smtClean="0"/>
            </a:lvl3pPr>
            <a:lvl4pPr>
              <a:defRPr lang="fr-FR" dirty="0" smtClean="0"/>
            </a:lvl4pPr>
            <a:lvl5pPr>
              <a:defRPr lang="fr-FR" dirty="0"/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59134974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62"/>
          <p:cNvSpPr>
            <a:spLocks noChangeArrowheads="1"/>
          </p:cNvSpPr>
          <p:nvPr userDrawn="1"/>
        </p:nvSpPr>
        <p:spPr bwMode="auto">
          <a:xfrm rot="16200000">
            <a:off x="7676357" y="3601244"/>
            <a:ext cx="2795587" cy="18732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45717" rIns="0" bIns="45717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327" eaLnBrk="1" hangingPunct="1">
              <a:defRPr/>
            </a:pPr>
            <a:r>
              <a:rPr lang="en-GB" altLang="fr-FR" sz="700" dirty="0" smtClean="0">
                <a:solidFill>
                  <a:srgbClr val="7F7F7F"/>
                </a:solidFill>
                <a:latin typeface="Helvetica 55 Roman" pitchFamily="2" charset="0"/>
                <a:ea typeface="+mn-ea"/>
              </a:rPr>
              <a:t>Interne</a:t>
            </a:r>
            <a:r>
              <a:rPr lang="en-US" altLang="fr-FR" sz="700" dirty="0" smtClean="0">
                <a:solidFill>
                  <a:srgbClr val="7F7F7F"/>
                </a:solidFill>
                <a:latin typeface="Helvetica 55 Roman" pitchFamily="2" charset="0"/>
                <a:ea typeface="+mn-ea"/>
              </a:rPr>
              <a:t> Orange – DR Orange Open pro partagé </a:t>
            </a:r>
          </a:p>
        </p:txBody>
      </p:sp>
      <p:sp>
        <p:nvSpPr>
          <p:cNvPr id="4" name="ZoneTexte 3"/>
          <p:cNvSpPr txBox="1">
            <a:spLocks noChangeArrowheads="1"/>
          </p:cNvSpPr>
          <p:nvPr userDrawn="1"/>
        </p:nvSpPr>
        <p:spPr bwMode="auto">
          <a:xfrm>
            <a:off x="107950" y="4779963"/>
            <a:ext cx="23018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7" rIns="0" bIns="45717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327">
              <a:defRPr/>
            </a:pPr>
            <a:fld id="{F322D3BD-3CA3-49F2-86A7-8B4EFC635D0C}" type="slidenum">
              <a:rPr lang="fr-FR" altLang="fr-FR" sz="800" smtClean="0">
                <a:solidFill>
                  <a:srgbClr val="000000"/>
                </a:solidFill>
                <a:latin typeface="Helvetica 55 Roman" panose="020B0604020202020204" pitchFamily="2" charset="0"/>
                <a:ea typeface="+mn-ea"/>
                <a:cs typeface="Arial" charset="0"/>
              </a:rPr>
              <a:pPr defTabSz="914327">
                <a:defRPr/>
              </a:pPr>
              <a:t>‹N°›</a:t>
            </a:fld>
            <a:endParaRPr lang="fr-FR" altLang="fr-FR" sz="800" dirty="0" smtClean="0">
              <a:solidFill>
                <a:srgbClr val="000000"/>
              </a:solidFill>
              <a:latin typeface="Helvetica 55 Roman" panose="020B0604020202020204" pitchFamily="2" charset="0"/>
              <a:ea typeface="+mn-ea"/>
              <a:cs typeface="Arial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65054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62"/>
          <p:cNvSpPr>
            <a:spLocks noChangeArrowheads="1"/>
          </p:cNvSpPr>
          <p:nvPr userDrawn="1"/>
        </p:nvSpPr>
        <p:spPr bwMode="auto">
          <a:xfrm rot="16200000">
            <a:off x="7676357" y="3601244"/>
            <a:ext cx="2795587" cy="18732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45717" rIns="0" bIns="45717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327" eaLnBrk="1" hangingPunct="1">
              <a:defRPr/>
            </a:pPr>
            <a:r>
              <a:rPr lang="en-GB" altLang="fr-FR" sz="700" dirty="0" smtClean="0">
                <a:solidFill>
                  <a:srgbClr val="7F7F7F"/>
                </a:solidFill>
                <a:latin typeface="Helvetica 55 Roman" pitchFamily="2" charset="0"/>
                <a:ea typeface="+mn-ea"/>
              </a:rPr>
              <a:t>Interne</a:t>
            </a:r>
            <a:r>
              <a:rPr lang="en-US" altLang="fr-FR" sz="700" dirty="0" smtClean="0">
                <a:solidFill>
                  <a:srgbClr val="7F7F7F"/>
                </a:solidFill>
                <a:latin typeface="Helvetica 55 Roman" pitchFamily="2" charset="0"/>
                <a:ea typeface="+mn-ea"/>
              </a:rPr>
              <a:t> Orange – DR Orange Open pro partagé </a:t>
            </a:r>
          </a:p>
        </p:txBody>
      </p:sp>
      <p:sp>
        <p:nvSpPr>
          <p:cNvPr id="3" name="ZoneTexte 2"/>
          <p:cNvSpPr txBox="1">
            <a:spLocks noChangeArrowheads="1"/>
          </p:cNvSpPr>
          <p:nvPr userDrawn="1"/>
        </p:nvSpPr>
        <p:spPr bwMode="auto">
          <a:xfrm>
            <a:off x="107950" y="4779963"/>
            <a:ext cx="23018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45717" rIns="0" bIns="45717">
            <a:spAutoFit/>
          </a:bodyPr>
          <a:lstStyle>
            <a:lvl1pPr>
              <a:defRPr>
                <a:solidFill>
                  <a:schemeClr val="tx1"/>
                </a:solidFill>
                <a:latin typeface="Helvetica 45 Light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defTabSz="914327">
              <a:defRPr/>
            </a:pPr>
            <a:fld id="{D48C57B6-63D5-484B-BDAE-46C11C613911}" type="slidenum">
              <a:rPr lang="fr-FR" altLang="fr-FR" sz="800" smtClean="0">
                <a:solidFill>
                  <a:srgbClr val="000000"/>
                </a:solidFill>
                <a:latin typeface="Helvetica 55 Roman" panose="020B0604020202020204" pitchFamily="2" charset="0"/>
                <a:ea typeface="+mn-ea"/>
                <a:cs typeface="Arial" charset="0"/>
              </a:rPr>
              <a:pPr defTabSz="914327">
                <a:defRPr/>
              </a:pPr>
              <a:t>‹N°›</a:t>
            </a:fld>
            <a:endParaRPr lang="fr-FR" altLang="fr-FR" sz="800" dirty="0" smtClean="0">
              <a:solidFill>
                <a:srgbClr val="000000"/>
              </a:solidFill>
              <a:latin typeface="Helvetica 55 Roman" panose="020B0604020202020204" pitchFamily="2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415720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EMTA8361\Documents\Divers\Logos\O BS logo bottom right_RGB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6338" y="4300538"/>
            <a:ext cx="1319212" cy="566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63558" y="1597821"/>
            <a:ext cx="8474400" cy="1679178"/>
          </a:xfrm>
        </p:spPr>
        <p:txBody>
          <a:bodyPr>
            <a:spAutoFit/>
          </a:bodyPr>
          <a:lstStyle>
            <a:lvl1pPr>
              <a:defRPr sz="4400" b="0">
                <a:latin typeface="Helvetica 75 Bold" panose="020B0804020202020204" pitchFamily="34" charset="0"/>
              </a:defRPr>
            </a:lvl1pPr>
          </a:lstStyle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363557" y="2400302"/>
            <a:ext cx="8474400" cy="947952"/>
          </a:xfrm>
        </p:spPr>
        <p:txBody>
          <a:bodyPr>
            <a:spAutoFit/>
          </a:bodyPr>
          <a:lstStyle>
            <a:lvl1pPr marL="344461" indent="-344461">
              <a:buClr>
                <a:schemeClr val="bg1">
                  <a:lumMod val="50000"/>
                  <a:lumOff val="50000"/>
                </a:schemeClr>
              </a:buClr>
              <a:buSzPct val="100000"/>
              <a:buFont typeface="Helvetica 35 Thin" pitchFamily="34" charset="0"/>
              <a:buChar char="&gt;"/>
              <a:defRPr sz="2800">
                <a:solidFill>
                  <a:schemeClr val="bg1">
                    <a:lumMod val="50000"/>
                    <a:lumOff val="50000"/>
                  </a:schemeClr>
                </a:solidFill>
                <a:latin typeface="Helvetica 75 Bold" panose="020B0804020202020204" pitchFamily="34" charset="0"/>
              </a:defRPr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1"/>
          </p:nvPr>
        </p:nvSpPr>
        <p:spPr>
          <a:xfrm>
            <a:off x="363556" y="3314703"/>
            <a:ext cx="8474400" cy="236988"/>
          </a:xfrm>
        </p:spPr>
        <p:txBody>
          <a:bodyPr>
            <a:spAutoFit/>
          </a:bodyPr>
          <a:lstStyle>
            <a:lvl1pPr marL="0" indent="0">
              <a:buNone/>
              <a:defRPr sz="1400"/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982995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2.xml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94.xml"/><Relationship Id="rId4" Type="http://schemas.openxmlformats.org/officeDocument/2006/relationships/slideLayout" Target="../slideLayouts/slideLayout93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7.xml"/><Relationship Id="rId2" Type="http://schemas.openxmlformats.org/officeDocument/2006/relationships/slideLayout" Target="../slideLayouts/slideLayout96.xml"/><Relationship Id="rId1" Type="http://schemas.openxmlformats.org/officeDocument/2006/relationships/slideLayout" Target="../slideLayouts/slideLayout95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8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theme" Target="../theme/theme12.xml"/><Relationship Id="rId5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103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7.xml"/><Relationship Id="rId2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05.xml"/><Relationship Id="rId6" Type="http://schemas.openxmlformats.org/officeDocument/2006/relationships/theme" Target="../theme/theme13.xml"/><Relationship Id="rId5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108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.xml"/><Relationship Id="rId3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116.xml"/><Relationship Id="rId2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theme" Target="../theme/theme14.xml"/><Relationship Id="rId5" Type="http://schemas.openxmlformats.org/officeDocument/2006/relationships/slideLayout" Target="../slideLayouts/slideLayout114.xml"/><Relationship Id="rId10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7.xml"/><Relationship Id="rId3" Type="http://schemas.openxmlformats.org/officeDocument/2006/relationships/slideLayout" Target="../slideLayouts/slideLayout122.xml"/><Relationship Id="rId7" Type="http://schemas.openxmlformats.org/officeDocument/2006/relationships/slideLayout" Target="../slideLayouts/slideLayout126.xml"/><Relationship Id="rId2" Type="http://schemas.openxmlformats.org/officeDocument/2006/relationships/slideLayout" Target="../slideLayouts/slideLayout121.xml"/><Relationship Id="rId1" Type="http://schemas.openxmlformats.org/officeDocument/2006/relationships/slideLayout" Target="../slideLayouts/slideLayout120.xml"/><Relationship Id="rId6" Type="http://schemas.openxmlformats.org/officeDocument/2006/relationships/slideLayout" Target="../slideLayouts/slideLayout125.xml"/><Relationship Id="rId11" Type="http://schemas.openxmlformats.org/officeDocument/2006/relationships/theme" Target="../theme/theme15.xml"/><Relationship Id="rId5" Type="http://schemas.openxmlformats.org/officeDocument/2006/relationships/slideLayout" Target="../slideLayouts/slideLayout124.xml"/><Relationship Id="rId10" Type="http://schemas.openxmlformats.org/officeDocument/2006/relationships/slideLayout" Target="../slideLayouts/slideLayout129.xml"/><Relationship Id="rId4" Type="http://schemas.openxmlformats.org/officeDocument/2006/relationships/slideLayout" Target="../slideLayouts/slideLayout123.xml"/><Relationship Id="rId9" Type="http://schemas.openxmlformats.org/officeDocument/2006/relationships/slideLayout" Target="../slideLayouts/slideLayout128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7.xml"/><Relationship Id="rId3" Type="http://schemas.openxmlformats.org/officeDocument/2006/relationships/slideLayout" Target="../slideLayouts/slideLayout132.xml"/><Relationship Id="rId7" Type="http://schemas.openxmlformats.org/officeDocument/2006/relationships/slideLayout" Target="../slideLayouts/slideLayout136.xml"/><Relationship Id="rId2" Type="http://schemas.openxmlformats.org/officeDocument/2006/relationships/slideLayout" Target="../slideLayouts/slideLayout131.xml"/><Relationship Id="rId1" Type="http://schemas.openxmlformats.org/officeDocument/2006/relationships/slideLayout" Target="../slideLayouts/slideLayout130.xml"/><Relationship Id="rId6" Type="http://schemas.openxmlformats.org/officeDocument/2006/relationships/slideLayout" Target="../slideLayouts/slideLayout135.xml"/><Relationship Id="rId11" Type="http://schemas.openxmlformats.org/officeDocument/2006/relationships/theme" Target="../theme/theme16.xml"/><Relationship Id="rId5" Type="http://schemas.openxmlformats.org/officeDocument/2006/relationships/slideLayout" Target="../slideLayouts/slideLayout134.xml"/><Relationship Id="rId10" Type="http://schemas.openxmlformats.org/officeDocument/2006/relationships/slideLayout" Target="../slideLayouts/slideLayout139.xml"/><Relationship Id="rId4" Type="http://schemas.openxmlformats.org/officeDocument/2006/relationships/slideLayout" Target="../slideLayouts/slideLayout133.xml"/><Relationship Id="rId9" Type="http://schemas.openxmlformats.org/officeDocument/2006/relationships/slideLayout" Target="../slideLayouts/slideLayout138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7.xml"/><Relationship Id="rId3" Type="http://schemas.openxmlformats.org/officeDocument/2006/relationships/slideLayout" Target="../slideLayouts/slideLayout142.xml"/><Relationship Id="rId7" Type="http://schemas.openxmlformats.org/officeDocument/2006/relationships/slideLayout" Target="../slideLayouts/slideLayout146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141.xml"/><Relationship Id="rId1" Type="http://schemas.openxmlformats.org/officeDocument/2006/relationships/slideLayout" Target="../slideLayouts/slideLayout140.xml"/><Relationship Id="rId6" Type="http://schemas.openxmlformats.org/officeDocument/2006/relationships/slideLayout" Target="../slideLayouts/slideLayout145.xml"/><Relationship Id="rId11" Type="http://schemas.openxmlformats.org/officeDocument/2006/relationships/slideLayout" Target="../slideLayouts/slideLayout150.xml"/><Relationship Id="rId5" Type="http://schemas.openxmlformats.org/officeDocument/2006/relationships/slideLayout" Target="../slideLayouts/slideLayout144.xml"/><Relationship Id="rId10" Type="http://schemas.openxmlformats.org/officeDocument/2006/relationships/slideLayout" Target="../slideLayouts/slideLayout149.xml"/><Relationship Id="rId4" Type="http://schemas.openxmlformats.org/officeDocument/2006/relationships/slideLayout" Target="../slideLayouts/slideLayout143.xml"/><Relationship Id="rId9" Type="http://schemas.openxmlformats.org/officeDocument/2006/relationships/slideLayout" Target="../slideLayouts/slideLayout148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8.xml"/><Relationship Id="rId13" Type="http://schemas.openxmlformats.org/officeDocument/2006/relationships/slideLayout" Target="../slideLayouts/slideLayout163.xml"/><Relationship Id="rId18" Type="http://schemas.openxmlformats.org/officeDocument/2006/relationships/theme" Target="../theme/theme18.xml"/><Relationship Id="rId3" Type="http://schemas.openxmlformats.org/officeDocument/2006/relationships/slideLayout" Target="../slideLayouts/slideLayout153.xml"/><Relationship Id="rId7" Type="http://schemas.openxmlformats.org/officeDocument/2006/relationships/slideLayout" Target="../slideLayouts/slideLayout157.xml"/><Relationship Id="rId12" Type="http://schemas.openxmlformats.org/officeDocument/2006/relationships/slideLayout" Target="../slideLayouts/slideLayout162.xml"/><Relationship Id="rId17" Type="http://schemas.openxmlformats.org/officeDocument/2006/relationships/slideLayout" Target="../slideLayouts/slideLayout167.xml"/><Relationship Id="rId2" Type="http://schemas.openxmlformats.org/officeDocument/2006/relationships/slideLayout" Target="../slideLayouts/slideLayout152.xml"/><Relationship Id="rId16" Type="http://schemas.openxmlformats.org/officeDocument/2006/relationships/slideLayout" Target="../slideLayouts/slideLayout166.xml"/><Relationship Id="rId1" Type="http://schemas.openxmlformats.org/officeDocument/2006/relationships/slideLayout" Target="../slideLayouts/slideLayout151.xml"/><Relationship Id="rId6" Type="http://schemas.openxmlformats.org/officeDocument/2006/relationships/slideLayout" Target="../slideLayouts/slideLayout156.xml"/><Relationship Id="rId11" Type="http://schemas.openxmlformats.org/officeDocument/2006/relationships/slideLayout" Target="../slideLayouts/slideLayout161.xml"/><Relationship Id="rId5" Type="http://schemas.openxmlformats.org/officeDocument/2006/relationships/slideLayout" Target="../slideLayouts/slideLayout155.xml"/><Relationship Id="rId15" Type="http://schemas.openxmlformats.org/officeDocument/2006/relationships/slideLayout" Target="../slideLayouts/slideLayout165.xml"/><Relationship Id="rId10" Type="http://schemas.openxmlformats.org/officeDocument/2006/relationships/slideLayout" Target="../slideLayouts/slideLayout160.xml"/><Relationship Id="rId4" Type="http://schemas.openxmlformats.org/officeDocument/2006/relationships/slideLayout" Target="../slideLayouts/slideLayout154.xml"/><Relationship Id="rId9" Type="http://schemas.openxmlformats.org/officeDocument/2006/relationships/slideLayout" Target="../slideLayouts/slideLayout159.xml"/><Relationship Id="rId14" Type="http://schemas.openxmlformats.org/officeDocument/2006/relationships/slideLayout" Target="../slideLayouts/slideLayout164.xml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0.xml"/><Relationship Id="rId7" Type="http://schemas.openxmlformats.org/officeDocument/2006/relationships/theme" Target="../theme/theme19.xml"/><Relationship Id="rId2" Type="http://schemas.openxmlformats.org/officeDocument/2006/relationships/slideLayout" Target="../slideLayouts/slideLayout169.xml"/><Relationship Id="rId1" Type="http://schemas.openxmlformats.org/officeDocument/2006/relationships/slideLayout" Target="../slideLayouts/slideLayout168.xml"/><Relationship Id="rId6" Type="http://schemas.openxmlformats.org/officeDocument/2006/relationships/slideLayout" Target="../slideLayouts/slideLayout173.xml"/><Relationship Id="rId5" Type="http://schemas.openxmlformats.org/officeDocument/2006/relationships/slideLayout" Target="../slideLayouts/slideLayout172.xml"/><Relationship Id="rId4" Type="http://schemas.openxmlformats.org/officeDocument/2006/relationships/slideLayout" Target="../slideLayouts/slideLayout17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1.xml"/><Relationship Id="rId3" Type="http://schemas.openxmlformats.org/officeDocument/2006/relationships/slideLayout" Target="../slideLayouts/slideLayout176.xml"/><Relationship Id="rId7" Type="http://schemas.openxmlformats.org/officeDocument/2006/relationships/slideLayout" Target="../slideLayouts/slideLayout180.xml"/><Relationship Id="rId2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74.xml"/><Relationship Id="rId6" Type="http://schemas.openxmlformats.org/officeDocument/2006/relationships/slideLayout" Target="../slideLayouts/slideLayout179.xml"/><Relationship Id="rId5" Type="http://schemas.openxmlformats.org/officeDocument/2006/relationships/slideLayout" Target="../slideLayouts/slideLayout178.xml"/><Relationship Id="rId10" Type="http://schemas.openxmlformats.org/officeDocument/2006/relationships/theme" Target="../theme/theme20.xml"/><Relationship Id="rId4" Type="http://schemas.openxmlformats.org/officeDocument/2006/relationships/slideLayout" Target="../slideLayouts/slideLayout177.xml"/><Relationship Id="rId9" Type="http://schemas.openxmlformats.org/officeDocument/2006/relationships/slideLayout" Target="../slideLayouts/slideLayout182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0.xml"/><Relationship Id="rId3" Type="http://schemas.openxmlformats.org/officeDocument/2006/relationships/slideLayout" Target="../slideLayouts/slideLayout185.xml"/><Relationship Id="rId7" Type="http://schemas.openxmlformats.org/officeDocument/2006/relationships/slideLayout" Target="../slideLayouts/slideLayout189.xml"/><Relationship Id="rId2" Type="http://schemas.openxmlformats.org/officeDocument/2006/relationships/slideLayout" Target="../slideLayouts/slideLayout184.xml"/><Relationship Id="rId1" Type="http://schemas.openxmlformats.org/officeDocument/2006/relationships/slideLayout" Target="../slideLayouts/slideLayout183.xml"/><Relationship Id="rId6" Type="http://schemas.openxmlformats.org/officeDocument/2006/relationships/slideLayout" Target="../slideLayouts/slideLayout188.xml"/><Relationship Id="rId5" Type="http://schemas.openxmlformats.org/officeDocument/2006/relationships/slideLayout" Target="../slideLayouts/slideLayout187.xml"/><Relationship Id="rId10" Type="http://schemas.openxmlformats.org/officeDocument/2006/relationships/theme" Target="../theme/theme21.xml"/><Relationship Id="rId4" Type="http://schemas.openxmlformats.org/officeDocument/2006/relationships/slideLayout" Target="../slideLayouts/slideLayout186.xml"/><Relationship Id="rId9" Type="http://schemas.openxmlformats.org/officeDocument/2006/relationships/slideLayout" Target="../slideLayouts/slideLayout191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9.xml"/><Relationship Id="rId3" Type="http://schemas.openxmlformats.org/officeDocument/2006/relationships/slideLayout" Target="../slideLayouts/slideLayout194.xml"/><Relationship Id="rId7" Type="http://schemas.openxmlformats.org/officeDocument/2006/relationships/slideLayout" Target="../slideLayouts/slideLayout198.xml"/><Relationship Id="rId12" Type="http://schemas.openxmlformats.org/officeDocument/2006/relationships/theme" Target="../theme/theme22.xml"/><Relationship Id="rId2" Type="http://schemas.openxmlformats.org/officeDocument/2006/relationships/slideLayout" Target="../slideLayouts/slideLayout193.xml"/><Relationship Id="rId1" Type="http://schemas.openxmlformats.org/officeDocument/2006/relationships/slideLayout" Target="../slideLayouts/slideLayout192.xml"/><Relationship Id="rId6" Type="http://schemas.openxmlformats.org/officeDocument/2006/relationships/slideLayout" Target="../slideLayouts/slideLayout197.xml"/><Relationship Id="rId11" Type="http://schemas.openxmlformats.org/officeDocument/2006/relationships/slideLayout" Target="../slideLayouts/slideLayout202.xml"/><Relationship Id="rId5" Type="http://schemas.openxmlformats.org/officeDocument/2006/relationships/slideLayout" Target="../slideLayouts/slideLayout196.xml"/><Relationship Id="rId10" Type="http://schemas.openxmlformats.org/officeDocument/2006/relationships/slideLayout" Target="../slideLayouts/slideLayout201.xml"/><Relationship Id="rId4" Type="http://schemas.openxmlformats.org/officeDocument/2006/relationships/slideLayout" Target="../slideLayouts/slideLayout195.xml"/><Relationship Id="rId9" Type="http://schemas.openxmlformats.org/officeDocument/2006/relationships/slideLayout" Target="../slideLayouts/slideLayout200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0.xml"/><Relationship Id="rId3" Type="http://schemas.openxmlformats.org/officeDocument/2006/relationships/slideLayout" Target="../slideLayouts/slideLayout205.xml"/><Relationship Id="rId7" Type="http://schemas.openxmlformats.org/officeDocument/2006/relationships/slideLayout" Target="../slideLayouts/slideLayout209.xml"/><Relationship Id="rId2" Type="http://schemas.openxmlformats.org/officeDocument/2006/relationships/slideLayout" Target="../slideLayouts/slideLayout204.xml"/><Relationship Id="rId1" Type="http://schemas.openxmlformats.org/officeDocument/2006/relationships/slideLayout" Target="../slideLayouts/slideLayout203.xml"/><Relationship Id="rId6" Type="http://schemas.openxmlformats.org/officeDocument/2006/relationships/slideLayout" Target="../slideLayouts/slideLayout208.xml"/><Relationship Id="rId11" Type="http://schemas.openxmlformats.org/officeDocument/2006/relationships/theme" Target="../theme/theme23.xml"/><Relationship Id="rId5" Type="http://schemas.openxmlformats.org/officeDocument/2006/relationships/slideLayout" Target="../slideLayouts/slideLayout207.xml"/><Relationship Id="rId10" Type="http://schemas.openxmlformats.org/officeDocument/2006/relationships/slideLayout" Target="../slideLayouts/slideLayout212.xml"/><Relationship Id="rId4" Type="http://schemas.openxmlformats.org/officeDocument/2006/relationships/slideLayout" Target="../slideLayouts/slideLayout206.xml"/><Relationship Id="rId9" Type="http://schemas.openxmlformats.org/officeDocument/2006/relationships/slideLayout" Target="../slideLayouts/slideLayout211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0.xml"/><Relationship Id="rId13" Type="http://schemas.openxmlformats.org/officeDocument/2006/relationships/slideLayout" Target="../slideLayouts/slideLayout225.xml"/><Relationship Id="rId3" Type="http://schemas.openxmlformats.org/officeDocument/2006/relationships/slideLayout" Target="../slideLayouts/slideLayout215.xml"/><Relationship Id="rId7" Type="http://schemas.openxmlformats.org/officeDocument/2006/relationships/slideLayout" Target="../slideLayouts/slideLayout219.xml"/><Relationship Id="rId12" Type="http://schemas.openxmlformats.org/officeDocument/2006/relationships/slideLayout" Target="../slideLayouts/slideLayout224.xml"/><Relationship Id="rId2" Type="http://schemas.openxmlformats.org/officeDocument/2006/relationships/slideLayout" Target="../slideLayouts/slideLayout214.xml"/><Relationship Id="rId1" Type="http://schemas.openxmlformats.org/officeDocument/2006/relationships/slideLayout" Target="../slideLayouts/slideLayout213.xml"/><Relationship Id="rId6" Type="http://schemas.openxmlformats.org/officeDocument/2006/relationships/slideLayout" Target="../slideLayouts/slideLayout218.xml"/><Relationship Id="rId11" Type="http://schemas.openxmlformats.org/officeDocument/2006/relationships/slideLayout" Target="../slideLayouts/slideLayout223.xml"/><Relationship Id="rId5" Type="http://schemas.openxmlformats.org/officeDocument/2006/relationships/slideLayout" Target="../slideLayouts/slideLayout217.xml"/><Relationship Id="rId15" Type="http://schemas.openxmlformats.org/officeDocument/2006/relationships/theme" Target="../theme/theme24.xml"/><Relationship Id="rId10" Type="http://schemas.openxmlformats.org/officeDocument/2006/relationships/slideLayout" Target="../slideLayouts/slideLayout222.xml"/><Relationship Id="rId4" Type="http://schemas.openxmlformats.org/officeDocument/2006/relationships/slideLayout" Target="../slideLayouts/slideLayout216.xml"/><Relationship Id="rId9" Type="http://schemas.openxmlformats.org/officeDocument/2006/relationships/slideLayout" Target="../slideLayouts/slideLayout221.xml"/><Relationship Id="rId14" Type="http://schemas.openxmlformats.org/officeDocument/2006/relationships/slideLayout" Target="../slideLayouts/slideLayout226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4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229.xml"/><Relationship Id="rId7" Type="http://schemas.openxmlformats.org/officeDocument/2006/relationships/slideLayout" Target="../slideLayouts/slideLayout233.xml"/><Relationship Id="rId12" Type="http://schemas.openxmlformats.org/officeDocument/2006/relationships/vmlDrawing" Target="../drawings/vmlDrawing3.vml"/><Relationship Id="rId2" Type="http://schemas.openxmlformats.org/officeDocument/2006/relationships/slideLayout" Target="../slideLayouts/slideLayout228.xml"/><Relationship Id="rId1" Type="http://schemas.openxmlformats.org/officeDocument/2006/relationships/slideLayout" Target="../slideLayouts/slideLayout227.xml"/><Relationship Id="rId6" Type="http://schemas.openxmlformats.org/officeDocument/2006/relationships/slideLayout" Target="../slideLayouts/slideLayout232.xml"/><Relationship Id="rId11" Type="http://schemas.openxmlformats.org/officeDocument/2006/relationships/theme" Target="../theme/theme25.xml"/><Relationship Id="rId5" Type="http://schemas.openxmlformats.org/officeDocument/2006/relationships/slideLayout" Target="../slideLayouts/slideLayout231.xml"/><Relationship Id="rId15" Type="http://schemas.openxmlformats.org/officeDocument/2006/relationships/image" Target="../media/image10.emf"/><Relationship Id="rId10" Type="http://schemas.openxmlformats.org/officeDocument/2006/relationships/slideLayout" Target="../slideLayouts/slideLayout236.xml"/><Relationship Id="rId4" Type="http://schemas.openxmlformats.org/officeDocument/2006/relationships/slideLayout" Target="../slideLayouts/slideLayout230.xml"/><Relationship Id="rId9" Type="http://schemas.openxmlformats.org/officeDocument/2006/relationships/slideLayout" Target="../slideLayouts/slideLayout235.xml"/><Relationship Id="rId14" Type="http://schemas.openxmlformats.org/officeDocument/2006/relationships/oleObject" Target="../embeddings/oleObject3.bin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4.xml"/><Relationship Id="rId3" Type="http://schemas.openxmlformats.org/officeDocument/2006/relationships/slideLayout" Target="../slideLayouts/slideLayout239.xml"/><Relationship Id="rId7" Type="http://schemas.openxmlformats.org/officeDocument/2006/relationships/slideLayout" Target="../slideLayouts/slideLayout243.xml"/><Relationship Id="rId12" Type="http://schemas.openxmlformats.org/officeDocument/2006/relationships/theme" Target="../theme/theme26.xml"/><Relationship Id="rId2" Type="http://schemas.openxmlformats.org/officeDocument/2006/relationships/slideLayout" Target="../slideLayouts/slideLayout238.xml"/><Relationship Id="rId1" Type="http://schemas.openxmlformats.org/officeDocument/2006/relationships/slideLayout" Target="../slideLayouts/slideLayout237.xml"/><Relationship Id="rId6" Type="http://schemas.openxmlformats.org/officeDocument/2006/relationships/slideLayout" Target="../slideLayouts/slideLayout242.xml"/><Relationship Id="rId11" Type="http://schemas.openxmlformats.org/officeDocument/2006/relationships/slideLayout" Target="../slideLayouts/slideLayout247.xml"/><Relationship Id="rId5" Type="http://schemas.openxmlformats.org/officeDocument/2006/relationships/slideLayout" Target="../slideLayouts/slideLayout241.xml"/><Relationship Id="rId10" Type="http://schemas.openxmlformats.org/officeDocument/2006/relationships/slideLayout" Target="../slideLayouts/slideLayout246.xml"/><Relationship Id="rId4" Type="http://schemas.openxmlformats.org/officeDocument/2006/relationships/slideLayout" Target="../slideLayouts/slideLayout240.xml"/><Relationship Id="rId9" Type="http://schemas.openxmlformats.org/officeDocument/2006/relationships/slideLayout" Target="../slideLayouts/slideLayout245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5.x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250.xml"/><Relationship Id="rId7" Type="http://schemas.openxmlformats.org/officeDocument/2006/relationships/slideLayout" Target="../slideLayouts/slideLayout254.xml"/><Relationship Id="rId12" Type="http://schemas.openxmlformats.org/officeDocument/2006/relationships/vmlDrawing" Target="../drawings/vmlDrawing5.vml"/><Relationship Id="rId2" Type="http://schemas.openxmlformats.org/officeDocument/2006/relationships/slideLayout" Target="../slideLayouts/slideLayout249.xml"/><Relationship Id="rId1" Type="http://schemas.openxmlformats.org/officeDocument/2006/relationships/slideLayout" Target="../slideLayouts/slideLayout248.xml"/><Relationship Id="rId6" Type="http://schemas.openxmlformats.org/officeDocument/2006/relationships/slideLayout" Target="../slideLayouts/slideLayout253.xml"/><Relationship Id="rId11" Type="http://schemas.openxmlformats.org/officeDocument/2006/relationships/theme" Target="../theme/theme27.xml"/><Relationship Id="rId5" Type="http://schemas.openxmlformats.org/officeDocument/2006/relationships/slideLayout" Target="../slideLayouts/slideLayout252.xml"/><Relationship Id="rId15" Type="http://schemas.openxmlformats.org/officeDocument/2006/relationships/image" Target="../media/image10.emf"/><Relationship Id="rId10" Type="http://schemas.openxmlformats.org/officeDocument/2006/relationships/slideLayout" Target="../slideLayouts/slideLayout257.xml"/><Relationship Id="rId4" Type="http://schemas.openxmlformats.org/officeDocument/2006/relationships/slideLayout" Target="../slideLayouts/slideLayout251.xml"/><Relationship Id="rId9" Type="http://schemas.openxmlformats.org/officeDocument/2006/relationships/slideLayout" Target="../slideLayouts/slideLayout256.xml"/><Relationship Id="rId14" Type="http://schemas.openxmlformats.org/officeDocument/2006/relationships/oleObject" Target="../embeddings/oleObject5.bin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5.xml"/><Relationship Id="rId3" Type="http://schemas.openxmlformats.org/officeDocument/2006/relationships/slideLayout" Target="../slideLayouts/slideLayout260.xml"/><Relationship Id="rId7" Type="http://schemas.openxmlformats.org/officeDocument/2006/relationships/slideLayout" Target="../slideLayouts/slideLayout264.xml"/><Relationship Id="rId2" Type="http://schemas.openxmlformats.org/officeDocument/2006/relationships/slideLayout" Target="../slideLayouts/slideLayout259.xml"/><Relationship Id="rId1" Type="http://schemas.openxmlformats.org/officeDocument/2006/relationships/slideLayout" Target="../slideLayouts/slideLayout258.xml"/><Relationship Id="rId6" Type="http://schemas.openxmlformats.org/officeDocument/2006/relationships/slideLayout" Target="../slideLayouts/slideLayout263.xml"/><Relationship Id="rId5" Type="http://schemas.openxmlformats.org/officeDocument/2006/relationships/slideLayout" Target="../slideLayouts/slideLayout262.xml"/><Relationship Id="rId10" Type="http://schemas.openxmlformats.org/officeDocument/2006/relationships/theme" Target="../theme/theme28.xml"/><Relationship Id="rId4" Type="http://schemas.openxmlformats.org/officeDocument/2006/relationships/slideLayout" Target="../slideLayouts/slideLayout261.xml"/><Relationship Id="rId9" Type="http://schemas.openxmlformats.org/officeDocument/2006/relationships/slideLayout" Target="../slideLayouts/slideLayout266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4.xml"/><Relationship Id="rId3" Type="http://schemas.openxmlformats.org/officeDocument/2006/relationships/slideLayout" Target="../slideLayouts/slideLayout269.xml"/><Relationship Id="rId7" Type="http://schemas.openxmlformats.org/officeDocument/2006/relationships/slideLayout" Target="../slideLayouts/slideLayout273.xml"/><Relationship Id="rId2" Type="http://schemas.openxmlformats.org/officeDocument/2006/relationships/slideLayout" Target="../slideLayouts/slideLayout268.xml"/><Relationship Id="rId1" Type="http://schemas.openxmlformats.org/officeDocument/2006/relationships/slideLayout" Target="../slideLayouts/slideLayout267.xml"/><Relationship Id="rId6" Type="http://schemas.openxmlformats.org/officeDocument/2006/relationships/slideLayout" Target="../slideLayouts/slideLayout272.xml"/><Relationship Id="rId5" Type="http://schemas.openxmlformats.org/officeDocument/2006/relationships/slideLayout" Target="../slideLayouts/slideLayout271.xml"/><Relationship Id="rId10" Type="http://schemas.openxmlformats.org/officeDocument/2006/relationships/theme" Target="../theme/theme29.xml"/><Relationship Id="rId4" Type="http://schemas.openxmlformats.org/officeDocument/2006/relationships/slideLayout" Target="../slideLayouts/slideLayout270.xml"/><Relationship Id="rId9" Type="http://schemas.openxmlformats.org/officeDocument/2006/relationships/slideLayout" Target="../slideLayouts/slideLayout275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5.xml"/><Relationship Id="rId4" Type="http://schemas.openxmlformats.org/officeDocument/2006/relationships/slideLayout" Target="../slideLayouts/slideLayout24.x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3.xml"/><Relationship Id="rId3" Type="http://schemas.openxmlformats.org/officeDocument/2006/relationships/slideLayout" Target="../slideLayouts/slideLayout278.xml"/><Relationship Id="rId7" Type="http://schemas.openxmlformats.org/officeDocument/2006/relationships/slideLayout" Target="../slideLayouts/slideLayout282.xml"/><Relationship Id="rId2" Type="http://schemas.openxmlformats.org/officeDocument/2006/relationships/slideLayout" Target="../slideLayouts/slideLayout277.xml"/><Relationship Id="rId1" Type="http://schemas.openxmlformats.org/officeDocument/2006/relationships/slideLayout" Target="../slideLayouts/slideLayout276.xml"/><Relationship Id="rId6" Type="http://schemas.openxmlformats.org/officeDocument/2006/relationships/slideLayout" Target="../slideLayouts/slideLayout281.xml"/><Relationship Id="rId5" Type="http://schemas.openxmlformats.org/officeDocument/2006/relationships/slideLayout" Target="../slideLayouts/slideLayout280.xml"/><Relationship Id="rId10" Type="http://schemas.openxmlformats.org/officeDocument/2006/relationships/theme" Target="../theme/theme30.xml"/><Relationship Id="rId4" Type="http://schemas.openxmlformats.org/officeDocument/2006/relationships/slideLayout" Target="../slideLayouts/slideLayout279.xml"/><Relationship Id="rId9" Type="http://schemas.openxmlformats.org/officeDocument/2006/relationships/slideLayout" Target="../slideLayouts/slideLayout284.xml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2.xml"/><Relationship Id="rId3" Type="http://schemas.openxmlformats.org/officeDocument/2006/relationships/slideLayout" Target="../slideLayouts/slideLayout287.xml"/><Relationship Id="rId7" Type="http://schemas.openxmlformats.org/officeDocument/2006/relationships/slideLayout" Target="../slideLayouts/slideLayout291.xml"/><Relationship Id="rId2" Type="http://schemas.openxmlformats.org/officeDocument/2006/relationships/slideLayout" Target="../slideLayouts/slideLayout286.xml"/><Relationship Id="rId1" Type="http://schemas.openxmlformats.org/officeDocument/2006/relationships/slideLayout" Target="../slideLayouts/slideLayout285.xml"/><Relationship Id="rId6" Type="http://schemas.openxmlformats.org/officeDocument/2006/relationships/slideLayout" Target="../slideLayouts/slideLayout290.xml"/><Relationship Id="rId5" Type="http://schemas.openxmlformats.org/officeDocument/2006/relationships/slideLayout" Target="../slideLayouts/slideLayout289.xml"/><Relationship Id="rId10" Type="http://schemas.openxmlformats.org/officeDocument/2006/relationships/theme" Target="../theme/theme31.xml"/><Relationship Id="rId4" Type="http://schemas.openxmlformats.org/officeDocument/2006/relationships/slideLayout" Target="../slideLayouts/slideLayout288.xml"/><Relationship Id="rId9" Type="http://schemas.openxmlformats.org/officeDocument/2006/relationships/slideLayout" Target="../slideLayouts/slideLayout293.xml"/></Relationships>
</file>

<file path=ppt/slideMasters/_rels/slideMaster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6.xml"/><Relationship Id="rId7" Type="http://schemas.openxmlformats.org/officeDocument/2006/relationships/theme" Target="../theme/theme32.xml"/><Relationship Id="rId2" Type="http://schemas.openxmlformats.org/officeDocument/2006/relationships/slideLayout" Target="../slideLayouts/slideLayout295.xml"/><Relationship Id="rId1" Type="http://schemas.openxmlformats.org/officeDocument/2006/relationships/slideLayout" Target="../slideLayouts/slideLayout294.xml"/><Relationship Id="rId6" Type="http://schemas.openxmlformats.org/officeDocument/2006/relationships/slideLayout" Target="../slideLayouts/slideLayout299.xml"/><Relationship Id="rId5" Type="http://schemas.openxmlformats.org/officeDocument/2006/relationships/slideLayout" Target="../slideLayouts/slideLayout298.xml"/><Relationship Id="rId4" Type="http://schemas.openxmlformats.org/officeDocument/2006/relationships/slideLayout" Target="../slideLayouts/slideLayout297.xml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7.xml"/><Relationship Id="rId3" Type="http://schemas.openxmlformats.org/officeDocument/2006/relationships/slideLayout" Target="../slideLayouts/slideLayout302.xml"/><Relationship Id="rId7" Type="http://schemas.openxmlformats.org/officeDocument/2006/relationships/slideLayout" Target="../slideLayouts/slideLayout306.xml"/><Relationship Id="rId2" Type="http://schemas.openxmlformats.org/officeDocument/2006/relationships/slideLayout" Target="../slideLayouts/slideLayout301.xml"/><Relationship Id="rId1" Type="http://schemas.openxmlformats.org/officeDocument/2006/relationships/slideLayout" Target="../slideLayouts/slideLayout300.xml"/><Relationship Id="rId6" Type="http://schemas.openxmlformats.org/officeDocument/2006/relationships/slideLayout" Target="../slideLayouts/slideLayout305.xml"/><Relationship Id="rId5" Type="http://schemas.openxmlformats.org/officeDocument/2006/relationships/slideLayout" Target="../slideLayouts/slideLayout304.xml"/><Relationship Id="rId10" Type="http://schemas.openxmlformats.org/officeDocument/2006/relationships/theme" Target="../theme/theme33.xml"/><Relationship Id="rId4" Type="http://schemas.openxmlformats.org/officeDocument/2006/relationships/slideLayout" Target="../slideLayouts/slideLayout303.xml"/><Relationship Id="rId9" Type="http://schemas.openxmlformats.org/officeDocument/2006/relationships/slideLayout" Target="../slideLayouts/slideLayout308.xml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6.xml"/><Relationship Id="rId3" Type="http://schemas.openxmlformats.org/officeDocument/2006/relationships/slideLayout" Target="../slideLayouts/slideLayout311.xml"/><Relationship Id="rId7" Type="http://schemas.openxmlformats.org/officeDocument/2006/relationships/slideLayout" Target="../slideLayouts/slideLayout315.xml"/><Relationship Id="rId2" Type="http://schemas.openxmlformats.org/officeDocument/2006/relationships/slideLayout" Target="../slideLayouts/slideLayout310.xml"/><Relationship Id="rId1" Type="http://schemas.openxmlformats.org/officeDocument/2006/relationships/slideLayout" Target="../slideLayouts/slideLayout309.xml"/><Relationship Id="rId6" Type="http://schemas.openxmlformats.org/officeDocument/2006/relationships/slideLayout" Target="../slideLayouts/slideLayout314.xml"/><Relationship Id="rId5" Type="http://schemas.openxmlformats.org/officeDocument/2006/relationships/slideLayout" Target="../slideLayouts/slideLayout313.xml"/><Relationship Id="rId10" Type="http://schemas.openxmlformats.org/officeDocument/2006/relationships/theme" Target="../theme/theme34.xml"/><Relationship Id="rId4" Type="http://schemas.openxmlformats.org/officeDocument/2006/relationships/slideLayout" Target="../slideLayouts/slideLayout312.xml"/><Relationship Id="rId9" Type="http://schemas.openxmlformats.org/officeDocument/2006/relationships/slideLayout" Target="../slideLayouts/slideLayout317.xml"/></Relationships>
</file>

<file path=ppt/slideMasters/_rels/slideMaster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0.xml"/><Relationship Id="rId2" Type="http://schemas.openxmlformats.org/officeDocument/2006/relationships/slideLayout" Target="../slideLayouts/slideLayout319.xml"/><Relationship Id="rId1" Type="http://schemas.openxmlformats.org/officeDocument/2006/relationships/slideLayout" Target="../slideLayouts/slideLayout318.xml"/><Relationship Id="rId5" Type="http://schemas.openxmlformats.org/officeDocument/2006/relationships/theme" Target="../theme/theme35.xml"/><Relationship Id="rId4" Type="http://schemas.openxmlformats.org/officeDocument/2006/relationships/slideLayout" Target="../slideLayouts/slideLayout321.xml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9.xml"/><Relationship Id="rId3" Type="http://schemas.openxmlformats.org/officeDocument/2006/relationships/slideLayout" Target="../slideLayouts/slideLayout324.xml"/><Relationship Id="rId7" Type="http://schemas.openxmlformats.org/officeDocument/2006/relationships/slideLayout" Target="../slideLayouts/slideLayout328.xml"/><Relationship Id="rId2" Type="http://schemas.openxmlformats.org/officeDocument/2006/relationships/slideLayout" Target="../slideLayouts/slideLayout323.xml"/><Relationship Id="rId1" Type="http://schemas.openxmlformats.org/officeDocument/2006/relationships/slideLayout" Target="../slideLayouts/slideLayout322.xml"/><Relationship Id="rId6" Type="http://schemas.openxmlformats.org/officeDocument/2006/relationships/slideLayout" Target="../slideLayouts/slideLayout327.xml"/><Relationship Id="rId5" Type="http://schemas.openxmlformats.org/officeDocument/2006/relationships/slideLayout" Target="../slideLayouts/slideLayout326.xml"/><Relationship Id="rId10" Type="http://schemas.openxmlformats.org/officeDocument/2006/relationships/theme" Target="../theme/theme36.xml"/><Relationship Id="rId4" Type="http://schemas.openxmlformats.org/officeDocument/2006/relationships/slideLayout" Target="../slideLayouts/slideLayout325.xml"/><Relationship Id="rId9" Type="http://schemas.openxmlformats.org/officeDocument/2006/relationships/slideLayout" Target="../slideLayouts/slideLayout330.xml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8.xml"/><Relationship Id="rId3" Type="http://schemas.openxmlformats.org/officeDocument/2006/relationships/slideLayout" Target="../slideLayouts/slideLayout333.xml"/><Relationship Id="rId7" Type="http://schemas.openxmlformats.org/officeDocument/2006/relationships/slideLayout" Target="../slideLayouts/slideLayout337.xml"/><Relationship Id="rId2" Type="http://schemas.openxmlformats.org/officeDocument/2006/relationships/slideLayout" Target="../slideLayouts/slideLayout332.xml"/><Relationship Id="rId1" Type="http://schemas.openxmlformats.org/officeDocument/2006/relationships/slideLayout" Target="../slideLayouts/slideLayout331.xml"/><Relationship Id="rId6" Type="http://schemas.openxmlformats.org/officeDocument/2006/relationships/slideLayout" Target="../slideLayouts/slideLayout336.xml"/><Relationship Id="rId5" Type="http://schemas.openxmlformats.org/officeDocument/2006/relationships/slideLayout" Target="../slideLayouts/slideLayout335.xml"/><Relationship Id="rId10" Type="http://schemas.openxmlformats.org/officeDocument/2006/relationships/theme" Target="../theme/theme37.xml"/><Relationship Id="rId4" Type="http://schemas.openxmlformats.org/officeDocument/2006/relationships/slideLayout" Target="../slideLayouts/slideLayout334.xml"/><Relationship Id="rId9" Type="http://schemas.openxmlformats.org/officeDocument/2006/relationships/slideLayout" Target="../slideLayouts/slideLayout339.xml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7.xml"/><Relationship Id="rId3" Type="http://schemas.openxmlformats.org/officeDocument/2006/relationships/slideLayout" Target="../slideLayouts/slideLayout342.xml"/><Relationship Id="rId7" Type="http://schemas.openxmlformats.org/officeDocument/2006/relationships/slideLayout" Target="../slideLayouts/slideLayout346.xml"/><Relationship Id="rId2" Type="http://schemas.openxmlformats.org/officeDocument/2006/relationships/slideLayout" Target="../slideLayouts/slideLayout341.xml"/><Relationship Id="rId1" Type="http://schemas.openxmlformats.org/officeDocument/2006/relationships/slideLayout" Target="../slideLayouts/slideLayout340.xml"/><Relationship Id="rId6" Type="http://schemas.openxmlformats.org/officeDocument/2006/relationships/slideLayout" Target="../slideLayouts/slideLayout345.xml"/><Relationship Id="rId5" Type="http://schemas.openxmlformats.org/officeDocument/2006/relationships/slideLayout" Target="../slideLayouts/slideLayout344.xml"/><Relationship Id="rId10" Type="http://schemas.openxmlformats.org/officeDocument/2006/relationships/theme" Target="../theme/theme38.xml"/><Relationship Id="rId4" Type="http://schemas.openxmlformats.org/officeDocument/2006/relationships/slideLayout" Target="../slideLayouts/slideLayout343.xml"/><Relationship Id="rId9" Type="http://schemas.openxmlformats.org/officeDocument/2006/relationships/slideLayout" Target="../slideLayouts/slideLayout348.xml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6.xml"/><Relationship Id="rId3" Type="http://schemas.openxmlformats.org/officeDocument/2006/relationships/slideLayout" Target="../slideLayouts/slideLayout351.xml"/><Relationship Id="rId7" Type="http://schemas.openxmlformats.org/officeDocument/2006/relationships/slideLayout" Target="../slideLayouts/slideLayout355.xml"/><Relationship Id="rId2" Type="http://schemas.openxmlformats.org/officeDocument/2006/relationships/slideLayout" Target="../slideLayouts/slideLayout350.xml"/><Relationship Id="rId1" Type="http://schemas.openxmlformats.org/officeDocument/2006/relationships/slideLayout" Target="../slideLayouts/slideLayout349.xml"/><Relationship Id="rId6" Type="http://schemas.openxmlformats.org/officeDocument/2006/relationships/slideLayout" Target="../slideLayouts/slideLayout354.xml"/><Relationship Id="rId5" Type="http://schemas.openxmlformats.org/officeDocument/2006/relationships/slideLayout" Target="../slideLayouts/slideLayout353.xml"/><Relationship Id="rId10" Type="http://schemas.openxmlformats.org/officeDocument/2006/relationships/theme" Target="../theme/theme39.xml"/><Relationship Id="rId4" Type="http://schemas.openxmlformats.org/officeDocument/2006/relationships/slideLayout" Target="../slideLayouts/slideLayout352.xml"/><Relationship Id="rId9" Type="http://schemas.openxmlformats.org/officeDocument/2006/relationships/slideLayout" Target="../slideLayouts/slideLayout357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31.xml"/><Relationship Id="rId4" Type="http://schemas.openxmlformats.org/officeDocument/2006/relationships/slideLayout" Target="../slideLayouts/slideLayout30.xml"/></Relationships>
</file>

<file path=ppt/slideMasters/_rels/slideMaster4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5.xml"/><Relationship Id="rId13" Type="http://schemas.openxmlformats.org/officeDocument/2006/relationships/slideLayout" Target="../slideLayouts/slideLayout370.xml"/><Relationship Id="rId3" Type="http://schemas.openxmlformats.org/officeDocument/2006/relationships/slideLayout" Target="../slideLayouts/slideLayout360.xml"/><Relationship Id="rId7" Type="http://schemas.openxmlformats.org/officeDocument/2006/relationships/slideLayout" Target="../slideLayouts/slideLayout364.xml"/><Relationship Id="rId12" Type="http://schemas.openxmlformats.org/officeDocument/2006/relationships/slideLayout" Target="../slideLayouts/slideLayout369.xml"/><Relationship Id="rId2" Type="http://schemas.openxmlformats.org/officeDocument/2006/relationships/slideLayout" Target="../slideLayouts/slideLayout359.xml"/><Relationship Id="rId16" Type="http://schemas.openxmlformats.org/officeDocument/2006/relationships/theme" Target="../theme/theme40.xml"/><Relationship Id="rId1" Type="http://schemas.openxmlformats.org/officeDocument/2006/relationships/slideLayout" Target="../slideLayouts/slideLayout358.xml"/><Relationship Id="rId6" Type="http://schemas.openxmlformats.org/officeDocument/2006/relationships/slideLayout" Target="../slideLayouts/slideLayout363.xml"/><Relationship Id="rId11" Type="http://schemas.openxmlformats.org/officeDocument/2006/relationships/slideLayout" Target="../slideLayouts/slideLayout368.xml"/><Relationship Id="rId5" Type="http://schemas.openxmlformats.org/officeDocument/2006/relationships/slideLayout" Target="../slideLayouts/slideLayout362.xml"/><Relationship Id="rId15" Type="http://schemas.openxmlformats.org/officeDocument/2006/relationships/slideLayout" Target="../slideLayouts/slideLayout372.xml"/><Relationship Id="rId10" Type="http://schemas.openxmlformats.org/officeDocument/2006/relationships/slideLayout" Target="../slideLayouts/slideLayout367.xml"/><Relationship Id="rId4" Type="http://schemas.openxmlformats.org/officeDocument/2006/relationships/slideLayout" Target="../slideLayouts/slideLayout361.xml"/><Relationship Id="rId9" Type="http://schemas.openxmlformats.org/officeDocument/2006/relationships/slideLayout" Target="../slideLayouts/slideLayout366.xml"/><Relationship Id="rId14" Type="http://schemas.openxmlformats.org/officeDocument/2006/relationships/slideLayout" Target="../slideLayouts/slideLayout371.xml"/></Relationships>
</file>

<file path=ppt/slideMasters/_rels/slideMaster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0.xml"/><Relationship Id="rId3" Type="http://schemas.openxmlformats.org/officeDocument/2006/relationships/slideLayout" Target="../slideLayouts/slideLayout375.xml"/><Relationship Id="rId7" Type="http://schemas.openxmlformats.org/officeDocument/2006/relationships/slideLayout" Target="../slideLayouts/slideLayout379.xml"/><Relationship Id="rId2" Type="http://schemas.openxmlformats.org/officeDocument/2006/relationships/slideLayout" Target="../slideLayouts/slideLayout374.xml"/><Relationship Id="rId1" Type="http://schemas.openxmlformats.org/officeDocument/2006/relationships/slideLayout" Target="../slideLayouts/slideLayout373.xml"/><Relationship Id="rId6" Type="http://schemas.openxmlformats.org/officeDocument/2006/relationships/slideLayout" Target="../slideLayouts/slideLayout378.xml"/><Relationship Id="rId5" Type="http://schemas.openxmlformats.org/officeDocument/2006/relationships/slideLayout" Target="../slideLayouts/slideLayout377.xml"/><Relationship Id="rId10" Type="http://schemas.openxmlformats.org/officeDocument/2006/relationships/theme" Target="../theme/theme41.xml"/><Relationship Id="rId4" Type="http://schemas.openxmlformats.org/officeDocument/2006/relationships/slideLayout" Target="../slideLayouts/slideLayout376.xml"/><Relationship Id="rId9" Type="http://schemas.openxmlformats.org/officeDocument/2006/relationships/slideLayout" Target="../slideLayouts/slideLayout381.xml"/></Relationships>
</file>

<file path=ppt/slideMasters/_rels/slideMaster4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9.xml"/><Relationship Id="rId3" Type="http://schemas.openxmlformats.org/officeDocument/2006/relationships/slideLayout" Target="../slideLayouts/slideLayout384.xml"/><Relationship Id="rId7" Type="http://schemas.openxmlformats.org/officeDocument/2006/relationships/slideLayout" Target="../slideLayouts/slideLayout388.xml"/><Relationship Id="rId12" Type="http://schemas.openxmlformats.org/officeDocument/2006/relationships/theme" Target="../theme/theme42.xml"/><Relationship Id="rId2" Type="http://schemas.openxmlformats.org/officeDocument/2006/relationships/slideLayout" Target="../slideLayouts/slideLayout383.xml"/><Relationship Id="rId1" Type="http://schemas.openxmlformats.org/officeDocument/2006/relationships/slideLayout" Target="../slideLayouts/slideLayout382.xml"/><Relationship Id="rId6" Type="http://schemas.openxmlformats.org/officeDocument/2006/relationships/slideLayout" Target="../slideLayouts/slideLayout387.xml"/><Relationship Id="rId11" Type="http://schemas.openxmlformats.org/officeDocument/2006/relationships/slideLayout" Target="../slideLayouts/slideLayout392.xml"/><Relationship Id="rId5" Type="http://schemas.openxmlformats.org/officeDocument/2006/relationships/slideLayout" Target="../slideLayouts/slideLayout386.xml"/><Relationship Id="rId10" Type="http://schemas.openxmlformats.org/officeDocument/2006/relationships/slideLayout" Target="../slideLayouts/slideLayout391.xml"/><Relationship Id="rId4" Type="http://schemas.openxmlformats.org/officeDocument/2006/relationships/slideLayout" Target="../slideLayouts/slideLayout385.xml"/><Relationship Id="rId9" Type="http://schemas.openxmlformats.org/officeDocument/2006/relationships/slideLayout" Target="../slideLayouts/slideLayout390.xml"/></Relationships>
</file>

<file path=ppt/slideMasters/_rels/slideMaster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5.xml"/><Relationship Id="rId2" Type="http://schemas.openxmlformats.org/officeDocument/2006/relationships/slideLayout" Target="../slideLayouts/slideLayout394.xml"/><Relationship Id="rId1" Type="http://schemas.openxmlformats.org/officeDocument/2006/relationships/slideLayout" Target="../slideLayouts/slideLayout393.xml"/><Relationship Id="rId6" Type="http://schemas.openxmlformats.org/officeDocument/2006/relationships/theme" Target="../theme/theme43.xml"/><Relationship Id="rId5" Type="http://schemas.openxmlformats.org/officeDocument/2006/relationships/slideLayout" Target="../slideLayouts/slideLayout397.xml"/><Relationship Id="rId4" Type="http://schemas.openxmlformats.org/officeDocument/2006/relationships/slideLayout" Target="../slideLayouts/slideLayout396.xml"/></Relationships>
</file>

<file path=ppt/slideMasters/_rels/slideMaster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0.xml"/><Relationship Id="rId7" Type="http://schemas.openxmlformats.org/officeDocument/2006/relationships/theme" Target="../theme/theme44.xml"/><Relationship Id="rId2" Type="http://schemas.openxmlformats.org/officeDocument/2006/relationships/slideLayout" Target="../slideLayouts/slideLayout399.xml"/><Relationship Id="rId1" Type="http://schemas.openxmlformats.org/officeDocument/2006/relationships/slideLayout" Target="../slideLayouts/slideLayout398.xml"/><Relationship Id="rId6" Type="http://schemas.openxmlformats.org/officeDocument/2006/relationships/slideLayout" Target="../slideLayouts/slideLayout403.xml"/><Relationship Id="rId5" Type="http://schemas.openxmlformats.org/officeDocument/2006/relationships/slideLayout" Target="../slideLayouts/slideLayout402.xml"/><Relationship Id="rId4" Type="http://schemas.openxmlformats.org/officeDocument/2006/relationships/slideLayout" Target="../slideLayouts/slideLayout401.xml"/></Relationships>
</file>

<file path=ppt/slideMasters/_rels/slideMaster4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1.xml"/><Relationship Id="rId13" Type="http://schemas.openxmlformats.org/officeDocument/2006/relationships/oleObject" Target="../embeddings/oleObject7.bin"/><Relationship Id="rId3" Type="http://schemas.openxmlformats.org/officeDocument/2006/relationships/slideLayout" Target="../slideLayouts/slideLayout406.xml"/><Relationship Id="rId7" Type="http://schemas.openxmlformats.org/officeDocument/2006/relationships/slideLayout" Target="../slideLayouts/slideLayout410.xml"/><Relationship Id="rId12" Type="http://schemas.openxmlformats.org/officeDocument/2006/relationships/tags" Target="../tags/tag8.xml"/><Relationship Id="rId2" Type="http://schemas.openxmlformats.org/officeDocument/2006/relationships/slideLayout" Target="../slideLayouts/slideLayout405.xml"/><Relationship Id="rId1" Type="http://schemas.openxmlformats.org/officeDocument/2006/relationships/slideLayout" Target="../slideLayouts/slideLayout404.xml"/><Relationship Id="rId6" Type="http://schemas.openxmlformats.org/officeDocument/2006/relationships/slideLayout" Target="../slideLayouts/slideLayout409.xml"/><Relationship Id="rId11" Type="http://schemas.openxmlformats.org/officeDocument/2006/relationships/vmlDrawing" Target="../drawings/vmlDrawing7.vml"/><Relationship Id="rId5" Type="http://schemas.openxmlformats.org/officeDocument/2006/relationships/slideLayout" Target="../slideLayouts/slideLayout408.xml"/><Relationship Id="rId10" Type="http://schemas.openxmlformats.org/officeDocument/2006/relationships/theme" Target="../theme/theme45.xml"/><Relationship Id="rId4" Type="http://schemas.openxmlformats.org/officeDocument/2006/relationships/slideLayout" Target="../slideLayouts/slideLayout407.xml"/><Relationship Id="rId9" Type="http://schemas.openxmlformats.org/officeDocument/2006/relationships/slideLayout" Target="../slideLayouts/slideLayout412.xml"/><Relationship Id="rId14" Type="http://schemas.openxmlformats.org/officeDocument/2006/relationships/image" Target="../media/image17.emf"/></Relationships>
</file>

<file path=ppt/slideMasters/_rels/slideMaster4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0.xml"/><Relationship Id="rId13" Type="http://schemas.openxmlformats.org/officeDocument/2006/relationships/theme" Target="../theme/theme46.xml"/><Relationship Id="rId3" Type="http://schemas.openxmlformats.org/officeDocument/2006/relationships/slideLayout" Target="../slideLayouts/slideLayout415.xml"/><Relationship Id="rId7" Type="http://schemas.openxmlformats.org/officeDocument/2006/relationships/slideLayout" Target="../slideLayouts/slideLayout419.xml"/><Relationship Id="rId12" Type="http://schemas.openxmlformats.org/officeDocument/2006/relationships/slideLayout" Target="../slideLayouts/slideLayout424.xml"/><Relationship Id="rId17" Type="http://schemas.openxmlformats.org/officeDocument/2006/relationships/image" Target="../media/image10.emf"/><Relationship Id="rId2" Type="http://schemas.openxmlformats.org/officeDocument/2006/relationships/slideLayout" Target="../slideLayouts/slideLayout414.xml"/><Relationship Id="rId16" Type="http://schemas.openxmlformats.org/officeDocument/2006/relationships/oleObject" Target="../embeddings/oleObject11.bin"/><Relationship Id="rId1" Type="http://schemas.openxmlformats.org/officeDocument/2006/relationships/slideLayout" Target="../slideLayouts/slideLayout413.xml"/><Relationship Id="rId6" Type="http://schemas.openxmlformats.org/officeDocument/2006/relationships/slideLayout" Target="../slideLayouts/slideLayout418.xml"/><Relationship Id="rId11" Type="http://schemas.openxmlformats.org/officeDocument/2006/relationships/slideLayout" Target="../slideLayouts/slideLayout423.xml"/><Relationship Id="rId5" Type="http://schemas.openxmlformats.org/officeDocument/2006/relationships/slideLayout" Target="../slideLayouts/slideLayout417.xml"/><Relationship Id="rId15" Type="http://schemas.openxmlformats.org/officeDocument/2006/relationships/tags" Target="../tags/tag12.xml"/><Relationship Id="rId10" Type="http://schemas.openxmlformats.org/officeDocument/2006/relationships/slideLayout" Target="../slideLayouts/slideLayout422.xml"/><Relationship Id="rId4" Type="http://schemas.openxmlformats.org/officeDocument/2006/relationships/slideLayout" Target="../slideLayouts/slideLayout416.xml"/><Relationship Id="rId9" Type="http://schemas.openxmlformats.org/officeDocument/2006/relationships/slideLayout" Target="../slideLayouts/slideLayout421.xml"/><Relationship Id="rId14" Type="http://schemas.openxmlformats.org/officeDocument/2006/relationships/vmlDrawing" Target="../drawings/vmlDrawing10.vml"/></Relationships>
</file>

<file path=ppt/slideMasters/_rels/slideMaster4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2.xml"/><Relationship Id="rId13" Type="http://schemas.openxmlformats.org/officeDocument/2006/relationships/slideLayout" Target="../slideLayouts/slideLayout437.xml"/><Relationship Id="rId3" Type="http://schemas.openxmlformats.org/officeDocument/2006/relationships/slideLayout" Target="../slideLayouts/slideLayout427.xml"/><Relationship Id="rId7" Type="http://schemas.openxmlformats.org/officeDocument/2006/relationships/slideLayout" Target="../slideLayouts/slideLayout431.xml"/><Relationship Id="rId12" Type="http://schemas.openxmlformats.org/officeDocument/2006/relationships/slideLayout" Target="../slideLayouts/slideLayout436.xml"/><Relationship Id="rId2" Type="http://schemas.openxmlformats.org/officeDocument/2006/relationships/slideLayout" Target="../slideLayouts/slideLayout426.xml"/><Relationship Id="rId1" Type="http://schemas.openxmlformats.org/officeDocument/2006/relationships/slideLayout" Target="../slideLayouts/slideLayout425.xml"/><Relationship Id="rId6" Type="http://schemas.openxmlformats.org/officeDocument/2006/relationships/slideLayout" Target="../slideLayouts/slideLayout430.xml"/><Relationship Id="rId11" Type="http://schemas.openxmlformats.org/officeDocument/2006/relationships/slideLayout" Target="../slideLayouts/slideLayout435.xml"/><Relationship Id="rId5" Type="http://schemas.openxmlformats.org/officeDocument/2006/relationships/slideLayout" Target="../slideLayouts/slideLayout429.xml"/><Relationship Id="rId10" Type="http://schemas.openxmlformats.org/officeDocument/2006/relationships/slideLayout" Target="../slideLayouts/slideLayout434.xml"/><Relationship Id="rId4" Type="http://schemas.openxmlformats.org/officeDocument/2006/relationships/slideLayout" Target="../slideLayouts/slideLayout428.xml"/><Relationship Id="rId9" Type="http://schemas.openxmlformats.org/officeDocument/2006/relationships/slideLayout" Target="../slideLayouts/slideLayout433.xml"/><Relationship Id="rId14" Type="http://schemas.openxmlformats.org/officeDocument/2006/relationships/theme" Target="../theme/theme47.xml"/></Relationships>
</file>

<file path=ppt/slideMasters/_rels/slideMaster4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0.xml"/><Relationship Id="rId2" Type="http://schemas.openxmlformats.org/officeDocument/2006/relationships/slideLayout" Target="../slideLayouts/slideLayout439.xml"/><Relationship Id="rId1" Type="http://schemas.openxmlformats.org/officeDocument/2006/relationships/slideLayout" Target="../slideLayouts/slideLayout438.xml"/><Relationship Id="rId6" Type="http://schemas.openxmlformats.org/officeDocument/2006/relationships/theme" Target="../theme/theme48.xml"/><Relationship Id="rId5" Type="http://schemas.openxmlformats.org/officeDocument/2006/relationships/slideLayout" Target="../slideLayouts/slideLayout442.xml"/><Relationship Id="rId4" Type="http://schemas.openxmlformats.org/officeDocument/2006/relationships/slideLayout" Target="../slideLayouts/slideLayout441.xml"/></Relationships>
</file>

<file path=ppt/slideMasters/_rels/slideMaster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5.xml"/><Relationship Id="rId2" Type="http://schemas.openxmlformats.org/officeDocument/2006/relationships/slideLayout" Target="../slideLayouts/slideLayout444.xml"/><Relationship Id="rId1" Type="http://schemas.openxmlformats.org/officeDocument/2006/relationships/slideLayout" Target="../slideLayouts/slideLayout443.xml"/><Relationship Id="rId6" Type="http://schemas.openxmlformats.org/officeDocument/2006/relationships/theme" Target="../theme/theme49.xml"/><Relationship Id="rId5" Type="http://schemas.openxmlformats.org/officeDocument/2006/relationships/slideLayout" Target="../slideLayouts/slideLayout447.xml"/><Relationship Id="rId4" Type="http://schemas.openxmlformats.org/officeDocument/2006/relationships/slideLayout" Target="../slideLayouts/slideLayout446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5.xml"/></Relationships>
</file>

<file path=ppt/slideMasters/_rels/slideMaster5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5.xml"/><Relationship Id="rId3" Type="http://schemas.openxmlformats.org/officeDocument/2006/relationships/slideLayout" Target="../slideLayouts/slideLayout450.xml"/><Relationship Id="rId7" Type="http://schemas.openxmlformats.org/officeDocument/2006/relationships/slideLayout" Target="../slideLayouts/slideLayout454.xml"/><Relationship Id="rId2" Type="http://schemas.openxmlformats.org/officeDocument/2006/relationships/slideLayout" Target="../slideLayouts/slideLayout449.xml"/><Relationship Id="rId1" Type="http://schemas.openxmlformats.org/officeDocument/2006/relationships/slideLayout" Target="../slideLayouts/slideLayout448.xml"/><Relationship Id="rId6" Type="http://schemas.openxmlformats.org/officeDocument/2006/relationships/slideLayout" Target="../slideLayouts/slideLayout453.xml"/><Relationship Id="rId5" Type="http://schemas.openxmlformats.org/officeDocument/2006/relationships/slideLayout" Target="../slideLayouts/slideLayout452.xml"/><Relationship Id="rId10" Type="http://schemas.openxmlformats.org/officeDocument/2006/relationships/theme" Target="../theme/theme50.xml"/><Relationship Id="rId4" Type="http://schemas.openxmlformats.org/officeDocument/2006/relationships/slideLayout" Target="../slideLayouts/slideLayout451.xml"/><Relationship Id="rId9" Type="http://schemas.openxmlformats.org/officeDocument/2006/relationships/slideLayout" Target="../slideLayouts/slideLayout456.xml"/></Relationships>
</file>

<file path=ppt/slideMasters/_rels/slideMaster5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4.xml"/><Relationship Id="rId13" Type="http://schemas.openxmlformats.org/officeDocument/2006/relationships/slideLayout" Target="../slideLayouts/slideLayout469.xml"/><Relationship Id="rId3" Type="http://schemas.openxmlformats.org/officeDocument/2006/relationships/slideLayout" Target="../slideLayouts/slideLayout459.xml"/><Relationship Id="rId7" Type="http://schemas.openxmlformats.org/officeDocument/2006/relationships/slideLayout" Target="../slideLayouts/slideLayout463.xml"/><Relationship Id="rId12" Type="http://schemas.openxmlformats.org/officeDocument/2006/relationships/slideLayout" Target="../slideLayouts/slideLayout468.xml"/><Relationship Id="rId2" Type="http://schemas.openxmlformats.org/officeDocument/2006/relationships/slideLayout" Target="../slideLayouts/slideLayout458.xml"/><Relationship Id="rId1" Type="http://schemas.openxmlformats.org/officeDocument/2006/relationships/slideLayout" Target="../slideLayouts/slideLayout457.xml"/><Relationship Id="rId6" Type="http://schemas.openxmlformats.org/officeDocument/2006/relationships/slideLayout" Target="../slideLayouts/slideLayout462.xml"/><Relationship Id="rId11" Type="http://schemas.openxmlformats.org/officeDocument/2006/relationships/slideLayout" Target="../slideLayouts/slideLayout467.xml"/><Relationship Id="rId5" Type="http://schemas.openxmlformats.org/officeDocument/2006/relationships/slideLayout" Target="../slideLayouts/slideLayout461.xml"/><Relationship Id="rId15" Type="http://schemas.openxmlformats.org/officeDocument/2006/relationships/theme" Target="../theme/theme51.xml"/><Relationship Id="rId10" Type="http://schemas.openxmlformats.org/officeDocument/2006/relationships/slideLayout" Target="../slideLayouts/slideLayout466.xml"/><Relationship Id="rId4" Type="http://schemas.openxmlformats.org/officeDocument/2006/relationships/slideLayout" Target="../slideLayouts/slideLayout460.xml"/><Relationship Id="rId9" Type="http://schemas.openxmlformats.org/officeDocument/2006/relationships/slideLayout" Target="../slideLayouts/slideLayout465.xml"/><Relationship Id="rId14" Type="http://schemas.openxmlformats.org/officeDocument/2006/relationships/slideLayout" Target="../slideLayouts/slideLayout470.xml"/></Relationships>
</file>

<file path=ppt/slideMasters/_rels/slideMaster5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8.xml"/><Relationship Id="rId13" Type="http://schemas.openxmlformats.org/officeDocument/2006/relationships/slideLayout" Target="../slideLayouts/slideLayout483.xml"/><Relationship Id="rId3" Type="http://schemas.openxmlformats.org/officeDocument/2006/relationships/slideLayout" Target="../slideLayouts/slideLayout473.xml"/><Relationship Id="rId7" Type="http://schemas.openxmlformats.org/officeDocument/2006/relationships/slideLayout" Target="../slideLayouts/slideLayout477.xml"/><Relationship Id="rId12" Type="http://schemas.openxmlformats.org/officeDocument/2006/relationships/slideLayout" Target="../slideLayouts/slideLayout482.xml"/><Relationship Id="rId2" Type="http://schemas.openxmlformats.org/officeDocument/2006/relationships/slideLayout" Target="../slideLayouts/slideLayout472.xml"/><Relationship Id="rId1" Type="http://schemas.openxmlformats.org/officeDocument/2006/relationships/slideLayout" Target="../slideLayouts/slideLayout471.xml"/><Relationship Id="rId6" Type="http://schemas.openxmlformats.org/officeDocument/2006/relationships/slideLayout" Target="../slideLayouts/slideLayout476.xml"/><Relationship Id="rId11" Type="http://schemas.openxmlformats.org/officeDocument/2006/relationships/slideLayout" Target="../slideLayouts/slideLayout481.xml"/><Relationship Id="rId5" Type="http://schemas.openxmlformats.org/officeDocument/2006/relationships/slideLayout" Target="../slideLayouts/slideLayout475.xml"/><Relationship Id="rId15" Type="http://schemas.openxmlformats.org/officeDocument/2006/relationships/theme" Target="../theme/theme52.xml"/><Relationship Id="rId10" Type="http://schemas.openxmlformats.org/officeDocument/2006/relationships/slideLayout" Target="../slideLayouts/slideLayout480.xml"/><Relationship Id="rId4" Type="http://schemas.openxmlformats.org/officeDocument/2006/relationships/slideLayout" Target="../slideLayouts/slideLayout474.xml"/><Relationship Id="rId9" Type="http://schemas.openxmlformats.org/officeDocument/2006/relationships/slideLayout" Target="../slideLayouts/slideLayout479.xml"/><Relationship Id="rId14" Type="http://schemas.openxmlformats.org/officeDocument/2006/relationships/slideLayout" Target="../slideLayouts/slideLayout484.xml"/></Relationships>
</file>

<file path=ppt/slideMasters/_rels/slideMaster5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2.xml"/><Relationship Id="rId13" Type="http://schemas.openxmlformats.org/officeDocument/2006/relationships/slideLayout" Target="../slideLayouts/slideLayout497.xml"/><Relationship Id="rId3" Type="http://schemas.openxmlformats.org/officeDocument/2006/relationships/slideLayout" Target="../slideLayouts/slideLayout487.xml"/><Relationship Id="rId7" Type="http://schemas.openxmlformats.org/officeDocument/2006/relationships/slideLayout" Target="../slideLayouts/slideLayout491.xml"/><Relationship Id="rId12" Type="http://schemas.openxmlformats.org/officeDocument/2006/relationships/slideLayout" Target="../slideLayouts/slideLayout496.xml"/><Relationship Id="rId2" Type="http://schemas.openxmlformats.org/officeDocument/2006/relationships/slideLayout" Target="../slideLayouts/slideLayout486.xml"/><Relationship Id="rId1" Type="http://schemas.openxmlformats.org/officeDocument/2006/relationships/slideLayout" Target="../slideLayouts/slideLayout485.xml"/><Relationship Id="rId6" Type="http://schemas.openxmlformats.org/officeDocument/2006/relationships/slideLayout" Target="../slideLayouts/slideLayout490.xml"/><Relationship Id="rId11" Type="http://schemas.openxmlformats.org/officeDocument/2006/relationships/slideLayout" Target="../slideLayouts/slideLayout495.xml"/><Relationship Id="rId5" Type="http://schemas.openxmlformats.org/officeDocument/2006/relationships/slideLayout" Target="../slideLayouts/slideLayout489.xml"/><Relationship Id="rId15" Type="http://schemas.openxmlformats.org/officeDocument/2006/relationships/theme" Target="../theme/theme53.xml"/><Relationship Id="rId10" Type="http://schemas.openxmlformats.org/officeDocument/2006/relationships/slideLayout" Target="../slideLayouts/slideLayout494.xml"/><Relationship Id="rId4" Type="http://schemas.openxmlformats.org/officeDocument/2006/relationships/slideLayout" Target="../slideLayouts/slideLayout488.xml"/><Relationship Id="rId9" Type="http://schemas.openxmlformats.org/officeDocument/2006/relationships/slideLayout" Target="../slideLayouts/slideLayout493.xml"/><Relationship Id="rId14" Type="http://schemas.openxmlformats.org/officeDocument/2006/relationships/slideLayout" Target="../slideLayouts/slideLayout498.xml"/></Relationships>
</file>

<file path=ppt/slideMasters/_rels/slideMaster5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6.xml"/><Relationship Id="rId13" Type="http://schemas.openxmlformats.org/officeDocument/2006/relationships/slideLayout" Target="../slideLayouts/slideLayout511.xml"/><Relationship Id="rId3" Type="http://schemas.openxmlformats.org/officeDocument/2006/relationships/slideLayout" Target="../slideLayouts/slideLayout501.xml"/><Relationship Id="rId7" Type="http://schemas.openxmlformats.org/officeDocument/2006/relationships/slideLayout" Target="../slideLayouts/slideLayout505.xml"/><Relationship Id="rId12" Type="http://schemas.openxmlformats.org/officeDocument/2006/relationships/slideLayout" Target="../slideLayouts/slideLayout510.xml"/><Relationship Id="rId2" Type="http://schemas.openxmlformats.org/officeDocument/2006/relationships/slideLayout" Target="../slideLayouts/slideLayout500.xml"/><Relationship Id="rId1" Type="http://schemas.openxmlformats.org/officeDocument/2006/relationships/slideLayout" Target="../slideLayouts/slideLayout499.xml"/><Relationship Id="rId6" Type="http://schemas.openxmlformats.org/officeDocument/2006/relationships/slideLayout" Target="../slideLayouts/slideLayout504.xml"/><Relationship Id="rId11" Type="http://schemas.openxmlformats.org/officeDocument/2006/relationships/slideLayout" Target="../slideLayouts/slideLayout509.xml"/><Relationship Id="rId5" Type="http://schemas.openxmlformats.org/officeDocument/2006/relationships/slideLayout" Target="../slideLayouts/slideLayout503.xml"/><Relationship Id="rId15" Type="http://schemas.openxmlformats.org/officeDocument/2006/relationships/theme" Target="../theme/theme54.xml"/><Relationship Id="rId10" Type="http://schemas.openxmlformats.org/officeDocument/2006/relationships/slideLayout" Target="../slideLayouts/slideLayout508.xml"/><Relationship Id="rId4" Type="http://schemas.openxmlformats.org/officeDocument/2006/relationships/slideLayout" Target="../slideLayouts/slideLayout502.xml"/><Relationship Id="rId9" Type="http://schemas.openxmlformats.org/officeDocument/2006/relationships/slideLayout" Target="../slideLayouts/slideLayout507.xml"/><Relationship Id="rId14" Type="http://schemas.openxmlformats.org/officeDocument/2006/relationships/slideLayout" Target="../slideLayouts/slideLayout512.xml"/></Relationships>
</file>

<file path=ppt/slideMasters/_rels/slideMaster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5.xml"/><Relationship Id="rId2" Type="http://schemas.openxmlformats.org/officeDocument/2006/relationships/slideLayout" Target="../slideLayouts/slideLayout514.xml"/><Relationship Id="rId1" Type="http://schemas.openxmlformats.org/officeDocument/2006/relationships/slideLayout" Target="../slideLayouts/slideLayout513.xml"/><Relationship Id="rId6" Type="http://schemas.openxmlformats.org/officeDocument/2006/relationships/theme" Target="../theme/theme55.xml"/><Relationship Id="rId5" Type="http://schemas.openxmlformats.org/officeDocument/2006/relationships/slideLayout" Target="../slideLayouts/slideLayout517.xml"/><Relationship Id="rId4" Type="http://schemas.openxmlformats.org/officeDocument/2006/relationships/slideLayout" Target="../slideLayouts/slideLayout516.xml"/></Relationships>
</file>

<file path=ppt/slideMasters/_rels/slideMaster5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5.xml"/><Relationship Id="rId13" Type="http://schemas.openxmlformats.org/officeDocument/2006/relationships/oleObject" Target="../embeddings/oleObject13.bin"/><Relationship Id="rId3" Type="http://schemas.openxmlformats.org/officeDocument/2006/relationships/slideLayout" Target="../slideLayouts/slideLayout520.xml"/><Relationship Id="rId7" Type="http://schemas.openxmlformats.org/officeDocument/2006/relationships/slideLayout" Target="../slideLayouts/slideLayout524.xml"/><Relationship Id="rId12" Type="http://schemas.openxmlformats.org/officeDocument/2006/relationships/tags" Target="../tags/tag14.xml"/><Relationship Id="rId2" Type="http://schemas.openxmlformats.org/officeDocument/2006/relationships/slideLayout" Target="../slideLayouts/slideLayout519.xml"/><Relationship Id="rId1" Type="http://schemas.openxmlformats.org/officeDocument/2006/relationships/slideLayout" Target="../slideLayouts/slideLayout518.xml"/><Relationship Id="rId6" Type="http://schemas.openxmlformats.org/officeDocument/2006/relationships/slideLayout" Target="../slideLayouts/slideLayout523.xml"/><Relationship Id="rId11" Type="http://schemas.openxmlformats.org/officeDocument/2006/relationships/vmlDrawing" Target="../drawings/vmlDrawing12.vml"/><Relationship Id="rId5" Type="http://schemas.openxmlformats.org/officeDocument/2006/relationships/slideLayout" Target="../slideLayouts/slideLayout522.xml"/><Relationship Id="rId10" Type="http://schemas.openxmlformats.org/officeDocument/2006/relationships/theme" Target="../theme/theme56.xml"/><Relationship Id="rId4" Type="http://schemas.openxmlformats.org/officeDocument/2006/relationships/slideLayout" Target="../slideLayouts/slideLayout521.xml"/><Relationship Id="rId9" Type="http://schemas.openxmlformats.org/officeDocument/2006/relationships/slideLayout" Target="../slideLayouts/slideLayout526.xml"/><Relationship Id="rId14" Type="http://schemas.openxmlformats.org/officeDocument/2006/relationships/image" Target="../media/image17.emf"/></Relationships>
</file>

<file path=ppt/slideMasters/_rels/slideMaster5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4.xml"/><Relationship Id="rId3" Type="http://schemas.openxmlformats.org/officeDocument/2006/relationships/slideLayout" Target="../slideLayouts/slideLayout529.xml"/><Relationship Id="rId7" Type="http://schemas.openxmlformats.org/officeDocument/2006/relationships/slideLayout" Target="../slideLayouts/slideLayout533.xml"/><Relationship Id="rId2" Type="http://schemas.openxmlformats.org/officeDocument/2006/relationships/slideLayout" Target="../slideLayouts/slideLayout528.xml"/><Relationship Id="rId1" Type="http://schemas.openxmlformats.org/officeDocument/2006/relationships/slideLayout" Target="../slideLayouts/slideLayout527.xml"/><Relationship Id="rId6" Type="http://schemas.openxmlformats.org/officeDocument/2006/relationships/slideLayout" Target="../slideLayouts/slideLayout532.xml"/><Relationship Id="rId5" Type="http://schemas.openxmlformats.org/officeDocument/2006/relationships/slideLayout" Target="../slideLayouts/slideLayout531.xml"/><Relationship Id="rId4" Type="http://schemas.openxmlformats.org/officeDocument/2006/relationships/slideLayout" Target="../slideLayouts/slideLayout530.xml"/><Relationship Id="rId9" Type="http://schemas.openxmlformats.org/officeDocument/2006/relationships/theme" Target="../theme/theme57.xml"/></Relationships>
</file>

<file path=ppt/slideMasters/_rels/slideMaster5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37.xml"/><Relationship Id="rId2" Type="http://schemas.openxmlformats.org/officeDocument/2006/relationships/slideLayout" Target="../slideLayouts/slideLayout536.xml"/><Relationship Id="rId1" Type="http://schemas.openxmlformats.org/officeDocument/2006/relationships/slideLayout" Target="../slideLayouts/slideLayout535.xml"/><Relationship Id="rId6" Type="http://schemas.openxmlformats.org/officeDocument/2006/relationships/theme" Target="../theme/theme58.xml"/><Relationship Id="rId5" Type="http://schemas.openxmlformats.org/officeDocument/2006/relationships/slideLayout" Target="../slideLayouts/slideLayout539.xml"/><Relationship Id="rId4" Type="http://schemas.openxmlformats.org/officeDocument/2006/relationships/slideLayout" Target="../slideLayouts/slideLayout538.xml"/></Relationships>
</file>

<file path=ppt/slideMasters/_rels/slideMaster5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7.xml"/><Relationship Id="rId3" Type="http://schemas.openxmlformats.org/officeDocument/2006/relationships/slideLayout" Target="../slideLayouts/slideLayout542.xml"/><Relationship Id="rId7" Type="http://schemas.openxmlformats.org/officeDocument/2006/relationships/slideLayout" Target="../slideLayouts/slideLayout546.xml"/><Relationship Id="rId2" Type="http://schemas.openxmlformats.org/officeDocument/2006/relationships/slideLayout" Target="../slideLayouts/slideLayout541.xml"/><Relationship Id="rId1" Type="http://schemas.openxmlformats.org/officeDocument/2006/relationships/slideLayout" Target="../slideLayouts/slideLayout540.xml"/><Relationship Id="rId6" Type="http://schemas.openxmlformats.org/officeDocument/2006/relationships/slideLayout" Target="../slideLayouts/slideLayout545.xml"/><Relationship Id="rId5" Type="http://schemas.openxmlformats.org/officeDocument/2006/relationships/slideLayout" Target="../slideLayouts/slideLayout544.xml"/><Relationship Id="rId4" Type="http://schemas.openxmlformats.org/officeDocument/2006/relationships/slideLayout" Target="../slideLayouts/slideLayout543.xml"/><Relationship Id="rId9" Type="http://schemas.openxmlformats.org/officeDocument/2006/relationships/theme" Target="../theme/theme5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slideLayout" Target="../slideLayouts/slideLayout62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2" Type="http://schemas.openxmlformats.org/officeDocument/2006/relationships/slideLayout" Target="../slideLayouts/slideLayout51.xml"/><Relationship Id="rId16" Type="http://schemas.openxmlformats.org/officeDocument/2006/relationships/theme" Target="../theme/theme7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5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74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17" Type="http://schemas.openxmlformats.org/officeDocument/2006/relationships/image" Target="../media/image10.emf"/><Relationship Id="rId2" Type="http://schemas.openxmlformats.org/officeDocument/2006/relationships/slideLayout" Target="../slideLayouts/slideLayout79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1988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253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3E7B6EDB-92A7-43E7-B818-AF301DE25AED}" type="slidenum">
              <a:rPr lang="en-GB" sz="800">
                <a:solidFill>
                  <a:schemeClr val="tx1"/>
                </a:solidFill>
                <a:latin typeface="Helvetica 75 Bold" panose="020B0804020202020204" pitchFamily="34" charset="0"/>
              </a:rPr>
              <a:pPr defTabSz="914253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chemeClr val="tx1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55638" y="4467225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253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91038" r:id="rId1"/>
    <p:sldLayoutId id="2147491039" r:id="rId2"/>
    <p:sldLayoutId id="2147491040" r:id="rId3"/>
    <p:sldLayoutId id="2147491041" r:id="rId4"/>
    <p:sldLayoutId id="2147491042" r:id="rId5"/>
    <p:sldLayoutId id="2147491043" r:id="rId6"/>
    <p:sldLayoutId id="2147491044" r:id="rId7"/>
    <p:sldLayoutId id="2147491045" r:id="rId8"/>
    <p:sldLayoutId id="2147491046" r:id="rId9"/>
    <p:sldLayoutId id="2147491047" r:id="rId10"/>
    <p:sldLayoutId id="2147491393" r:id="rId11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2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j-cs"/>
        </a:defRPr>
      </a:lvl1pPr>
      <a:lvl2pPr algn="l" defTabSz="512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2pPr>
      <a:lvl3pPr algn="l" defTabSz="512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3pPr>
      <a:lvl4pPr algn="l" defTabSz="512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4pPr>
      <a:lvl5pPr algn="l" defTabSz="512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5pPr>
      <a:lvl6pPr marL="457127" algn="l" defTabSz="514269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253" algn="l" defTabSz="514269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380" algn="l" defTabSz="514269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508" algn="l" defTabSz="514269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2763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n-cs"/>
        </a:defRPr>
      </a:lvl1pPr>
      <a:lvl2pPr algn="l" defTabSz="512763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2pPr>
      <a:lvl3pPr marL="131763" indent="-131763" algn="l" defTabSz="512763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3pPr>
      <a:lvl4pPr marL="269875" indent="-133350" algn="l" defTabSz="512763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4pPr>
      <a:lvl5pPr marL="404813" indent="-133350" algn="l" defTabSz="512763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5pPr>
      <a:lvl6pPr marL="1414237" indent="-128568" algn="l" defTabSz="514269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671370" indent="-128568" algn="l" defTabSz="514269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8505" indent="-128568" algn="l" defTabSz="514269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185638" indent="-128568" algn="l" defTabSz="514269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26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257135" algn="l" defTabSz="51426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14269" algn="l" defTabSz="51426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71401" algn="l" defTabSz="51426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536" algn="l" defTabSz="51426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285670" algn="l" defTabSz="51426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542803" algn="l" defTabSz="51426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799937" algn="l" defTabSz="51426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072" algn="l" defTabSz="51426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250825" y="1060450"/>
            <a:ext cx="8683625" cy="3671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  <a:p>
            <a:pPr lvl="3"/>
            <a:r>
              <a:rPr lang="fr-FR" altLang="fr-FR" smtClean="0"/>
              <a:t>Quatrième niveau</a:t>
            </a:r>
          </a:p>
          <a:p>
            <a:pPr lvl="4"/>
            <a:r>
              <a:rPr lang="fr-FR" altLang="fr-FR" smtClean="0"/>
              <a:t>Cinquième niveau</a:t>
            </a:r>
          </a:p>
        </p:txBody>
      </p:sp>
      <p:sp>
        <p:nvSpPr>
          <p:cNvPr id="10243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50825" y="228600"/>
            <a:ext cx="8683625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 style du titre</a:t>
            </a: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91450" r:id="rId1"/>
    <p:sldLayoutId id="2147491451" r:id="rId2"/>
    <p:sldLayoutId id="2147491452" r:id="rId3"/>
    <p:sldLayoutId id="2147491453" r:id="rId4"/>
    <p:sldLayoutId id="2147491454" r:id="rId5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anose="020B0804020202020204" pitchFamily="34" charset="0"/>
          <a:ea typeface="+mj-ea"/>
          <a:cs typeface="+mj-cs"/>
        </a:defRPr>
      </a:lvl1pPr>
      <a:lvl2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2pPr>
      <a:lvl3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3pPr>
      <a:lvl4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4pPr>
      <a:lvl5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5pPr>
      <a:lvl6pPr marL="457163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6pPr>
      <a:lvl7pPr marL="914327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7pPr>
      <a:lvl8pPr marL="1371490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8pPr>
      <a:lvl9pPr marL="1828654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9pPr>
    </p:titleStyle>
    <p:bodyStyle>
      <a:lvl1pPr marL="192088" indent="-192088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§"/>
        <a:defRPr sz="1400">
          <a:solidFill>
            <a:schemeClr val="bg1"/>
          </a:solidFill>
          <a:latin typeface="Helvetica 55 Roman" panose="020B0604020202020204" pitchFamily="2" charset="0"/>
          <a:ea typeface="+mn-ea"/>
          <a:cs typeface="+mn-cs"/>
        </a:defRPr>
      </a:lvl1pPr>
      <a:lvl2pPr marL="766763" indent="-28416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har char="–"/>
        <a:defRPr sz="1400">
          <a:solidFill>
            <a:schemeClr val="bg1"/>
          </a:solidFill>
          <a:latin typeface="Helvetica 55 Roman" panose="020B0604020202020204" pitchFamily="2" charset="0"/>
        </a:defRPr>
      </a:lvl2pPr>
      <a:lvl3pPr marL="1185863" indent="-22701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lr>
          <a:schemeClr val="tx2"/>
        </a:buClr>
        <a:buSzPct val="80000"/>
        <a:buFont typeface="Wingdings" pitchFamily="2" charset="2"/>
        <a:buChar char="§"/>
        <a:defRPr sz="1400">
          <a:solidFill>
            <a:schemeClr val="bg1"/>
          </a:solidFill>
          <a:latin typeface="Helvetica 55 Roman" panose="020B0604020202020204" pitchFamily="2" charset="0"/>
        </a:defRPr>
      </a:lvl3pPr>
      <a:lvl4pPr marL="1604963" indent="-22701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har char="–"/>
        <a:defRPr sz="1400">
          <a:solidFill>
            <a:schemeClr val="bg1"/>
          </a:solidFill>
          <a:latin typeface="Helvetica 55 Roman" panose="020B0604020202020204" pitchFamily="2" charset="0"/>
        </a:defRPr>
      </a:lvl4pPr>
      <a:lvl5pPr marL="2055813" indent="-22701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har char="–"/>
        <a:defRPr sz="1400">
          <a:solidFill>
            <a:schemeClr val="bg1"/>
          </a:solidFill>
          <a:latin typeface="Helvetica 55 Roman" panose="020B0604020202020204" pitchFamily="2" charset="0"/>
        </a:defRPr>
      </a:lvl5pPr>
      <a:lvl6pPr marL="2514399" indent="-228582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6pPr>
      <a:lvl7pPr marL="2971562" indent="-228582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7pPr>
      <a:lvl8pPr marL="3428726" indent="-228582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8pPr>
      <a:lvl9pPr marL="3885890" indent="-228582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3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7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0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8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80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4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8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250825" y="1060450"/>
            <a:ext cx="8683625" cy="3671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  <a:p>
            <a:pPr lvl="3"/>
            <a:r>
              <a:rPr lang="fr-FR" altLang="fr-FR" smtClean="0"/>
              <a:t>Quatrième niveau</a:t>
            </a:r>
          </a:p>
          <a:p>
            <a:pPr lvl="4"/>
            <a:r>
              <a:rPr lang="fr-FR" altLang="fr-FR" smtClean="0"/>
              <a:t>Cinquième niveau</a:t>
            </a:r>
          </a:p>
        </p:txBody>
      </p:sp>
      <p:sp>
        <p:nvSpPr>
          <p:cNvPr id="11267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50825" y="228600"/>
            <a:ext cx="8683625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 style du titre</a:t>
            </a: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91455" r:id="rId1"/>
    <p:sldLayoutId id="2147491456" r:id="rId2"/>
    <p:sldLayoutId id="2147491457" r:id="rId3"/>
    <p:sldLayoutId id="2147491458" r:id="rId4"/>
    <p:sldLayoutId id="2147491459" r:id="rId5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anose="020B0804020202020204" pitchFamily="34" charset="0"/>
          <a:ea typeface="+mj-ea"/>
          <a:cs typeface="+mj-cs"/>
        </a:defRPr>
      </a:lvl1pPr>
      <a:lvl2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2pPr>
      <a:lvl3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3pPr>
      <a:lvl4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4pPr>
      <a:lvl5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5pPr>
      <a:lvl6pPr marL="457163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6pPr>
      <a:lvl7pPr marL="914327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7pPr>
      <a:lvl8pPr marL="1371490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8pPr>
      <a:lvl9pPr marL="1828654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9pPr>
    </p:titleStyle>
    <p:bodyStyle>
      <a:lvl1pPr marL="192088" indent="-192088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§"/>
        <a:defRPr sz="1400">
          <a:solidFill>
            <a:schemeClr val="bg1"/>
          </a:solidFill>
          <a:latin typeface="Helvetica 55 Roman" panose="020B0604020202020204" pitchFamily="2" charset="0"/>
          <a:ea typeface="+mn-ea"/>
          <a:cs typeface="+mn-cs"/>
        </a:defRPr>
      </a:lvl1pPr>
      <a:lvl2pPr marL="766763" indent="-28416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har char="–"/>
        <a:defRPr sz="1400">
          <a:solidFill>
            <a:schemeClr val="bg1"/>
          </a:solidFill>
          <a:latin typeface="Helvetica 55 Roman" panose="020B0604020202020204" pitchFamily="2" charset="0"/>
        </a:defRPr>
      </a:lvl2pPr>
      <a:lvl3pPr marL="1185863" indent="-22701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lr>
          <a:schemeClr val="tx2"/>
        </a:buClr>
        <a:buSzPct val="80000"/>
        <a:buFont typeface="Wingdings" pitchFamily="2" charset="2"/>
        <a:buChar char="§"/>
        <a:defRPr sz="1400">
          <a:solidFill>
            <a:schemeClr val="bg1"/>
          </a:solidFill>
          <a:latin typeface="Helvetica 55 Roman" panose="020B0604020202020204" pitchFamily="2" charset="0"/>
        </a:defRPr>
      </a:lvl3pPr>
      <a:lvl4pPr marL="1604963" indent="-22701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har char="–"/>
        <a:defRPr sz="1400">
          <a:solidFill>
            <a:schemeClr val="bg1"/>
          </a:solidFill>
          <a:latin typeface="Helvetica 55 Roman" panose="020B0604020202020204" pitchFamily="2" charset="0"/>
        </a:defRPr>
      </a:lvl4pPr>
      <a:lvl5pPr marL="2055813" indent="-22701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har char="–"/>
        <a:defRPr sz="1400">
          <a:solidFill>
            <a:schemeClr val="bg1"/>
          </a:solidFill>
          <a:latin typeface="Helvetica 55 Roman" panose="020B0604020202020204" pitchFamily="2" charset="0"/>
        </a:defRPr>
      </a:lvl5pPr>
      <a:lvl6pPr marL="2514399" indent="-228582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6pPr>
      <a:lvl7pPr marL="2971562" indent="-228582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7pPr>
      <a:lvl8pPr marL="3428726" indent="-228582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8pPr>
      <a:lvl9pPr marL="3885890" indent="-228582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3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7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0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8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80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4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8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250825" y="1060450"/>
            <a:ext cx="8683625" cy="3671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  <a:p>
            <a:pPr lvl="3"/>
            <a:r>
              <a:rPr lang="fr-FR" altLang="fr-FR" smtClean="0"/>
              <a:t>Quatrième niveau</a:t>
            </a:r>
          </a:p>
          <a:p>
            <a:pPr lvl="4"/>
            <a:r>
              <a:rPr lang="fr-FR" altLang="fr-FR" smtClean="0"/>
              <a:t>Cinquième niveau</a:t>
            </a:r>
          </a:p>
        </p:txBody>
      </p:sp>
      <p:sp>
        <p:nvSpPr>
          <p:cNvPr id="12291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50825" y="228600"/>
            <a:ext cx="8683625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 style du titre</a:t>
            </a: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91461" r:id="rId1"/>
    <p:sldLayoutId id="2147491462" r:id="rId2"/>
    <p:sldLayoutId id="2147491463" r:id="rId3"/>
    <p:sldLayoutId id="2147491464" r:id="rId4"/>
    <p:sldLayoutId id="2147491465" r:id="rId5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anose="020B0804020202020204" pitchFamily="34" charset="0"/>
          <a:ea typeface="+mj-ea"/>
          <a:cs typeface="+mj-cs"/>
        </a:defRPr>
      </a:lvl1pPr>
      <a:lvl2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2pPr>
      <a:lvl3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3pPr>
      <a:lvl4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4pPr>
      <a:lvl5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5pPr>
      <a:lvl6pPr marL="457163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6pPr>
      <a:lvl7pPr marL="914327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7pPr>
      <a:lvl8pPr marL="1371490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8pPr>
      <a:lvl9pPr marL="1828654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9pPr>
    </p:titleStyle>
    <p:bodyStyle>
      <a:lvl1pPr marL="192088" indent="-192088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§"/>
        <a:defRPr sz="1400">
          <a:solidFill>
            <a:schemeClr val="bg1"/>
          </a:solidFill>
          <a:latin typeface="Helvetica 55 Roman" panose="020B0604020202020204" pitchFamily="2" charset="0"/>
          <a:ea typeface="+mn-ea"/>
          <a:cs typeface="+mn-cs"/>
        </a:defRPr>
      </a:lvl1pPr>
      <a:lvl2pPr marL="766763" indent="-28416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har char="–"/>
        <a:defRPr sz="1400">
          <a:solidFill>
            <a:schemeClr val="bg1"/>
          </a:solidFill>
          <a:latin typeface="Helvetica 55 Roman" panose="020B0604020202020204" pitchFamily="2" charset="0"/>
        </a:defRPr>
      </a:lvl2pPr>
      <a:lvl3pPr marL="1185863" indent="-22701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lr>
          <a:schemeClr val="tx2"/>
        </a:buClr>
        <a:buSzPct val="80000"/>
        <a:buFont typeface="Wingdings" pitchFamily="2" charset="2"/>
        <a:buChar char="§"/>
        <a:defRPr sz="1400">
          <a:solidFill>
            <a:schemeClr val="bg1"/>
          </a:solidFill>
          <a:latin typeface="Helvetica 55 Roman" panose="020B0604020202020204" pitchFamily="2" charset="0"/>
        </a:defRPr>
      </a:lvl3pPr>
      <a:lvl4pPr marL="1604963" indent="-22701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har char="–"/>
        <a:defRPr sz="1400">
          <a:solidFill>
            <a:schemeClr val="bg1"/>
          </a:solidFill>
          <a:latin typeface="Helvetica 55 Roman" panose="020B0604020202020204" pitchFamily="2" charset="0"/>
        </a:defRPr>
      </a:lvl4pPr>
      <a:lvl5pPr marL="2055813" indent="-22701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har char="–"/>
        <a:defRPr sz="1400">
          <a:solidFill>
            <a:schemeClr val="bg1"/>
          </a:solidFill>
          <a:latin typeface="Helvetica 55 Roman" panose="020B0604020202020204" pitchFamily="2" charset="0"/>
        </a:defRPr>
      </a:lvl5pPr>
      <a:lvl6pPr marL="2514399" indent="-228582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6pPr>
      <a:lvl7pPr marL="2971562" indent="-228582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7pPr>
      <a:lvl8pPr marL="3428726" indent="-228582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8pPr>
      <a:lvl9pPr marL="3885890" indent="-228582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3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7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0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8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80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4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8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250825" y="1060450"/>
            <a:ext cx="8683625" cy="3671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  <a:p>
            <a:pPr lvl="3"/>
            <a:r>
              <a:rPr lang="fr-FR" altLang="fr-FR" smtClean="0"/>
              <a:t>Quatrième niveau</a:t>
            </a:r>
          </a:p>
          <a:p>
            <a:pPr lvl="4"/>
            <a:r>
              <a:rPr lang="fr-FR" altLang="fr-FR" smtClean="0"/>
              <a:t>Cinquième niveau</a:t>
            </a:r>
          </a:p>
        </p:txBody>
      </p:sp>
      <p:sp>
        <p:nvSpPr>
          <p:cNvPr id="13315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50825" y="228600"/>
            <a:ext cx="8683625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 style du titre</a:t>
            </a: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91466" r:id="rId1"/>
    <p:sldLayoutId id="2147491467" r:id="rId2"/>
    <p:sldLayoutId id="2147491468" r:id="rId3"/>
    <p:sldLayoutId id="2147491469" r:id="rId4"/>
    <p:sldLayoutId id="2147491470" r:id="rId5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anose="020B0804020202020204" pitchFamily="34" charset="0"/>
          <a:ea typeface="+mj-ea"/>
          <a:cs typeface="+mj-cs"/>
        </a:defRPr>
      </a:lvl1pPr>
      <a:lvl2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2pPr>
      <a:lvl3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3pPr>
      <a:lvl4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4pPr>
      <a:lvl5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5pPr>
      <a:lvl6pPr marL="457163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6pPr>
      <a:lvl7pPr marL="914327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7pPr>
      <a:lvl8pPr marL="1371490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8pPr>
      <a:lvl9pPr marL="1828654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9pPr>
    </p:titleStyle>
    <p:bodyStyle>
      <a:lvl1pPr marL="192088" indent="-192088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§"/>
        <a:defRPr sz="1400">
          <a:solidFill>
            <a:schemeClr val="bg1"/>
          </a:solidFill>
          <a:latin typeface="Helvetica 55 Roman" panose="020B0604020202020204" pitchFamily="2" charset="0"/>
          <a:ea typeface="+mn-ea"/>
          <a:cs typeface="+mn-cs"/>
        </a:defRPr>
      </a:lvl1pPr>
      <a:lvl2pPr marL="766763" indent="-28416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har char="–"/>
        <a:defRPr sz="1400">
          <a:solidFill>
            <a:schemeClr val="bg1"/>
          </a:solidFill>
          <a:latin typeface="Helvetica 55 Roman" panose="020B0604020202020204" pitchFamily="2" charset="0"/>
        </a:defRPr>
      </a:lvl2pPr>
      <a:lvl3pPr marL="1185863" indent="-22701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lr>
          <a:schemeClr val="tx2"/>
        </a:buClr>
        <a:buSzPct val="80000"/>
        <a:buFont typeface="Wingdings" pitchFamily="2" charset="2"/>
        <a:buChar char="§"/>
        <a:defRPr sz="1400">
          <a:solidFill>
            <a:schemeClr val="bg1"/>
          </a:solidFill>
          <a:latin typeface="Helvetica 55 Roman" panose="020B0604020202020204" pitchFamily="2" charset="0"/>
        </a:defRPr>
      </a:lvl3pPr>
      <a:lvl4pPr marL="1604963" indent="-22701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har char="–"/>
        <a:defRPr sz="1400">
          <a:solidFill>
            <a:schemeClr val="bg1"/>
          </a:solidFill>
          <a:latin typeface="Helvetica 55 Roman" panose="020B0604020202020204" pitchFamily="2" charset="0"/>
        </a:defRPr>
      </a:lvl4pPr>
      <a:lvl5pPr marL="2055813" indent="-22701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har char="–"/>
        <a:defRPr sz="1400">
          <a:solidFill>
            <a:schemeClr val="bg1"/>
          </a:solidFill>
          <a:latin typeface="Helvetica 55 Roman" panose="020B0604020202020204" pitchFamily="2" charset="0"/>
        </a:defRPr>
      </a:lvl5pPr>
      <a:lvl6pPr marL="2514399" indent="-228582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6pPr>
      <a:lvl7pPr marL="2971562" indent="-228582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7pPr>
      <a:lvl8pPr marL="3428726" indent="-228582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8pPr>
      <a:lvl9pPr marL="3885890" indent="-228582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3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7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0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8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80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4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8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style du titre</a:t>
            </a:r>
            <a:endParaRPr lang="en-GB" altLang="en-US" smtClean="0"/>
          </a:p>
        </p:txBody>
      </p:sp>
      <p:sp>
        <p:nvSpPr>
          <p:cNvPr id="1536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s styles du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1988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97780B45-497E-4742-A3B9-092EE129BE2C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55638" y="4467225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Orange Restricted</a:t>
            </a:r>
            <a:endParaRPr lang="en-US" sz="800">
              <a:solidFill>
                <a:srgbClr val="000000">
                  <a:lumMod val="50000"/>
                </a:srgbClr>
              </a:solidFill>
            </a:endParaRP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91478" r:id="rId1"/>
    <p:sldLayoutId id="2147491085" r:id="rId2"/>
    <p:sldLayoutId id="2147491086" r:id="rId3"/>
    <p:sldLayoutId id="2147491087" r:id="rId4"/>
    <p:sldLayoutId id="2147491088" r:id="rId5"/>
    <p:sldLayoutId id="2147491089" r:id="rId6"/>
    <p:sldLayoutId id="2147491090" r:id="rId7"/>
    <p:sldLayoutId id="2147491091" r:id="rId8"/>
    <p:sldLayoutId id="2147491092" r:id="rId9"/>
    <p:sldLayoutId id="2147491479" r:id="rId10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style du titre</a:t>
            </a:r>
            <a:endParaRPr lang="en-GB" altLang="en-US" smtClean="0"/>
          </a:p>
        </p:txBody>
      </p:sp>
      <p:sp>
        <p:nvSpPr>
          <p:cNvPr id="1638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s styles du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1988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14CAD1AA-0C51-497A-88CD-7DC374DBBEF9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55638" y="4467225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Orange Restricted</a:t>
            </a:r>
            <a:endParaRPr lang="en-US" sz="800">
              <a:solidFill>
                <a:srgbClr val="000000">
                  <a:lumMod val="50000"/>
                </a:srgbClr>
              </a:solidFill>
            </a:endParaRP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91480" r:id="rId1"/>
    <p:sldLayoutId id="2147491093" r:id="rId2"/>
    <p:sldLayoutId id="2147491094" r:id="rId3"/>
    <p:sldLayoutId id="2147491095" r:id="rId4"/>
    <p:sldLayoutId id="2147491096" r:id="rId5"/>
    <p:sldLayoutId id="2147491097" r:id="rId6"/>
    <p:sldLayoutId id="2147491098" r:id="rId7"/>
    <p:sldLayoutId id="2147491099" r:id="rId8"/>
    <p:sldLayoutId id="2147491100" r:id="rId9"/>
    <p:sldLayoutId id="2147491481" r:id="rId10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style du titre</a:t>
            </a:r>
            <a:endParaRPr lang="en-GB" altLang="en-US" smtClean="0"/>
          </a:p>
        </p:txBody>
      </p:sp>
      <p:sp>
        <p:nvSpPr>
          <p:cNvPr id="1741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s styles du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1988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3680499A-B7B9-46E9-815B-CC0DA553E1AF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55638" y="4467225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Orange Restricted</a:t>
            </a:r>
            <a:endParaRPr lang="en-US" sz="800">
              <a:solidFill>
                <a:srgbClr val="000000">
                  <a:lumMod val="50000"/>
                </a:srgbClr>
              </a:solidFill>
            </a:endParaRP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91101" r:id="rId1"/>
    <p:sldLayoutId id="2147491102" r:id="rId2"/>
    <p:sldLayoutId id="2147491103" r:id="rId3"/>
    <p:sldLayoutId id="2147491104" r:id="rId4"/>
    <p:sldLayoutId id="2147491105" r:id="rId5"/>
    <p:sldLayoutId id="2147491106" r:id="rId6"/>
    <p:sldLayoutId id="2147491107" r:id="rId7"/>
    <p:sldLayoutId id="2147491108" r:id="rId8"/>
    <p:sldLayoutId id="2147491109" r:id="rId9"/>
    <p:sldLayoutId id="2147491110" r:id="rId10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style du titre</a:t>
            </a:r>
            <a:endParaRPr lang="en-GB" altLang="en-US" smtClean="0"/>
          </a:p>
        </p:txBody>
      </p:sp>
      <p:sp>
        <p:nvSpPr>
          <p:cNvPr id="1843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s styles du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1988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73E3C52B-E839-4EA7-8D5D-C9C1607822FD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55638" y="4467225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Orange Restricted</a:t>
            </a:r>
            <a:endParaRPr lang="en-US" sz="800">
              <a:solidFill>
                <a:srgbClr val="000000">
                  <a:lumMod val="50000"/>
                </a:srgbClr>
              </a:solidFill>
            </a:endParaRP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91482" r:id="rId1"/>
    <p:sldLayoutId id="2147491111" r:id="rId2"/>
    <p:sldLayoutId id="2147491112" r:id="rId3"/>
    <p:sldLayoutId id="2147491113" r:id="rId4"/>
    <p:sldLayoutId id="2147491114" r:id="rId5"/>
    <p:sldLayoutId id="2147491115" r:id="rId6"/>
    <p:sldLayoutId id="2147491116" r:id="rId7"/>
    <p:sldLayoutId id="2147491117" r:id="rId8"/>
    <p:sldLayoutId id="2147491118" r:id="rId9"/>
    <p:sldLayoutId id="2147491483" r:id="rId10"/>
    <p:sldLayoutId id="2147491484" r:id="rId11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quez ici pour saisir le titre principal</a:t>
            </a:r>
          </a:p>
        </p:txBody>
      </p:sp>
      <p:sp>
        <p:nvSpPr>
          <p:cNvPr id="1945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Modifiez le texte du masque</a:t>
            </a:r>
          </a:p>
          <a:p>
            <a:pPr lvl="1"/>
            <a:r>
              <a:rPr lang="en-US" altLang="en-US" smtClean="0"/>
              <a:t>Deuxième niveau</a:t>
            </a:r>
          </a:p>
          <a:p>
            <a:pPr lvl="2"/>
            <a:r>
              <a:rPr lang="en-US" altLang="en-US" smtClean="0"/>
              <a:t>Troisième niveau</a:t>
            </a:r>
          </a:p>
          <a:p>
            <a:pPr lvl="3"/>
            <a:r>
              <a:rPr lang="en-US" altLang="en-US" smtClean="0"/>
              <a:t>Quatrième niveau</a:t>
            </a:r>
          </a:p>
          <a:p>
            <a:pPr lvl="4"/>
            <a:r>
              <a:rPr lang="en-US" altLang="en-US" smtClean="0"/>
              <a:t>Cinquième niveau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91485" r:id="rId1"/>
    <p:sldLayoutId id="2147491486" r:id="rId2"/>
    <p:sldLayoutId id="2147491487" r:id="rId3"/>
    <p:sldLayoutId id="2147491488" r:id="rId4"/>
    <p:sldLayoutId id="2147491489" r:id="rId5"/>
    <p:sldLayoutId id="2147491490" r:id="rId6"/>
    <p:sldLayoutId id="2147491491" r:id="rId7"/>
    <p:sldLayoutId id="2147491492" r:id="rId8"/>
    <p:sldLayoutId id="2147491493" r:id="rId9"/>
    <p:sldLayoutId id="2147491119" r:id="rId10"/>
    <p:sldLayoutId id="2147491120" r:id="rId11"/>
    <p:sldLayoutId id="2147491121" r:id="rId12"/>
    <p:sldLayoutId id="2147491494" r:id="rId13"/>
    <p:sldLayoutId id="2147491122" r:id="rId14"/>
    <p:sldLayoutId id="2147491495" r:id="rId15"/>
    <p:sldLayoutId id="2147491496" r:id="rId16"/>
    <p:sldLayoutId id="2147491123" r:id="rId17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250825" y="1060450"/>
            <a:ext cx="8683625" cy="3671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  <a:p>
            <a:pPr lvl="3"/>
            <a:r>
              <a:rPr lang="fr-FR" altLang="fr-FR" smtClean="0"/>
              <a:t>Quatrième niveau</a:t>
            </a:r>
          </a:p>
          <a:p>
            <a:pPr lvl="4"/>
            <a:r>
              <a:rPr lang="fr-FR" altLang="fr-FR" smtClean="0"/>
              <a:t>Cinquième niveau</a:t>
            </a:r>
          </a:p>
        </p:txBody>
      </p:sp>
      <p:sp>
        <p:nvSpPr>
          <p:cNvPr id="21507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50825" y="228600"/>
            <a:ext cx="8683625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 style du titre</a:t>
            </a: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91513" r:id="rId1"/>
    <p:sldLayoutId id="2147491514" r:id="rId2"/>
    <p:sldLayoutId id="2147491515" r:id="rId3"/>
    <p:sldLayoutId id="2147491516" r:id="rId4"/>
    <p:sldLayoutId id="2147491517" r:id="rId5"/>
    <p:sldLayoutId id="2147491128" r:id="rId6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anose="020B0804020202020204" pitchFamily="34" charset="0"/>
          <a:ea typeface="+mj-ea"/>
          <a:cs typeface="+mj-cs"/>
        </a:defRPr>
      </a:lvl1pPr>
      <a:lvl2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2pPr>
      <a:lvl3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3pPr>
      <a:lvl4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4pPr>
      <a:lvl5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5pPr>
      <a:lvl6pPr marL="457200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6pPr>
      <a:lvl7pPr marL="914400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7pPr>
      <a:lvl8pPr marL="1371600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8pPr>
      <a:lvl9pPr marL="1828800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9pPr>
    </p:titleStyle>
    <p:bodyStyle>
      <a:lvl1pPr marL="193675" indent="-193675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§"/>
        <a:defRPr sz="1400">
          <a:solidFill>
            <a:schemeClr val="bg1"/>
          </a:solidFill>
          <a:latin typeface="Helvetica 55 Roman" panose="020B0604020202020204" pitchFamily="2" charset="0"/>
          <a:ea typeface="+mn-ea"/>
          <a:cs typeface="+mn-cs"/>
        </a:defRPr>
      </a:lvl1pPr>
      <a:lvl2pPr marL="768350" indent="-285750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har char="–"/>
        <a:defRPr sz="1400">
          <a:solidFill>
            <a:schemeClr val="bg1"/>
          </a:solidFill>
          <a:latin typeface="Helvetica 55 Roman" panose="020B0604020202020204" pitchFamily="2" charset="0"/>
        </a:defRPr>
      </a:lvl2pPr>
      <a:lvl3pPr marL="1187450" indent="-228600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lr>
          <a:schemeClr val="tx2"/>
        </a:buClr>
        <a:buSzPct val="80000"/>
        <a:buFont typeface="Wingdings" pitchFamily="2" charset="2"/>
        <a:buChar char="§"/>
        <a:defRPr sz="1400">
          <a:solidFill>
            <a:schemeClr val="bg1"/>
          </a:solidFill>
          <a:latin typeface="Helvetica 55 Roman" panose="020B0604020202020204" pitchFamily="2" charset="0"/>
        </a:defRPr>
      </a:lvl3pPr>
      <a:lvl4pPr marL="1606550" indent="-228600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har char="–"/>
        <a:defRPr sz="1400">
          <a:solidFill>
            <a:schemeClr val="bg1"/>
          </a:solidFill>
          <a:latin typeface="Helvetica 55 Roman" panose="020B0604020202020204" pitchFamily="2" charset="0"/>
        </a:defRPr>
      </a:lvl4pPr>
      <a:lvl5pPr marL="2057400" indent="-228600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har char="–"/>
        <a:defRPr sz="1400">
          <a:solidFill>
            <a:schemeClr val="bg1"/>
          </a:solidFill>
          <a:latin typeface="Helvetica 55 Roman" panose="020B0604020202020204" pitchFamily="2" charset="0"/>
        </a:defRPr>
      </a:lvl5pPr>
      <a:lvl6pPr marL="2514600" indent="-228600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6pPr>
      <a:lvl7pPr marL="2971800" indent="-228600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7pPr>
      <a:lvl8pPr marL="3429000" indent="-228600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8pPr>
      <a:lvl9pPr marL="3886200" indent="-228600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1988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253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AA1CE879-11AD-47E8-B800-D5567F2BDE38}" type="slidenum">
              <a:rPr lang="en-GB" sz="800">
                <a:solidFill>
                  <a:schemeClr val="bg1"/>
                </a:solidFill>
                <a:latin typeface="Helvetica 75 Bold" panose="020B0804020202020204" pitchFamily="34" charset="0"/>
              </a:rPr>
              <a:pPr defTabSz="914253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chemeClr val="bg1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55638" y="4467225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253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91394" r:id="rId1"/>
    <p:sldLayoutId id="2147491048" r:id="rId2"/>
    <p:sldLayoutId id="2147491049" r:id="rId3"/>
    <p:sldLayoutId id="2147491050" r:id="rId4"/>
    <p:sldLayoutId id="2147491051" r:id="rId5"/>
    <p:sldLayoutId id="2147491052" r:id="rId6"/>
    <p:sldLayoutId id="2147491053" r:id="rId7"/>
    <p:sldLayoutId id="2147491054" r:id="rId8"/>
    <p:sldLayoutId id="2147491055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2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j-cs"/>
        </a:defRPr>
      </a:lvl1pPr>
      <a:lvl2pPr algn="l" defTabSz="512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2pPr>
      <a:lvl3pPr algn="l" defTabSz="512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3pPr>
      <a:lvl4pPr algn="l" defTabSz="512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4pPr>
      <a:lvl5pPr algn="l" defTabSz="512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5pPr>
      <a:lvl6pPr marL="457127" algn="l" defTabSz="514269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253" algn="l" defTabSz="514269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380" algn="l" defTabSz="514269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508" algn="l" defTabSz="514269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2763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n-cs"/>
        </a:defRPr>
      </a:lvl1pPr>
      <a:lvl2pPr algn="l" defTabSz="512763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bg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2pPr>
      <a:lvl3pPr marL="131763" indent="-131763" algn="l" defTabSz="512763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bg1"/>
        </a:buClr>
        <a:buFont typeface="Helvetica 75"/>
        <a:buChar char="−"/>
        <a:defRPr sz="1400" kern="1200">
          <a:solidFill>
            <a:schemeClr val="bg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3pPr>
      <a:lvl4pPr marL="269875" indent="-133350" algn="l" defTabSz="512763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bg1"/>
        </a:buClr>
        <a:buFont typeface="Helvetica 75"/>
        <a:buChar char="−"/>
        <a:defRPr sz="1400" kern="1200">
          <a:solidFill>
            <a:schemeClr val="bg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4pPr>
      <a:lvl5pPr marL="404813" indent="-133350" algn="l" defTabSz="512763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bg1"/>
        </a:buClr>
        <a:buFont typeface="Helvetica 75"/>
        <a:buChar char="−"/>
        <a:defRPr sz="1400" kern="1200">
          <a:solidFill>
            <a:schemeClr val="bg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5pPr>
      <a:lvl6pPr marL="1414237" indent="-128568" algn="l" defTabSz="514269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671370" indent="-128568" algn="l" defTabSz="514269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8505" indent="-128568" algn="l" defTabSz="514269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185638" indent="-128568" algn="l" defTabSz="514269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26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257135" algn="l" defTabSz="51426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14269" algn="l" defTabSz="51426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71401" algn="l" defTabSz="51426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536" algn="l" defTabSz="51426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285670" algn="l" defTabSz="51426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542803" algn="l" defTabSz="51426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799937" algn="l" defTabSz="51426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072" algn="l" defTabSz="51426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2253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1988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22979487-F4CD-4535-8DB5-A75D5C6CE213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55638" y="4467225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1518" r:id="rId1"/>
    <p:sldLayoutId id="2147491129" r:id="rId2"/>
    <p:sldLayoutId id="2147491130" r:id="rId3"/>
    <p:sldLayoutId id="2147491131" r:id="rId4"/>
    <p:sldLayoutId id="2147491132" r:id="rId5"/>
    <p:sldLayoutId id="2147491133" r:id="rId6"/>
    <p:sldLayoutId id="2147491134" r:id="rId7"/>
    <p:sldLayoutId id="2147491135" r:id="rId8"/>
    <p:sldLayoutId id="2147491136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2355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1988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7BF971D5-35B8-4B0E-8E19-D650C927B902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55638" y="4467225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1519" r:id="rId1"/>
    <p:sldLayoutId id="2147491137" r:id="rId2"/>
    <p:sldLayoutId id="2147491138" r:id="rId3"/>
    <p:sldLayoutId id="2147491139" r:id="rId4"/>
    <p:sldLayoutId id="2147491140" r:id="rId5"/>
    <p:sldLayoutId id="2147491141" r:id="rId6"/>
    <p:sldLayoutId id="2147491142" r:id="rId7"/>
    <p:sldLayoutId id="2147491143" r:id="rId8"/>
    <p:sldLayoutId id="2147491144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2457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258763" y="4645025"/>
            <a:ext cx="274637" cy="334963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C52274E5-37F0-444F-AA8F-27259E8FC206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55638" y="4638675"/>
            <a:ext cx="8151812" cy="341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91520" r:id="rId1"/>
    <p:sldLayoutId id="2147491521" r:id="rId2"/>
    <p:sldLayoutId id="2147491145" r:id="rId3"/>
    <p:sldLayoutId id="2147491146" r:id="rId4"/>
    <p:sldLayoutId id="2147491147" r:id="rId5"/>
    <p:sldLayoutId id="2147491148" r:id="rId6"/>
    <p:sldLayoutId id="2147491149" r:id="rId7"/>
    <p:sldLayoutId id="2147491150" r:id="rId8"/>
    <p:sldLayoutId id="2147491151" r:id="rId9"/>
    <p:sldLayoutId id="2147491152" r:id="rId10"/>
    <p:sldLayoutId id="2147491153" r:id="rId11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2560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258763" y="4645025"/>
            <a:ext cx="274637" cy="334963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EB36844D-AE3C-4599-BE62-787399BE1EDB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55638" y="4638675"/>
            <a:ext cx="8151812" cy="341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91522" r:id="rId1"/>
    <p:sldLayoutId id="2147491154" r:id="rId2"/>
    <p:sldLayoutId id="2147491155" r:id="rId3"/>
    <p:sldLayoutId id="2147491156" r:id="rId4"/>
    <p:sldLayoutId id="2147491157" r:id="rId5"/>
    <p:sldLayoutId id="2147491158" r:id="rId6"/>
    <p:sldLayoutId id="2147491159" r:id="rId7"/>
    <p:sldLayoutId id="2147491160" r:id="rId8"/>
    <p:sldLayoutId id="2147491161" r:id="rId9"/>
    <p:sldLayoutId id="2147491162" r:id="rId10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266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258763" y="4645025"/>
            <a:ext cx="274637" cy="334963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E332DB28-F066-4B92-9C1E-17A1B534943A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55638" y="4638675"/>
            <a:ext cx="8151812" cy="341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91523" r:id="rId1"/>
    <p:sldLayoutId id="2147491524" r:id="rId2"/>
    <p:sldLayoutId id="2147491163" r:id="rId3"/>
    <p:sldLayoutId id="2147491164" r:id="rId4"/>
    <p:sldLayoutId id="2147491165" r:id="rId5"/>
    <p:sldLayoutId id="2147491166" r:id="rId6"/>
    <p:sldLayoutId id="2147491167" r:id="rId7"/>
    <p:sldLayoutId id="2147491168" r:id="rId8"/>
    <p:sldLayoutId id="2147491169" r:id="rId9"/>
    <p:sldLayoutId id="2147491170" r:id="rId10"/>
    <p:sldLayoutId id="2147491525" r:id="rId11"/>
    <p:sldLayoutId id="2147491526" r:id="rId12"/>
    <p:sldLayoutId id="2147491527" r:id="rId13"/>
    <p:sldLayoutId id="2147491171" r:id="rId14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Objet 1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12" name="Diapositive think-cell" r:id="rId14" imgW="360" imgH="360" progId="TCLayout.ActiveDocument.1">
                  <p:embed/>
                </p:oleObj>
              </mc:Choice>
              <mc:Fallback>
                <p:oleObj name="Diapositive think-cell" r:id="rId14" imgW="360" imgH="360" progId="TCLayout.ActiveDocument.1">
                  <p:embed/>
                  <p:pic>
                    <p:nvPicPr>
                      <p:cNvPr id="0" name="Obje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651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2765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757738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DF048BDF-7F04-4158-8979-ED931317AECB}" type="slidenum">
              <a:rPr lang="en-GB" sz="800">
                <a:solidFill>
                  <a:srgbClr val="000000"/>
                </a:solidFill>
                <a:latin typeface="Helvetica 45 Light" panose="020B0403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45 Light" panose="020B0403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55638" y="4752975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45 Light" panose="020B0403020202020204" pitchFamily="34" charset="0"/>
              </a:rPr>
              <a:t>confidentiel Orange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91528" r:id="rId1"/>
    <p:sldLayoutId id="2147491172" r:id="rId2"/>
    <p:sldLayoutId id="2147491173" r:id="rId3"/>
    <p:sldLayoutId id="2147491174" r:id="rId4"/>
    <p:sldLayoutId id="2147491175" r:id="rId5"/>
    <p:sldLayoutId id="2147491176" r:id="rId6"/>
    <p:sldLayoutId id="2147491177" r:id="rId7"/>
    <p:sldLayoutId id="2147491178" r:id="rId8"/>
    <p:sldLayoutId id="2147491179" r:id="rId9"/>
    <p:sldLayoutId id="2147491529" r:id="rId10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286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3375" y="1309688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1988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B1813440-8F13-4A73-B6E4-1F7FE1F80EC1}" type="slidenum">
              <a:rPr lang="en-GB" sz="800">
                <a:solidFill>
                  <a:srgbClr val="FFFFFF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r>
              <a:rPr lang="en-GB" sz="800">
                <a:solidFill>
                  <a:srgbClr val="FFFFFF"/>
                </a:solidFill>
                <a:latin typeface="Helvetica 75 Bold" panose="020B0804020202020204" pitchFamily="34" charset="0"/>
              </a:rPr>
              <a:t>/</a:t>
            </a: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55638" y="4602163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5000"/>
              </a:lnSpc>
              <a:spcAft>
                <a:spcPts val="4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tion Partenaires DVI 2016 – matinale M2M - confidentiel – </a:t>
            </a:r>
            <a:r>
              <a:rPr lang="en-GB" sz="800" err="1">
                <a:solidFill>
                  <a:srgbClr val="FF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ptembre</a:t>
            </a:r>
            <a:r>
              <a:rPr lang="en-GB" sz="800">
                <a:solidFill>
                  <a:srgbClr val="FF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16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91180" r:id="rId1"/>
    <p:sldLayoutId id="2147491181" r:id="rId2"/>
    <p:sldLayoutId id="2147491182" r:id="rId3"/>
    <p:sldLayoutId id="2147491183" r:id="rId4"/>
    <p:sldLayoutId id="2147491530" r:id="rId5"/>
    <p:sldLayoutId id="2147491184" r:id="rId6"/>
    <p:sldLayoutId id="2147491531" r:id="rId7"/>
    <p:sldLayoutId id="2147491532" r:id="rId8"/>
    <p:sldLayoutId id="2147491533" r:id="rId9"/>
    <p:sldLayoutId id="2147491534" r:id="rId10"/>
    <p:sldLayoutId id="2147491535" r:id="rId11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bg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bg1"/>
        </a:buClr>
        <a:buFont typeface="Helvetica 75"/>
        <a:buChar char="−"/>
        <a:defRPr sz="1400" kern="1200">
          <a:solidFill>
            <a:schemeClr val="bg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bg1"/>
        </a:buClr>
        <a:buFont typeface="Helvetica 75"/>
        <a:buChar char="−"/>
        <a:defRPr sz="1400" kern="1200">
          <a:solidFill>
            <a:schemeClr val="bg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bg1"/>
        </a:buClr>
        <a:buFont typeface="Helvetica 75"/>
        <a:buChar char="−"/>
        <a:defRPr sz="1400" kern="1200">
          <a:solidFill>
            <a:schemeClr val="bg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698" name="Objet 1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60" name="Diapositive think-cell" r:id="rId14" imgW="360" imgH="360" progId="TCLayout.ActiveDocument.1">
                  <p:embed/>
                </p:oleObj>
              </mc:Choice>
              <mc:Fallback>
                <p:oleObj name="Diapositive think-cell" r:id="rId14" imgW="360" imgH="360" progId="TCLayout.ActiveDocument.1">
                  <p:embed/>
                  <p:pic>
                    <p:nvPicPr>
                      <p:cNvPr id="0" name="Obje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699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2970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757738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2E52316D-3B16-4694-898C-B6F5206FD73D}" type="slidenum">
              <a:rPr lang="en-GB" sz="800">
                <a:solidFill>
                  <a:srgbClr val="000000"/>
                </a:solidFill>
                <a:latin typeface="Helvetica 45 Light" panose="020B0403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45 Light" panose="020B0403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55638" y="4752975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45 Light" panose="020B0403020202020204" pitchFamily="34" charset="0"/>
              </a:rPr>
              <a:t>confidentiel Orange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91536" r:id="rId1"/>
    <p:sldLayoutId id="2147491185" r:id="rId2"/>
    <p:sldLayoutId id="2147491186" r:id="rId3"/>
    <p:sldLayoutId id="2147491187" r:id="rId4"/>
    <p:sldLayoutId id="2147491188" r:id="rId5"/>
    <p:sldLayoutId id="2147491189" r:id="rId6"/>
    <p:sldLayoutId id="2147491190" r:id="rId7"/>
    <p:sldLayoutId id="2147491191" r:id="rId8"/>
    <p:sldLayoutId id="2147491192" r:id="rId9"/>
    <p:sldLayoutId id="2147491537" r:id="rId10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3072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1988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2E0ED368-55A0-42E9-8871-9432E3F313E5}" type="slidenum">
              <a:rPr lang="en-GB" sz="800">
                <a:solidFill>
                  <a:srgbClr val="FFFFFF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FFFFFF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55638" y="4467225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91538" r:id="rId1"/>
    <p:sldLayoutId id="2147491193" r:id="rId2"/>
    <p:sldLayoutId id="2147491194" r:id="rId3"/>
    <p:sldLayoutId id="2147491195" r:id="rId4"/>
    <p:sldLayoutId id="2147491196" r:id="rId5"/>
    <p:sldLayoutId id="2147491197" r:id="rId6"/>
    <p:sldLayoutId id="2147491198" r:id="rId7"/>
    <p:sldLayoutId id="2147491199" r:id="rId8"/>
    <p:sldLayoutId id="2147491200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bg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bg1"/>
        </a:buClr>
        <a:buFont typeface="Helvetica 75"/>
        <a:buChar char="−"/>
        <a:defRPr sz="1400" kern="1200">
          <a:solidFill>
            <a:schemeClr val="bg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bg1"/>
        </a:buClr>
        <a:buFont typeface="Helvetica 75"/>
        <a:buChar char="−"/>
        <a:defRPr sz="1400" kern="1200">
          <a:solidFill>
            <a:schemeClr val="bg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bg1"/>
        </a:buClr>
        <a:buFont typeface="Helvetica 75"/>
        <a:buChar char="−"/>
        <a:defRPr sz="1400" kern="1200">
          <a:solidFill>
            <a:schemeClr val="bg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3174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1988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FD33623A-2545-4F10-81F2-2CE467AC9EE6}" type="slidenum">
              <a:rPr lang="en-GB" sz="800">
                <a:solidFill>
                  <a:srgbClr val="FFFFFF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FFFFFF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55638" y="4467225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91539" r:id="rId1"/>
    <p:sldLayoutId id="2147491201" r:id="rId2"/>
    <p:sldLayoutId id="2147491202" r:id="rId3"/>
    <p:sldLayoutId id="2147491203" r:id="rId4"/>
    <p:sldLayoutId id="2147491204" r:id="rId5"/>
    <p:sldLayoutId id="2147491205" r:id="rId6"/>
    <p:sldLayoutId id="2147491206" r:id="rId7"/>
    <p:sldLayoutId id="2147491207" r:id="rId8"/>
    <p:sldLayoutId id="2147491208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bg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bg1"/>
        </a:buClr>
        <a:buFont typeface="Helvetica 75"/>
        <a:buChar char="−"/>
        <a:defRPr sz="1400" kern="1200">
          <a:solidFill>
            <a:schemeClr val="bg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bg1"/>
        </a:buClr>
        <a:buFont typeface="Helvetica 75"/>
        <a:buChar char="−"/>
        <a:defRPr sz="1400" kern="1200">
          <a:solidFill>
            <a:schemeClr val="bg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bg1"/>
        </a:buClr>
        <a:buFont typeface="Helvetica 75"/>
        <a:buChar char="−"/>
        <a:defRPr sz="1400" kern="1200">
          <a:solidFill>
            <a:schemeClr val="bg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250825" y="1060450"/>
            <a:ext cx="8683625" cy="3671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  <a:p>
            <a:pPr lvl="3"/>
            <a:r>
              <a:rPr lang="fr-FR" altLang="fr-FR" smtClean="0"/>
              <a:t>Quatrième niveau</a:t>
            </a:r>
          </a:p>
          <a:p>
            <a:pPr lvl="4"/>
            <a:r>
              <a:rPr lang="fr-FR" altLang="fr-FR" smtClean="0"/>
              <a:t>Cinquième niveau</a:t>
            </a:r>
          </a:p>
        </p:txBody>
      </p:sp>
      <p:sp>
        <p:nvSpPr>
          <p:cNvPr id="3075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50825" y="228600"/>
            <a:ext cx="8683625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 style du titre</a:t>
            </a: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91395" r:id="rId1"/>
    <p:sldLayoutId id="2147491396" r:id="rId2"/>
    <p:sldLayoutId id="2147491397" r:id="rId3"/>
    <p:sldLayoutId id="2147491398" r:id="rId4"/>
    <p:sldLayoutId id="2147491399" r:id="rId5"/>
    <p:sldLayoutId id="2147491400" r:id="rId6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anose="020B0804020202020204" pitchFamily="34" charset="0"/>
          <a:ea typeface="+mj-ea"/>
          <a:cs typeface="+mj-cs"/>
        </a:defRPr>
      </a:lvl1pPr>
      <a:lvl2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2pPr>
      <a:lvl3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3pPr>
      <a:lvl4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4pPr>
      <a:lvl5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5pPr>
      <a:lvl6pPr marL="457127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6pPr>
      <a:lvl7pPr marL="914253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7pPr>
      <a:lvl8pPr marL="1371380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8pPr>
      <a:lvl9pPr marL="1828508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9pPr>
    </p:titleStyle>
    <p:bodyStyle>
      <a:lvl1pPr marL="192088" indent="-192088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§"/>
        <a:defRPr sz="1400">
          <a:solidFill>
            <a:schemeClr val="bg1"/>
          </a:solidFill>
          <a:latin typeface="Helvetica 55 Roman" panose="020B0604020202020204" pitchFamily="2" charset="0"/>
          <a:ea typeface="+mn-ea"/>
          <a:cs typeface="+mn-cs"/>
        </a:defRPr>
      </a:lvl1pPr>
      <a:lvl2pPr marL="766763" indent="-28416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har char="–"/>
        <a:defRPr sz="1400">
          <a:solidFill>
            <a:schemeClr val="bg1"/>
          </a:solidFill>
          <a:latin typeface="Helvetica 55 Roman" panose="020B0604020202020204" pitchFamily="2" charset="0"/>
        </a:defRPr>
      </a:lvl2pPr>
      <a:lvl3pPr marL="1185863" indent="-22701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lr>
          <a:schemeClr val="tx2"/>
        </a:buClr>
        <a:buSzPct val="80000"/>
        <a:buFont typeface="Wingdings" pitchFamily="2" charset="2"/>
        <a:buChar char="§"/>
        <a:defRPr sz="1400">
          <a:solidFill>
            <a:schemeClr val="bg1"/>
          </a:solidFill>
          <a:latin typeface="Helvetica 55 Roman" panose="020B0604020202020204" pitchFamily="2" charset="0"/>
        </a:defRPr>
      </a:lvl3pPr>
      <a:lvl4pPr marL="1604963" indent="-22701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har char="–"/>
        <a:defRPr sz="1400">
          <a:solidFill>
            <a:schemeClr val="bg1"/>
          </a:solidFill>
          <a:latin typeface="Helvetica 55 Roman" panose="020B0604020202020204" pitchFamily="2" charset="0"/>
        </a:defRPr>
      </a:lvl4pPr>
      <a:lvl5pPr marL="2055813" indent="-22701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har char="–"/>
        <a:defRPr sz="1400">
          <a:solidFill>
            <a:schemeClr val="bg1"/>
          </a:solidFill>
          <a:latin typeface="Helvetica 55 Roman" panose="020B0604020202020204" pitchFamily="2" charset="0"/>
        </a:defRPr>
      </a:lvl5pPr>
      <a:lvl6pPr marL="2514199" indent="-228564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6pPr>
      <a:lvl7pPr marL="2971324" indent="-228564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7pPr>
      <a:lvl8pPr marL="3428452" indent="-228564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8pPr>
      <a:lvl9pPr marL="3885580" indent="-228564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7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53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80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08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35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60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88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15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3277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1988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1E589AAA-036B-4BC2-93BF-EE871B81BD4A}" type="slidenum">
              <a:rPr lang="en-GB" sz="800">
                <a:solidFill>
                  <a:srgbClr val="FFFFFF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FFFFFF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55638" y="4467225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91540" r:id="rId1"/>
    <p:sldLayoutId id="2147491209" r:id="rId2"/>
    <p:sldLayoutId id="2147491210" r:id="rId3"/>
    <p:sldLayoutId id="2147491211" r:id="rId4"/>
    <p:sldLayoutId id="2147491212" r:id="rId5"/>
    <p:sldLayoutId id="2147491213" r:id="rId6"/>
    <p:sldLayoutId id="2147491214" r:id="rId7"/>
    <p:sldLayoutId id="2147491215" r:id="rId8"/>
    <p:sldLayoutId id="2147491216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bg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bg1"/>
        </a:buClr>
        <a:buFont typeface="Helvetica 75"/>
        <a:buChar char="−"/>
        <a:defRPr sz="1400" kern="1200">
          <a:solidFill>
            <a:schemeClr val="bg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bg1"/>
        </a:buClr>
        <a:buFont typeface="Helvetica 75"/>
        <a:buChar char="−"/>
        <a:defRPr sz="1400" kern="1200">
          <a:solidFill>
            <a:schemeClr val="bg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bg1"/>
        </a:buClr>
        <a:buFont typeface="Helvetica 75"/>
        <a:buChar char="−"/>
        <a:defRPr sz="1400" kern="1200">
          <a:solidFill>
            <a:schemeClr val="bg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3379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1988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7B60C468-4388-45BB-8B8F-A8842326AF08}" type="slidenum">
              <a:rPr lang="en-GB" sz="800">
                <a:solidFill>
                  <a:srgbClr val="FFFFFF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FFFFFF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55638" y="4467225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91541" r:id="rId1"/>
    <p:sldLayoutId id="2147491217" r:id="rId2"/>
    <p:sldLayoutId id="2147491218" r:id="rId3"/>
    <p:sldLayoutId id="2147491219" r:id="rId4"/>
    <p:sldLayoutId id="2147491220" r:id="rId5"/>
    <p:sldLayoutId id="2147491221" r:id="rId6"/>
    <p:sldLayoutId id="2147491222" r:id="rId7"/>
    <p:sldLayoutId id="2147491223" r:id="rId8"/>
    <p:sldLayoutId id="2147491224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bg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bg1"/>
        </a:buClr>
        <a:buFont typeface="Helvetica 75"/>
        <a:buChar char="−"/>
        <a:defRPr sz="1400" kern="1200">
          <a:solidFill>
            <a:schemeClr val="bg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bg1"/>
        </a:buClr>
        <a:buFont typeface="Helvetica 75"/>
        <a:buChar char="−"/>
        <a:defRPr sz="1400" kern="1200">
          <a:solidFill>
            <a:schemeClr val="bg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bg1"/>
        </a:buClr>
        <a:buFont typeface="Helvetica 75"/>
        <a:buChar char="−"/>
        <a:defRPr sz="1400" kern="1200">
          <a:solidFill>
            <a:schemeClr val="bg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250825" y="1060450"/>
            <a:ext cx="8683625" cy="3671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  <a:p>
            <a:pPr lvl="3"/>
            <a:r>
              <a:rPr lang="fr-FR" altLang="fr-FR" smtClean="0"/>
              <a:t>Quatrième niveau</a:t>
            </a:r>
          </a:p>
          <a:p>
            <a:pPr lvl="4"/>
            <a:r>
              <a:rPr lang="fr-FR" altLang="fr-FR" smtClean="0"/>
              <a:t>Cinquième niveau</a:t>
            </a:r>
          </a:p>
        </p:txBody>
      </p:sp>
      <p:sp>
        <p:nvSpPr>
          <p:cNvPr id="34819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50825" y="228600"/>
            <a:ext cx="8683625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 style du titre</a:t>
            </a: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91542" r:id="rId1"/>
    <p:sldLayoutId id="2147491543" r:id="rId2"/>
    <p:sldLayoutId id="2147491544" r:id="rId3"/>
    <p:sldLayoutId id="2147491545" r:id="rId4"/>
    <p:sldLayoutId id="2147491546" r:id="rId5"/>
    <p:sldLayoutId id="2147491225" r:id="rId6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anose="020B0804020202020204" pitchFamily="34" charset="0"/>
          <a:ea typeface="+mj-ea"/>
          <a:cs typeface="+mj-cs"/>
        </a:defRPr>
      </a:lvl1pPr>
      <a:lvl2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2pPr>
      <a:lvl3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3pPr>
      <a:lvl4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4pPr>
      <a:lvl5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5pPr>
      <a:lvl6pPr marL="457200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6pPr>
      <a:lvl7pPr marL="914400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7pPr>
      <a:lvl8pPr marL="1371600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8pPr>
      <a:lvl9pPr marL="1828800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9pPr>
    </p:titleStyle>
    <p:bodyStyle>
      <a:lvl1pPr marL="193675" indent="-193675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§"/>
        <a:defRPr sz="1400">
          <a:solidFill>
            <a:schemeClr val="bg1"/>
          </a:solidFill>
          <a:latin typeface="Helvetica 55 Roman" panose="020B0604020202020204" pitchFamily="2" charset="0"/>
          <a:ea typeface="+mn-ea"/>
          <a:cs typeface="+mn-cs"/>
        </a:defRPr>
      </a:lvl1pPr>
      <a:lvl2pPr marL="768350" indent="-285750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har char="–"/>
        <a:defRPr sz="1400">
          <a:solidFill>
            <a:schemeClr val="bg1"/>
          </a:solidFill>
          <a:latin typeface="Helvetica 55 Roman" panose="020B0604020202020204" pitchFamily="2" charset="0"/>
        </a:defRPr>
      </a:lvl2pPr>
      <a:lvl3pPr marL="1187450" indent="-228600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lr>
          <a:schemeClr val="tx2"/>
        </a:buClr>
        <a:buSzPct val="80000"/>
        <a:buFont typeface="Wingdings" pitchFamily="2" charset="2"/>
        <a:buChar char="§"/>
        <a:defRPr sz="1400">
          <a:solidFill>
            <a:schemeClr val="bg1"/>
          </a:solidFill>
          <a:latin typeface="Helvetica 55 Roman" panose="020B0604020202020204" pitchFamily="2" charset="0"/>
        </a:defRPr>
      </a:lvl3pPr>
      <a:lvl4pPr marL="1606550" indent="-228600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har char="–"/>
        <a:defRPr sz="1400">
          <a:solidFill>
            <a:schemeClr val="bg1"/>
          </a:solidFill>
          <a:latin typeface="Helvetica 55 Roman" panose="020B0604020202020204" pitchFamily="2" charset="0"/>
        </a:defRPr>
      </a:lvl4pPr>
      <a:lvl5pPr marL="2057400" indent="-228600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har char="–"/>
        <a:defRPr sz="1400">
          <a:solidFill>
            <a:schemeClr val="bg1"/>
          </a:solidFill>
          <a:latin typeface="Helvetica 55 Roman" panose="020B0604020202020204" pitchFamily="2" charset="0"/>
        </a:defRPr>
      </a:lvl5pPr>
      <a:lvl6pPr marL="2514600" indent="-228600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6pPr>
      <a:lvl7pPr marL="2971800" indent="-228600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7pPr>
      <a:lvl8pPr marL="3429000" indent="-228600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8pPr>
      <a:lvl9pPr marL="3886200" indent="-228600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3584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1988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DAC03B0A-391E-4CA0-80A1-B1580CD235B5}" type="slidenum">
              <a:rPr lang="en-GB" sz="800">
                <a:solidFill>
                  <a:srgbClr val="FFFFFF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FFFFFF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55638" y="4467225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91547" r:id="rId1"/>
    <p:sldLayoutId id="2147491226" r:id="rId2"/>
    <p:sldLayoutId id="2147491227" r:id="rId3"/>
    <p:sldLayoutId id="2147491228" r:id="rId4"/>
    <p:sldLayoutId id="2147491229" r:id="rId5"/>
    <p:sldLayoutId id="2147491230" r:id="rId6"/>
    <p:sldLayoutId id="2147491231" r:id="rId7"/>
    <p:sldLayoutId id="2147491232" r:id="rId8"/>
    <p:sldLayoutId id="2147491233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bg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bg1"/>
        </a:buClr>
        <a:buFont typeface="Helvetica 75"/>
        <a:buChar char="−"/>
        <a:defRPr sz="1400" kern="1200">
          <a:solidFill>
            <a:schemeClr val="bg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bg1"/>
        </a:buClr>
        <a:buFont typeface="Helvetica 75"/>
        <a:buChar char="−"/>
        <a:defRPr sz="1400" kern="1200">
          <a:solidFill>
            <a:schemeClr val="bg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bg1"/>
        </a:buClr>
        <a:buFont typeface="Helvetica 75"/>
        <a:buChar char="−"/>
        <a:defRPr sz="1400" kern="1200">
          <a:solidFill>
            <a:schemeClr val="bg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3686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1988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B21C7BC4-D89E-4E0A-B766-032FC121503B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55638" y="4467225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1548" r:id="rId1"/>
    <p:sldLayoutId id="2147491234" r:id="rId2"/>
    <p:sldLayoutId id="2147491235" r:id="rId3"/>
    <p:sldLayoutId id="2147491236" r:id="rId4"/>
    <p:sldLayoutId id="2147491237" r:id="rId5"/>
    <p:sldLayoutId id="2147491238" r:id="rId6"/>
    <p:sldLayoutId id="2147491239" r:id="rId7"/>
    <p:sldLayoutId id="2147491240" r:id="rId8"/>
    <p:sldLayoutId id="2147491241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011238" y="1319213"/>
            <a:ext cx="7097712" cy="3360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  <a:p>
            <a:pPr lvl="3"/>
            <a:r>
              <a:rPr lang="fr-FR" altLang="fr-FR" smtClean="0"/>
              <a:t>Quatrième niveau</a:t>
            </a:r>
          </a:p>
          <a:p>
            <a:pPr lvl="4"/>
            <a:r>
              <a:rPr lang="fr-FR" altLang="fr-FR" smtClean="0"/>
              <a:t>Cinquième niveau</a:t>
            </a:r>
          </a:p>
        </p:txBody>
      </p:sp>
      <p:sp>
        <p:nvSpPr>
          <p:cNvPr id="389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011238" y="309563"/>
            <a:ext cx="7096125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 style du titre</a:t>
            </a:r>
          </a:p>
        </p:txBody>
      </p:sp>
      <p:sp>
        <p:nvSpPr>
          <p:cNvPr id="1028" name="Rectangle 4"/>
          <p:cNvSpPr>
            <a:spLocks noChangeArrowheads="1"/>
          </p:cNvSpPr>
          <p:nvPr/>
        </p:nvSpPr>
        <p:spPr bwMode="auto">
          <a:xfrm>
            <a:off x="25400" y="4818063"/>
            <a:ext cx="736600" cy="161925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914400" eaLnBrk="1" hangingPunct="1">
              <a:defRPr/>
            </a:pPr>
            <a:fld id="{90CB0B99-B127-4CFA-96A3-241C7F9AF440}" type="slidenum">
              <a:rPr lang="fr-FR" altLang="fr-FR" sz="800" smtClean="0">
                <a:solidFill>
                  <a:srgbClr val="000000"/>
                </a:solidFill>
                <a:latin typeface="Helvetica 55 Roman" pitchFamily="2" charset="0"/>
                <a:ea typeface="+mn-ea"/>
              </a:rPr>
              <a:pPr algn="ctr" defTabSz="914400" eaLnBrk="1" hangingPunct="1">
                <a:defRPr/>
              </a:pPr>
              <a:t>‹N°›</a:t>
            </a:fld>
            <a:endParaRPr lang="fr-FR" altLang="fr-FR" sz="800" smtClean="0">
              <a:solidFill>
                <a:srgbClr val="000000"/>
              </a:solidFill>
              <a:latin typeface="Helvetica 55 Roman" pitchFamily="2" charset="0"/>
              <a:ea typeface="+mn-ea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1254" r:id="rId1"/>
    <p:sldLayoutId id="2147491255" r:id="rId2"/>
    <p:sldLayoutId id="2147491256" r:id="rId3"/>
    <p:sldLayoutId id="2147491257" r:id="rId4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Helvetica 65 Medium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Helvetica 65 Medium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Helvetica 65 Medium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Helvetica 65 Medium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Helvetica 65 Medium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Helvetica 65 Medium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Helvetica 65 Medium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Helvetica 65 Medium" pitchFamily="34" charset="0"/>
        </a:defRPr>
      </a:lvl9pPr>
    </p:titleStyle>
    <p:bodyStyle>
      <a:lvl1pPr marL="193675" indent="-193675" algn="l" rtl="0" eaLnBrk="0" fontAlgn="base" hangingPunct="0">
        <a:spcBef>
          <a:spcPct val="0"/>
        </a:spcBef>
        <a:spcAft>
          <a:spcPct val="50000"/>
        </a:spcAft>
        <a:buClr>
          <a:schemeClr val="tx2"/>
        </a:buClr>
        <a:buSzPct val="70000"/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68350" indent="-285750" algn="l" rtl="0" eaLnBrk="0" fontAlgn="base" hangingPunct="0">
        <a:spcBef>
          <a:spcPct val="0"/>
        </a:spcBef>
        <a:spcAft>
          <a:spcPct val="25000"/>
        </a:spcAft>
        <a:buChar char="–"/>
        <a:defRPr>
          <a:solidFill>
            <a:schemeClr val="tx1"/>
          </a:solidFill>
          <a:latin typeface="+mn-lt"/>
        </a:defRPr>
      </a:lvl2pPr>
      <a:lvl3pPr marL="1187450" indent="-228600" algn="l" rtl="0" eaLnBrk="0" fontAlgn="base" hangingPunct="0">
        <a:spcBef>
          <a:spcPct val="0"/>
        </a:spcBef>
        <a:spcAft>
          <a:spcPct val="25000"/>
        </a:spcAft>
        <a:buClr>
          <a:schemeClr val="tx1"/>
        </a:buClr>
        <a:buFont typeface="Times New Roman" pitchFamily="18" charset="0"/>
        <a:buChar char="–"/>
        <a:defRPr>
          <a:solidFill>
            <a:schemeClr val="tx1"/>
          </a:solidFill>
          <a:latin typeface="+mn-lt"/>
        </a:defRPr>
      </a:lvl3pPr>
      <a:lvl4pPr marL="1606550" indent="-228600" algn="l" rtl="0" eaLnBrk="0" fontAlgn="base" hangingPunct="0">
        <a:spcBef>
          <a:spcPct val="0"/>
        </a:spcBef>
        <a:spcAft>
          <a:spcPct val="25000"/>
        </a:spcAft>
        <a:buChar char="–"/>
        <a:defRPr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0"/>
        </a:spcBef>
        <a:spcAft>
          <a:spcPct val="25000"/>
        </a:spcAft>
        <a:buChar char="–"/>
        <a:defRPr sz="16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0"/>
        </a:spcBef>
        <a:spcAft>
          <a:spcPct val="25000"/>
        </a:spcAft>
        <a:buChar char="–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0"/>
        </a:spcBef>
        <a:spcAft>
          <a:spcPct val="25000"/>
        </a:spcAft>
        <a:buChar char="–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0"/>
        </a:spcBef>
        <a:spcAft>
          <a:spcPct val="25000"/>
        </a:spcAft>
        <a:buChar char="–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0"/>
        </a:spcBef>
        <a:spcAft>
          <a:spcPct val="25000"/>
        </a:spcAft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3993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1988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307C2907-AE9B-4746-9207-08848804DD67}" type="slidenum">
              <a:rPr lang="en-GB" sz="800">
                <a:solidFill>
                  <a:srgbClr val="FFFFFF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FFFFFF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55638" y="4467225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91551" r:id="rId1"/>
    <p:sldLayoutId id="2147491258" r:id="rId2"/>
    <p:sldLayoutId id="2147491259" r:id="rId3"/>
    <p:sldLayoutId id="2147491260" r:id="rId4"/>
    <p:sldLayoutId id="2147491261" r:id="rId5"/>
    <p:sldLayoutId id="2147491262" r:id="rId6"/>
    <p:sldLayoutId id="2147491263" r:id="rId7"/>
    <p:sldLayoutId id="2147491264" r:id="rId8"/>
    <p:sldLayoutId id="2147491265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bg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bg1"/>
        </a:buClr>
        <a:buFont typeface="Helvetica 75"/>
        <a:buChar char="−"/>
        <a:defRPr sz="1400" kern="1200">
          <a:solidFill>
            <a:schemeClr val="bg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bg1"/>
        </a:buClr>
        <a:buFont typeface="Helvetica 75"/>
        <a:buChar char="−"/>
        <a:defRPr sz="1400" kern="1200">
          <a:solidFill>
            <a:schemeClr val="bg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bg1"/>
        </a:buClr>
        <a:buFont typeface="Helvetica 75"/>
        <a:buChar char="−"/>
        <a:defRPr sz="1400" kern="1200">
          <a:solidFill>
            <a:schemeClr val="bg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4096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1988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C0A0B6DF-D93F-48E3-B556-DDDE93287A43}" type="slidenum">
              <a:rPr lang="en-GB" sz="800">
                <a:solidFill>
                  <a:srgbClr val="FFFFFF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FFFFFF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55638" y="4467225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91552" r:id="rId1"/>
    <p:sldLayoutId id="2147491266" r:id="rId2"/>
    <p:sldLayoutId id="2147491267" r:id="rId3"/>
    <p:sldLayoutId id="2147491268" r:id="rId4"/>
    <p:sldLayoutId id="2147491269" r:id="rId5"/>
    <p:sldLayoutId id="2147491270" r:id="rId6"/>
    <p:sldLayoutId id="2147491271" r:id="rId7"/>
    <p:sldLayoutId id="2147491272" r:id="rId8"/>
    <p:sldLayoutId id="2147491273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bg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bg1"/>
        </a:buClr>
        <a:buFont typeface="Helvetica 75"/>
        <a:buChar char="−"/>
        <a:defRPr sz="1400" kern="1200">
          <a:solidFill>
            <a:schemeClr val="bg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bg1"/>
        </a:buClr>
        <a:buFont typeface="Helvetica 75"/>
        <a:buChar char="−"/>
        <a:defRPr sz="1400" kern="1200">
          <a:solidFill>
            <a:schemeClr val="bg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bg1"/>
        </a:buClr>
        <a:buFont typeface="Helvetica 75"/>
        <a:buChar char="−"/>
        <a:defRPr sz="1400" kern="1200">
          <a:solidFill>
            <a:schemeClr val="bg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4198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1988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2E657BE4-C749-4D6E-ACF1-8590C0B694A4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91553" r:id="rId1"/>
    <p:sldLayoutId id="2147491274" r:id="rId2"/>
    <p:sldLayoutId id="2147491275" r:id="rId3"/>
    <p:sldLayoutId id="2147491276" r:id="rId4"/>
    <p:sldLayoutId id="2147491277" r:id="rId5"/>
    <p:sldLayoutId id="2147491278" r:id="rId6"/>
    <p:sldLayoutId id="2147491279" r:id="rId7"/>
    <p:sldLayoutId id="2147491280" r:id="rId8"/>
    <p:sldLayoutId id="2147491281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bg2"/>
        </a:buClr>
        <a:buFont typeface="Wingdings" pitchFamily="2" charset="2"/>
        <a:buChar char="§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bg2"/>
        </a:buClr>
        <a:buFont typeface="Wingdings" pitchFamily="2" charset="2"/>
        <a:buChar char="§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bg2"/>
        </a:buClr>
        <a:buFont typeface="Wingdings" pitchFamily="2" charset="2"/>
        <a:buChar char="§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4301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1988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B96A2C7C-2422-4762-AA00-5D6FAC636F42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55638" y="4467225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91554" r:id="rId1"/>
    <p:sldLayoutId id="2147491282" r:id="rId2"/>
    <p:sldLayoutId id="2147491283" r:id="rId3"/>
    <p:sldLayoutId id="2147491284" r:id="rId4"/>
    <p:sldLayoutId id="2147491285" r:id="rId5"/>
    <p:sldLayoutId id="2147491286" r:id="rId6"/>
    <p:sldLayoutId id="2147491287" r:id="rId7"/>
    <p:sldLayoutId id="2147491288" r:id="rId8"/>
    <p:sldLayoutId id="2147491289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250825" y="1060450"/>
            <a:ext cx="8683625" cy="3671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  <a:p>
            <a:pPr lvl="3"/>
            <a:r>
              <a:rPr lang="fr-FR" altLang="fr-FR" smtClean="0"/>
              <a:t>Quatrième niveau</a:t>
            </a:r>
          </a:p>
          <a:p>
            <a:pPr lvl="4"/>
            <a:r>
              <a:rPr lang="fr-FR" altLang="fr-FR" smtClean="0"/>
              <a:t>Cinquième niveau</a:t>
            </a:r>
          </a:p>
        </p:txBody>
      </p:sp>
      <p:sp>
        <p:nvSpPr>
          <p:cNvPr id="4099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50825" y="228600"/>
            <a:ext cx="8683625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 style du titre</a:t>
            </a: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91401" r:id="rId1"/>
    <p:sldLayoutId id="2147491402" r:id="rId2"/>
    <p:sldLayoutId id="2147491403" r:id="rId3"/>
    <p:sldLayoutId id="2147491404" r:id="rId4"/>
    <p:sldLayoutId id="2147491405" r:id="rId5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anose="020B0804020202020204" pitchFamily="34" charset="0"/>
          <a:ea typeface="+mj-ea"/>
          <a:cs typeface="+mj-cs"/>
        </a:defRPr>
      </a:lvl1pPr>
      <a:lvl2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2pPr>
      <a:lvl3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3pPr>
      <a:lvl4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4pPr>
      <a:lvl5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5pPr>
      <a:lvl6pPr marL="457127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6pPr>
      <a:lvl7pPr marL="914253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7pPr>
      <a:lvl8pPr marL="1371380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8pPr>
      <a:lvl9pPr marL="1828508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9pPr>
    </p:titleStyle>
    <p:bodyStyle>
      <a:lvl1pPr marL="192088" indent="-192088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§"/>
        <a:defRPr sz="1400">
          <a:solidFill>
            <a:schemeClr val="bg1"/>
          </a:solidFill>
          <a:latin typeface="Helvetica 55 Roman" panose="020B0604020202020204" pitchFamily="2" charset="0"/>
          <a:ea typeface="+mn-ea"/>
          <a:cs typeface="+mn-cs"/>
        </a:defRPr>
      </a:lvl1pPr>
      <a:lvl2pPr marL="766763" indent="-28416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har char="–"/>
        <a:defRPr sz="1400">
          <a:solidFill>
            <a:schemeClr val="bg1"/>
          </a:solidFill>
          <a:latin typeface="Helvetica 55 Roman" panose="020B0604020202020204" pitchFamily="2" charset="0"/>
        </a:defRPr>
      </a:lvl2pPr>
      <a:lvl3pPr marL="1185863" indent="-22701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lr>
          <a:schemeClr val="tx2"/>
        </a:buClr>
        <a:buSzPct val="80000"/>
        <a:buFont typeface="Wingdings" pitchFamily="2" charset="2"/>
        <a:buChar char="§"/>
        <a:defRPr sz="1400">
          <a:solidFill>
            <a:schemeClr val="bg1"/>
          </a:solidFill>
          <a:latin typeface="Helvetica 55 Roman" panose="020B0604020202020204" pitchFamily="2" charset="0"/>
        </a:defRPr>
      </a:lvl3pPr>
      <a:lvl4pPr marL="1604963" indent="-22701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har char="–"/>
        <a:defRPr sz="1400">
          <a:solidFill>
            <a:schemeClr val="bg1"/>
          </a:solidFill>
          <a:latin typeface="Helvetica 55 Roman" panose="020B0604020202020204" pitchFamily="2" charset="0"/>
        </a:defRPr>
      </a:lvl4pPr>
      <a:lvl5pPr marL="2055813" indent="-22701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har char="–"/>
        <a:defRPr sz="1400">
          <a:solidFill>
            <a:schemeClr val="bg1"/>
          </a:solidFill>
          <a:latin typeface="Helvetica 55 Roman" panose="020B0604020202020204" pitchFamily="2" charset="0"/>
        </a:defRPr>
      </a:lvl5pPr>
      <a:lvl6pPr marL="2514199" indent="-228564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6pPr>
      <a:lvl7pPr marL="2971324" indent="-228564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7pPr>
      <a:lvl8pPr marL="3428452" indent="-228564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8pPr>
      <a:lvl9pPr marL="3885580" indent="-228564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7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53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80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08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35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60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88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15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4403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721225"/>
            <a:ext cx="274638" cy="334963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36589580-1AC6-4F08-BB14-8AC1F3C7625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91290" r:id="rId1"/>
    <p:sldLayoutId id="2147491291" r:id="rId2"/>
    <p:sldLayoutId id="2147491292" r:id="rId3"/>
    <p:sldLayoutId id="2147491293" r:id="rId4"/>
    <p:sldLayoutId id="2147491294" r:id="rId5"/>
    <p:sldLayoutId id="2147491295" r:id="rId6"/>
    <p:sldLayoutId id="2147491555" r:id="rId7"/>
    <p:sldLayoutId id="2147491556" r:id="rId8"/>
    <p:sldLayoutId id="2147491296" r:id="rId9"/>
    <p:sldLayoutId id="2147491557" r:id="rId10"/>
    <p:sldLayoutId id="2147491297" r:id="rId11"/>
    <p:sldLayoutId id="2147491558" r:id="rId12"/>
    <p:sldLayoutId id="2147491298" r:id="rId13"/>
    <p:sldLayoutId id="2147491559" r:id="rId14"/>
    <p:sldLayoutId id="2147491299" r:id="rId15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6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2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4505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1988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646F49ED-C49A-4844-906F-803C0D9D6936}" type="slidenum">
              <a:rPr lang="en-GB" sz="800">
                <a:solidFill>
                  <a:srgbClr val="FFFFFF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FFFFFF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55638" y="4467225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91560" r:id="rId1"/>
    <p:sldLayoutId id="2147491300" r:id="rId2"/>
    <p:sldLayoutId id="2147491301" r:id="rId3"/>
    <p:sldLayoutId id="2147491302" r:id="rId4"/>
    <p:sldLayoutId id="2147491303" r:id="rId5"/>
    <p:sldLayoutId id="2147491304" r:id="rId6"/>
    <p:sldLayoutId id="2147491305" r:id="rId7"/>
    <p:sldLayoutId id="2147491306" r:id="rId8"/>
    <p:sldLayoutId id="2147491307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bg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bg1"/>
        </a:buClr>
        <a:buFont typeface="Helvetica 75"/>
        <a:buChar char="−"/>
        <a:defRPr sz="1400" kern="1200">
          <a:solidFill>
            <a:schemeClr val="bg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bg1"/>
        </a:buClr>
        <a:buFont typeface="Helvetica 75"/>
        <a:buChar char="−"/>
        <a:defRPr sz="1400" kern="1200">
          <a:solidFill>
            <a:schemeClr val="bg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bg1"/>
        </a:buClr>
        <a:buFont typeface="Helvetica 75"/>
        <a:buChar char="−"/>
        <a:defRPr sz="1400" kern="1200">
          <a:solidFill>
            <a:schemeClr val="bg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3"/>
          <p:cNvSpPr>
            <a:spLocks noGrp="1" noChangeArrowheads="1"/>
          </p:cNvSpPr>
          <p:nvPr>
            <p:ph type="body" idx="1"/>
          </p:nvPr>
        </p:nvSpPr>
        <p:spPr bwMode="invGray">
          <a:xfrm>
            <a:off x="250825" y="1058863"/>
            <a:ext cx="8683625" cy="3363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  <a:p>
            <a:pPr lvl="3"/>
            <a:r>
              <a:rPr lang="fr-FR" altLang="fr-FR" smtClean="0"/>
              <a:t>Quatrième niveau</a:t>
            </a:r>
          </a:p>
          <a:p>
            <a:pPr lvl="4"/>
            <a:r>
              <a:rPr lang="fr-FR" altLang="fr-FR" smtClean="0"/>
              <a:t>Cinquième niveau</a:t>
            </a:r>
          </a:p>
        </p:txBody>
      </p:sp>
      <p:sp>
        <p:nvSpPr>
          <p:cNvPr id="46083" name="Rectangle 2"/>
          <p:cNvSpPr>
            <a:spLocks noGrp="1" noChangeArrowheads="1"/>
          </p:cNvSpPr>
          <p:nvPr>
            <p:ph type="title"/>
          </p:nvPr>
        </p:nvSpPr>
        <p:spPr bwMode="invGray">
          <a:xfrm>
            <a:off x="250825" y="228600"/>
            <a:ext cx="8683625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 style du titr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1308" r:id="rId1"/>
    <p:sldLayoutId id="2147491309" r:id="rId2"/>
    <p:sldLayoutId id="2147491310" r:id="rId3"/>
    <p:sldLayoutId id="2147491311" r:id="rId4"/>
    <p:sldLayoutId id="2147491312" r:id="rId5"/>
    <p:sldLayoutId id="2147491313" r:id="rId6"/>
    <p:sldLayoutId id="2147491561" r:id="rId7"/>
    <p:sldLayoutId id="2147491562" r:id="rId8"/>
    <p:sldLayoutId id="2147491314" r:id="rId9"/>
    <p:sldLayoutId id="2147491563" r:id="rId10"/>
    <p:sldLayoutId id="2147491564" r:id="rId11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Helvetica 75 Bold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Helvetica 75 Bold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Helvetica 75 Bold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Helvetica 75 Bold" pitchFamily="34" charset="0"/>
        </a:defRPr>
      </a:lvl5pPr>
      <a:lvl6pPr marL="457200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6pPr>
      <a:lvl7pPr marL="914400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7pPr>
      <a:lvl8pPr marL="1371600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8pPr>
      <a:lvl9pPr marL="1828800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9pPr>
    </p:titleStyle>
    <p:bodyStyle>
      <a:lvl1pPr marL="193675" indent="-193675" algn="l" rtl="0" eaLnBrk="0" fontAlgn="base" hangingPunct="0">
        <a:spcBef>
          <a:spcPts val="600"/>
        </a:spcBef>
        <a:spcAft>
          <a:spcPct val="0"/>
        </a:spcAft>
        <a:buClr>
          <a:schemeClr val="bg2"/>
        </a:buClr>
        <a:buSzPct val="100000"/>
        <a:buFont typeface="Wingdings" pitchFamily="2" charset="2"/>
        <a:buChar char="§"/>
        <a:defRPr sz="1400">
          <a:solidFill>
            <a:schemeClr val="tx2"/>
          </a:solidFill>
          <a:latin typeface="Helvetica 55 Roman" panose="020B0604020202020204" pitchFamily="2" charset="0"/>
          <a:ea typeface="+mn-ea"/>
          <a:cs typeface="+mn-cs"/>
        </a:defRPr>
      </a:lvl1pPr>
      <a:lvl2pPr marL="768350" indent="-285750" algn="l" rtl="0" eaLnBrk="0" fontAlgn="base" hangingPunct="0">
        <a:spcBef>
          <a:spcPct val="10000"/>
        </a:spcBef>
        <a:spcAft>
          <a:spcPct val="0"/>
        </a:spcAft>
        <a:buChar char="–"/>
        <a:defRPr sz="1400">
          <a:solidFill>
            <a:schemeClr val="tx2"/>
          </a:solidFill>
          <a:latin typeface="Helvetica 55 Roman" panose="020B0604020202020204" pitchFamily="2" charset="0"/>
        </a:defRPr>
      </a:lvl2pPr>
      <a:lvl3pPr marL="1187450" indent="-228600" algn="l" rtl="0" eaLnBrk="0" fontAlgn="base" hangingPunct="0">
        <a:spcBef>
          <a:spcPct val="10000"/>
        </a:spcBef>
        <a:spcAft>
          <a:spcPct val="0"/>
        </a:spcAft>
        <a:buClr>
          <a:schemeClr val="tx2"/>
        </a:buClr>
        <a:buSzPct val="100000"/>
        <a:buFont typeface="Wingdings" pitchFamily="2" charset="2"/>
        <a:buChar char="§"/>
        <a:defRPr sz="1400">
          <a:solidFill>
            <a:schemeClr val="tx2"/>
          </a:solidFill>
          <a:latin typeface="Helvetica 55 Roman" panose="020B0604020202020204" pitchFamily="2" charset="0"/>
        </a:defRPr>
      </a:lvl3pPr>
      <a:lvl4pPr marL="1606550" indent="-228600" algn="l" rtl="0" eaLnBrk="0" fontAlgn="base" hangingPunct="0">
        <a:spcBef>
          <a:spcPct val="10000"/>
        </a:spcBef>
        <a:spcAft>
          <a:spcPct val="0"/>
        </a:spcAft>
        <a:buChar char="–"/>
        <a:defRPr sz="1400">
          <a:solidFill>
            <a:schemeClr val="tx2"/>
          </a:solidFill>
          <a:latin typeface="Helvetica 55 Roman" panose="020B0604020202020204" pitchFamily="2" charset="0"/>
        </a:defRPr>
      </a:lvl4pPr>
      <a:lvl5pPr marL="2057400" indent="-228600" algn="l" rtl="0" eaLnBrk="0" fontAlgn="base" hangingPunct="0">
        <a:spcBef>
          <a:spcPct val="10000"/>
        </a:spcBef>
        <a:spcAft>
          <a:spcPct val="0"/>
        </a:spcAft>
        <a:buChar char="–"/>
        <a:defRPr sz="1400">
          <a:solidFill>
            <a:schemeClr val="tx2"/>
          </a:solidFill>
          <a:latin typeface="Helvetica 55 Roman" panose="020B0604020202020204" pitchFamily="2" charset="0"/>
        </a:defRPr>
      </a:lvl5pPr>
      <a:lvl6pPr marL="2514600" indent="-228600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250825" y="1060450"/>
            <a:ext cx="8683625" cy="3671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  <a:p>
            <a:pPr lvl="3"/>
            <a:r>
              <a:rPr lang="fr-FR" altLang="fr-FR" smtClean="0"/>
              <a:t>Quatrième niveau</a:t>
            </a:r>
          </a:p>
          <a:p>
            <a:pPr lvl="4"/>
            <a:r>
              <a:rPr lang="fr-FR" altLang="fr-FR" smtClean="0"/>
              <a:t>Cinquième niveau</a:t>
            </a:r>
          </a:p>
        </p:txBody>
      </p:sp>
      <p:sp>
        <p:nvSpPr>
          <p:cNvPr id="47107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50825" y="228600"/>
            <a:ext cx="8683625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 style du titre</a:t>
            </a: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91565" r:id="rId1"/>
    <p:sldLayoutId id="2147491566" r:id="rId2"/>
    <p:sldLayoutId id="2147491567" r:id="rId3"/>
    <p:sldLayoutId id="2147491568" r:id="rId4"/>
    <p:sldLayoutId id="2147491569" r:id="rId5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anose="020B0804020202020204" pitchFamily="34" charset="0"/>
          <a:ea typeface="+mj-ea"/>
          <a:cs typeface="+mj-cs"/>
        </a:defRPr>
      </a:lvl1pPr>
      <a:lvl2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2pPr>
      <a:lvl3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3pPr>
      <a:lvl4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4pPr>
      <a:lvl5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5pPr>
      <a:lvl6pPr marL="457163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6pPr>
      <a:lvl7pPr marL="914327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7pPr>
      <a:lvl8pPr marL="1371490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8pPr>
      <a:lvl9pPr marL="1828654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9pPr>
    </p:titleStyle>
    <p:bodyStyle>
      <a:lvl1pPr marL="192088" indent="-192088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§"/>
        <a:defRPr sz="1400">
          <a:solidFill>
            <a:schemeClr val="bg1"/>
          </a:solidFill>
          <a:latin typeface="Helvetica 55 Roman" panose="020B0604020202020204" pitchFamily="2" charset="0"/>
          <a:ea typeface="+mn-ea"/>
          <a:cs typeface="+mn-cs"/>
        </a:defRPr>
      </a:lvl1pPr>
      <a:lvl2pPr marL="766763" indent="-28416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har char="–"/>
        <a:defRPr sz="1400">
          <a:solidFill>
            <a:schemeClr val="bg1"/>
          </a:solidFill>
          <a:latin typeface="Helvetica 55 Roman" panose="020B0604020202020204" pitchFamily="2" charset="0"/>
        </a:defRPr>
      </a:lvl2pPr>
      <a:lvl3pPr marL="1185863" indent="-22701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lr>
          <a:schemeClr val="tx2"/>
        </a:buClr>
        <a:buSzPct val="80000"/>
        <a:buFont typeface="Wingdings" pitchFamily="2" charset="2"/>
        <a:buChar char="§"/>
        <a:defRPr sz="1400">
          <a:solidFill>
            <a:schemeClr val="bg1"/>
          </a:solidFill>
          <a:latin typeface="Helvetica 55 Roman" panose="020B0604020202020204" pitchFamily="2" charset="0"/>
        </a:defRPr>
      </a:lvl3pPr>
      <a:lvl4pPr marL="1604963" indent="-22701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har char="–"/>
        <a:defRPr sz="1400">
          <a:solidFill>
            <a:schemeClr val="bg1"/>
          </a:solidFill>
          <a:latin typeface="Helvetica 55 Roman" panose="020B0604020202020204" pitchFamily="2" charset="0"/>
        </a:defRPr>
      </a:lvl4pPr>
      <a:lvl5pPr marL="2055813" indent="-22701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har char="–"/>
        <a:defRPr sz="1400">
          <a:solidFill>
            <a:schemeClr val="bg1"/>
          </a:solidFill>
          <a:latin typeface="Helvetica 55 Roman" panose="020B0604020202020204" pitchFamily="2" charset="0"/>
        </a:defRPr>
      </a:lvl5pPr>
      <a:lvl6pPr marL="2514399" indent="-228582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6pPr>
      <a:lvl7pPr marL="2971562" indent="-228582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7pPr>
      <a:lvl8pPr marL="3428726" indent="-228582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8pPr>
      <a:lvl9pPr marL="3885890" indent="-228582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3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7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0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8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80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4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8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250825" y="1060450"/>
            <a:ext cx="8683625" cy="3671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  <a:p>
            <a:pPr lvl="3"/>
            <a:r>
              <a:rPr lang="fr-FR" altLang="fr-FR" smtClean="0"/>
              <a:t>Quatrième niveau</a:t>
            </a:r>
          </a:p>
          <a:p>
            <a:pPr lvl="4"/>
            <a:r>
              <a:rPr lang="fr-FR" altLang="fr-FR" smtClean="0"/>
              <a:t>Cinquième niveau</a:t>
            </a:r>
          </a:p>
        </p:txBody>
      </p:sp>
      <p:sp>
        <p:nvSpPr>
          <p:cNvPr id="48131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50825" y="228600"/>
            <a:ext cx="8683625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 style du titre</a:t>
            </a: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91570" r:id="rId1"/>
    <p:sldLayoutId id="2147491571" r:id="rId2"/>
    <p:sldLayoutId id="2147491572" r:id="rId3"/>
    <p:sldLayoutId id="2147491573" r:id="rId4"/>
    <p:sldLayoutId id="2147491574" r:id="rId5"/>
    <p:sldLayoutId id="2147491575" r:id="rId6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anose="020B0804020202020204" pitchFamily="34" charset="0"/>
          <a:ea typeface="+mj-ea"/>
          <a:cs typeface="+mj-cs"/>
        </a:defRPr>
      </a:lvl1pPr>
      <a:lvl2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2pPr>
      <a:lvl3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3pPr>
      <a:lvl4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4pPr>
      <a:lvl5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5pPr>
      <a:lvl6pPr marL="457163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6pPr>
      <a:lvl7pPr marL="914327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7pPr>
      <a:lvl8pPr marL="1371490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8pPr>
      <a:lvl9pPr marL="1828654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9pPr>
    </p:titleStyle>
    <p:bodyStyle>
      <a:lvl1pPr marL="192088" indent="-192088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§"/>
        <a:defRPr sz="1400">
          <a:solidFill>
            <a:schemeClr val="bg1"/>
          </a:solidFill>
          <a:latin typeface="Helvetica 55 Roman" panose="020B0604020202020204" pitchFamily="2" charset="0"/>
          <a:ea typeface="+mn-ea"/>
          <a:cs typeface="+mn-cs"/>
        </a:defRPr>
      </a:lvl1pPr>
      <a:lvl2pPr marL="766763" indent="-28416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har char="–"/>
        <a:defRPr sz="1400">
          <a:solidFill>
            <a:schemeClr val="bg1"/>
          </a:solidFill>
          <a:latin typeface="Helvetica 55 Roman" panose="020B0604020202020204" pitchFamily="2" charset="0"/>
        </a:defRPr>
      </a:lvl2pPr>
      <a:lvl3pPr marL="1185863" indent="-22701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lr>
          <a:schemeClr val="tx2"/>
        </a:buClr>
        <a:buSzPct val="80000"/>
        <a:buFont typeface="Wingdings" pitchFamily="2" charset="2"/>
        <a:buChar char="§"/>
        <a:defRPr sz="1400">
          <a:solidFill>
            <a:schemeClr val="bg1"/>
          </a:solidFill>
          <a:latin typeface="Helvetica 55 Roman" panose="020B0604020202020204" pitchFamily="2" charset="0"/>
        </a:defRPr>
      </a:lvl3pPr>
      <a:lvl4pPr marL="1604963" indent="-22701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har char="–"/>
        <a:defRPr sz="1400">
          <a:solidFill>
            <a:schemeClr val="bg1"/>
          </a:solidFill>
          <a:latin typeface="Helvetica 55 Roman" panose="020B0604020202020204" pitchFamily="2" charset="0"/>
        </a:defRPr>
      </a:lvl4pPr>
      <a:lvl5pPr marL="2055813" indent="-22701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har char="–"/>
        <a:defRPr sz="1400">
          <a:solidFill>
            <a:schemeClr val="bg1"/>
          </a:solidFill>
          <a:latin typeface="Helvetica 55 Roman" panose="020B0604020202020204" pitchFamily="2" charset="0"/>
        </a:defRPr>
      </a:lvl5pPr>
      <a:lvl6pPr marL="2514399" indent="-228582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6pPr>
      <a:lvl7pPr marL="2971562" indent="-228582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7pPr>
      <a:lvl8pPr marL="3428726" indent="-228582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8pPr>
      <a:lvl9pPr marL="3885890" indent="-228582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3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7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0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8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80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4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8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154" name="Objet 3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15" name="Diapositive think-cell" r:id="rId13" imgW="270" imgH="270" progId="TCLayout.ActiveDocument.1">
                  <p:embed/>
                </p:oleObj>
              </mc:Choice>
              <mc:Fallback>
                <p:oleObj name="Diapositive think-cell" r:id="rId13" imgW="270" imgH="270" progId="TCLayout.ActiveDocument.1">
                  <p:embed/>
                  <p:pic>
                    <p:nvPicPr>
                      <p:cNvPr id="0" name="Obje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2738" y="268288"/>
            <a:ext cx="8516937" cy="7413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pour modifier le ti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2738" y="1181100"/>
            <a:ext cx="8516937" cy="33702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314325" y="4535488"/>
            <a:ext cx="274638" cy="334962"/>
          </a:xfrm>
          <a:prstGeom prst="rect">
            <a:avLst/>
          </a:prstGeom>
        </p:spPr>
        <p:txBody>
          <a:bodyPr lIns="72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B1E77702-D637-42BA-8D13-4F4712500D85}" type="slidenum">
              <a:rPr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1315" r:id="rId1"/>
    <p:sldLayoutId id="2147491576" r:id="rId2"/>
    <p:sldLayoutId id="2147491316" r:id="rId3"/>
    <p:sldLayoutId id="2147491317" r:id="rId4"/>
    <p:sldLayoutId id="2147491318" r:id="rId5"/>
    <p:sldLayoutId id="2147491319" r:id="rId6"/>
    <p:sldLayoutId id="2147491577" r:id="rId7"/>
    <p:sldLayoutId id="2147491578" r:id="rId8"/>
    <p:sldLayoutId id="2147491579" r:id="rId9"/>
  </p:sldLayoutIdLst>
  <p:transition spd="med">
    <p:fade/>
  </p:transition>
  <p:hf sldNum="0"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 spc="-2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chemeClr val="bg2"/>
          </a:solidFill>
          <a:latin typeface="Helvetica 75 Bold" pitchFamily="34" charset="0"/>
        </a:defRPr>
      </a:lvl9pPr>
    </p:titleStyle>
    <p:bodyStyle>
      <a:lvl1pPr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SzPct val="25000"/>
        <a:buFont typeface="Calibri" pitchFamily="34" charset="0"/>
        <a:defRPr sz="1400" kern="1200" spc="-2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1"/>
        </a:buClr>
        <a:buSzPct val="25000"/>
        <a:buFont typeface="Calibri" pitchFamily="34" charset="0"/>
        <a:defRPr sz="1400" kern="1200" spc="-2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400" kern="1200" spc="-2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Font typeface="Arial" pitchFamily="34" charset="0"/>
        <a:buChar char="–"/>
        <a:defRPr sz="1400" kern="1200" spc="-2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sz="1400" kern="1200" spc="-2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178" name="Objet 1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40" name="Diapositive think-cell" r:id="rId16" imgW="360" imgH="360" progId="TCLayout.ActiveDocument.1">
                  <p:embed/>
                </p:oleObj>
              </mc:Choice>
              <mc:Fallback>
                <p:oleObj name="Diapositive think-cell" r:id="rId16" imgW="360" imgH="360" progId="TCLayout.ActiveDocument.1">
                  <p:embed/>
                  <p:pic>
                    <p:nvPicPr>
                      <p:cNvPr id="0" name="Obje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179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5018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757738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47CA54D7-49A6-4125-A6FF-E7C11873D47E}" type="slidenum">
              <a:rPr lang="en-GB" sz="800">
                <a:solidFill>
                  <a:srgbClr val="000000"/>
                </a:solidFill>
                <a:latin typeface="Helvetica 45 Light" panose="020B0403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45 Light" panose="020B0403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55638" y="4752975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45 Light" panose="020B0403020202020204" pitchFamily="34" charset="0"/>
              </a:rPr>
              <a:t>confidentiel Orange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91580" r:id="rId1"/>
    <p:sldLayoutId id="2147491320" r:id="rId2"/>
    <p:sldLayoutId id="2147491321" r:id="rId3"/>
    <p:sldLayoutId id="2147491322" r:id="rId4"/>
    <p:sldLayoutId id="2147491323" r:id="rId5"/>
    <p:sldLayoutId id="2147491324" r:id="rId6"/>
    <p:sldLayoutId id="2147491325" r:id="rId7"/>
    <p:sldLayoutId id="2147491326" r:id="rId8"/>
    <p:sldLayoutId id="2147491327" r:id="rId9"/>
    <p:sldLayoutId id="2147491328" r:id="rId10"/>
    <p:sldLayoutId id="2147491581" r:id="rId11"/>
    <p:sldLayoutId id="2147491329" r:id="rId12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2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j-cs"/>
        </a:defRPr>
      </a:lvl1pPr>
      <a:lvl2pPr algn="l" defTabSz="512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2pPr>
      <a:lvl3pPr algn="l" defTabSz="512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3pPr>
      <a:lvl4pPr algn="l" defTabSz="512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4pPr>
      <a:lvl5pPr algn="l" defTabSz="512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5pPr>
      <a:lvl6pPr marL="457163" algn="l" defTabSz="514309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327" algn="l" defTabSz="514309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490" algn="l" defTabSz="514309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654" algn="l" defTabSz="514309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2763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n-cs"/>
        </a:defRPr>
      </a:lvl1pPr>
      <a:lvl2pPr algn="l" defTabSz="512763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2pPr>
      <a:lvl3pPr marL="131763" indent="-131763" algn="l" defTabSz="512763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3pPr>
      <a:lvl4pPr marL="269875" indent="-133350" algn="l" defTabSz="512763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4pPr>
      <a:lvl5pPr marL="404813" indent="-133350" algn="l" defTabSz="512763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5pPr>
      <a:lvl6pPr marL="1414350" indent="-128578" algn="l" defTabSz="514309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671504" indent="-128578" algn="l" defTabSz="514309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8659" indent="-128578" algn="l" defTabSz="514309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185813" indent="-128578" algn="l" defTabSz="514309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257155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14309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71463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618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285773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542927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800081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236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5120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1988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10425027-5AD7-472A-8AB7-6383744E29F1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55638" y="4467225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1582" r:id="rId1"/>
    <p:sldLayoutId id="2147491330" r:id="rId2"/>
    <p:sldLayoutId id="2147491331" r:id="rId3"/>
    <p:sldLayoutId id="2147491332" r:id="rId4"/>
    <p:sldLayoutId id="2147491333" r:id="rId5"/>
    <p:sldLayoutId id="2147491334" r:id="rId6"/>
    <p:sldLayoutId id="2147491335" r:id="rId7"/>
    <p:sldLayoutId id="2147491336" r:id="rId8"/>
    <p:sldLayoutId id="2147491337" r:id="rId9"/>
    <p:sldLayoutId id="2147491583" r:id="rId10"/>
    <p:sldLayoutId id="2147491584" r:id="rId11"/>
    <p:sldLayoutId id="2147491585" r:id="rId12"/>
    <p:sldLayoutId id="2147491586" r:id="rId13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250825" y="1060450"/>
            <a:ext cx="8683625" cy="3671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  <a:p>
            <a:pPr lvl="3"/>
            <a:r>
              <a:rPr lang="fr-FR" altLang="fr-FR" smtClean="0"/>
              <a:t>Quatrième niveau</a:t>
            </a:r>
          </a:p>
          <a:p>
            <a:pPr lvl="4"/>
            <a:r>
              <a:rPr lang="fr-FR" altLang="fr-FR" smtClean="0"/>
              <a:t>Cinquième niveau</a:t>
            </a:r>
          </a:p>
        </p:txBody>
      </p:sp>
      <p:sp>
        <p:nvSpPr>
          <p:cNvPr id="52227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50825" y="228600"/>
            <a:ext cx="8683625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 style du titre</a:t>
            </a: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91587" r:id="rId1"/>
    <p:sldLayoutId id="2147491588" r:id="rId2"/>
    <p:sldLayoutId id="2147491589" r:id="rId3"/>
    <p:sldLayoutId id="2147491590" r:id="rId4"/>
    <p:sldLayoutId id="2147491591" r:id="rId5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anose="020B0804020202020204" pitchFamily="34" charset="0"/>
          <a:ea typeface="+mj-ea"/>
          <a:cs typeface="+mj-cs"/>
        </a:defRPr>
      </a:lvl1pPr>
      <a:lvl2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2pPr>
      <a:lvl3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3pPr>
      <a:lvl4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4pPr>
      <a:lvl5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5pPr>
      <a:lvl6pPr marL="457127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6pPr>
      <a:lvl7pPr marL="914253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7pPr>
      <a:lvl8pPr marL="1371380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8pPr>
      <a:lvl9pPr marL="1828508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9pPr>
    </p:titleStyle>
    <p:bodyStyle>
      <a:lvl1pPr marL="192088" indent="-192088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§"/>
        <a:defRPr sz="1400">
          <a:solidFill>
            <a:schemeClr val="bg1"/>
          </a:solidFill>
          <a:latin typeface="Helvetica 55 Roman" panose="020B0604020202020204" pitchFamily="2" charset="0"/>
          <a:ea typeface="+mn-ea"/>
          <a:cs typeface="+mn-cs"/>
        </a:defRPr>
      </a:lvl1pPr>
      <a:lvl2pPr marL="766763" indent="-28416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har char="–"/>
        <a:defRPr sz="1400">
          <a:solidFill>
            <a:schemeClr val="bg1"/>
          </a:solidFill>
          <a:latin typeface="Helvetica 55 Roman" panose="020B0604020202020204" pitchFamily="2" charset="0"/>
        </a:defRPr>
      </a:lvl2pPr>
      <a:lvl3pPr marL="1185863" indent="-22701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lr>
          <a:schemeClr val="tx2"/>
        </a:buClr>
        <a:buSzPct val="80000"/>
        <a:buFont typeface="Wingdings" pitchFamily="2" charset="2"/>
        <a:buChar char="§"/>
        <a:defRPr sz="1400">
          <a:solidFill>
            <a:schemeClr val="bg1"/>
          </a:solidFill>
          <a:latin typeface="Helvetica 55 Roman" panose="020B0604020202020204" pitchFamily="2" charset="0"/>
        </a:defRPr>
      </a:lvl3pPr>
      <a:lvl4pPr marL="1604963" indent="-22701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har char="–"/>
        <a:defRPr sz="1400">
          <a:solidFill>
            <a:schemeClr val="bg1"/>
          </a:solidFill>
          <a:latin typeface="Helvetica 55 Roman" panose="020B0604020202020204" pitchFamily="2" charset="0"/>
        </a:defRPr>
      </a:lvl4pPr>
      <a:lvl5pPr marL="2055813" indent="-22701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har char="–"/>
        <a:defRPr sz="1400">
          <a:solidFill>
            <a:schemeClr val="bg1"/>
          </a:solidFill>
          <a:latin typeface="Helvetica 55 Roman" panose="020B0604020202020204" pitchFamily="2" charset="0"/>
        </a:defRPr>
      </a:lvl5pPr>
      <a:lvl6pPr marL="2514199" indent="-228564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6pPr>
      <a:lvl7pPr marL="2971324" indent="-228564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7pPr>
      <a:lvl8pPr marL="3428452" indent="-228564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8pPr>
      <a:lvl9pPr marL="3885580" indent="-228564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7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53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80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08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35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60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88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15" algn="l" defTabSz="914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250825" y="1060450"/>
            <a:ext cx="8683625" cy="3671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  <a:p>
            <a:pPr lvl="3"/>
            <a:r>
              <a:rPr lang="fr-FR" altLang="fr-FR" smtClean="0"/>
              <a:t>Quatrième niveau</a:t>
            </a:r>
          </a:p>
          <a:p>
            <a:pPr lvl="4"/>
            <a:r>
              <a:rPr lang="fr-FR" altLang="fr-FR" smtClean="0"/>
              <a:t>Cinquième niveau</a:t>
            </a:r>
          </a:p>
        </p:txBody>
      </p:sp>
      <p:sp>
        <p:nvSpPr>
          <p:cNvPr id="53251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50825" y="228600"/>
            <a:ext cx="8683625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 style du titre</a:t>
            </a: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91593" r:id="rId1"/>
    <p:sldLayoutId id="2147491594" r:id="rId2"/>
    <p:sldLayoutId id="2147491595" r:id="rId3"/>
    <p:sldLayoutId id="2147491596" r:id="rId4"/>
    <p:sldLayoutId id="2147491597" r:id="rId5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anose="020B0804020202020204" pitchFamily="34" charset="0"/>
          <a:ea typeface="+mj-ea"/>
          <a:cs typeface="+mj-cs"/>
        </a:defRPr>
      </a:lvl1pPr>
      <a:lvl2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2pPr>
      <a:lvl3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3pPr>
      <a:lvl4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4pPr>
      <a:lvl5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5pPr>
      <a:lvl6pPr marL="457163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6pPr>
      <a:lvl7pPr marL="914327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7pPr>
      <a:lvl8pPr marL="1371490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8pPr>
      <a:lvl9pPr marL="1828654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9pPr>
    </p:titleStyle>
    <p:bodyStyle>
      <a:lvl1pPr marL="192088" indent="-192088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§"/>
        <a:defRPr sz="1400">
          <a:solidFill>
            <a:schemeClr val="bg1"/>
          </a:solidFill>
          <a:latin typeface="Helvetica 55 Roman" panose="020B0604020202020204" pitchFamily="2" charset="0"/>
          <a:ea typeface="+mn-ea"/>
          <a:cs typeface="+mn-cs"/>
        </a:defRPr>
      </a:lvl1pPr>
      <a:lvl2pPr marL="766763" indent="-28416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har char="–"/>
        <a:defRPr sz="1400">
          <a:solidFill>
            <a:schemeClr val="bg1"/>
          </a:solidFill>
          <a:latin typeface="Helvetica 55 Roman" panose="020B0604020202020204" pitchFamily="2" charset="0"/>
        </a:defRPr>
      </a:lvl2pPr>
      <a:lvl3pPr marL="1185863" indent="-22701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lr>
          <a:schemeClr val="tx2"/>
        </a:buClr>
        <a:buSzPct val="80000"/>
        <a:buFont typeface="Wingdings" pitchFamily="2" charset="2"/>
        <a:buChar char="§"/>
        <a:defRPr sz="1400">
          <a:solidFill>
            <a:schemeClr val="bg1"/>
          </a:solidFill>
          <a:latin typeface="Helvetica 55 Roman" panose="020B0604020202020204" pitchFamily="2" charset="0"/>
        </a:defRPr>
      </a:lvl3pPr>
      <a:lvl4pPr marL="1604963" indent="-22701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har char="–"/>
        <a:defRPr sz="1400">
          <a:solidFill>
            <a:schemeClr val="bg1"/>
          </a:solidFill>
          <a:latin typeface="Helvetica 55 Roman" panose="020B0604020202020204" pitchFamily="2" charset="0"/>
        </a:defRPr>
      </a:lvl4pPr>
      <a:lvl5pPr marL="2055813" indent="-22701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har char="–"/>
        <a:defRPr sz="1400">
          <a:solidFill>
            <a:schemeClr val="bg1"/>
          </a:solidFill>
          <a:latin typeface="Helvetica 55 Roman" panose="020B0604020202020204" pitchFamily="2" charset="0"/>
        </a:defRPr>
      </a:lvl5pPr>
      <a:lvl6pPr marL="2514399" indent="-228582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6pPr>
      <a:lvl7pPr marL="2971562" indent="-228582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7pPr>
      <a:lvl8pPr marL="3428726" indent="-228582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8pPr>
      <a:lvl9pPr marL="3885890" indent="-228582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3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7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0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8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80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4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8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250825" y="1060450"/>
            <a:ext cx="8683625" cy="3671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  <a:p>
            <a:pPr lvl="3"/>
            <a:r>
              <a:rPr lang="fr-FR" altLang="fr-FR" smtClean="0"/>
              <a:t>Quatrième niveau</a:t>
            </a:r>
          </a:p>
          <a:p>
            <a:pPr lvl="4"/>
            <a:r>
              <a:rPr lang="fr-FR" altLang="fr-FR" smtClean="0"/>
              <a:t>Cinquième niveau</a:t>
            </a:r>
          </a:p>
        </p:txBody>
      </p:sp>
      <p:sp>
        <p:nvSpPr>
          <p:cNvPr id="5123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50825" y="228600"/>
            <a:ext cx="8683625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 style du titre</a:t>
            </a: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91406" r:id="rId1"/>
    <p:sldLayoutId id="2147491407" r:id="rId2"/>
    <p:sldLayoutId id="2147491408" r:id="rId3"/>
    <p:sldLayoutId id="2147491409" r:id="rId4"/>
    <p:sldLayoutId id="2147491410" r:id="rId5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anose="020B0804020202020204" pitchFamily="34" charset="0"/>
          <a:ea typeface="+mj-ea"/>
          <a:cs typeface="+mj-cs"/>
        </a:defRPr>
      </a:lvl1pPr>
      <a:lvl2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2pPr>
      <a:lvl3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3pPr>
      <a:lvl4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4pPr>
      <a:lvl5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5pPr>
      <a:lvl6pPr marL="457163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6pPr>
      <a:lvl7pPr marL="914327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7pPr>
      <a:lvl8pPr marL="1371490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8pPr>
      <a:lvl9pPr marL="1828654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9pPr>
    </p:titleStyle>
    <p:bodyStyle>
      <a:lvl1pPr marL="192088" indent="-192088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§"/>
        <a:defRPr sz="1400">
          <a:solidFill>
            <a:schemeClr val="bg1"/>
          </a:solidFill>
          <a:latin typeface="Helvetica 55 Roman" panose="020B0604020202020204" pitchFamily="2" charset="0"/>
          <a:ea typeface="+mn-ea"/>
          <a:cs typeface="+mn-cs"/>
        </a:defRPr>
      </a:lvl1pPr>
      <a:lvl2pPr marL="766763" indent="-28416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har char="–"/>
        <a:defRPr sz="1400">
          <a:solidFill>
            <a:schemeClr val="bg1"/>
          </a:solidFill>
          <a:latin typeface="Helvetica 55 Roman" panose="020B0604020202020204" pitchFamily="2" charset="0"/>
        </a:defRPr>
      </a:lvl2pPr>
      <a:lvl3pPr marL="1185863" indent="-22701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lr>
          <a:schemeClr val="tx2"/>
        </a:buClr>
        <a:buSzPct val="80000"/>
        <a:buFont typeface="Wingdings" pitchFamily="2" charset="2"/>
        <a:buChar char="§"/>
        <a:defRPr sz="1400">
          <a:solidFill>
            <a:schemeClr val="bg1"/>
          </a:solidFill>
          <a:latin typeface="Helvetica 55 Roman" panose="020B0604020202020204" pitchFamily="2" charset="0"/>
        </a:defRPr>
      </a:lvl3pPr>
      <a:lvl4pPr marL="1604963" indent="-22701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har char="–"/>
        <a:defRPr sz="1400">
          <a:solidFill>
            <a:schemeClr val="bg1"/>
          </a:solidFill>
          <a:latin typeface="Helvetica 55 Roman" panose="020B0604020202020204" pitchFamily="2" charset="0"/>
        </a:defRPr>
      </a:lvl4pPr>
      <a:lvl5pPr marL="2055813" indent="-22701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har char="–"/>
        <a:defRPr sz="1400">
          <a:solidFill>
            <a:schemeClr val="bg1"/>
          </a:solidFill>
          <a:latin typeface="Helvetica 55 Roman" panose="020B0604020202020204" pitchFamily="2" charset="0"/>
        </a:defRPr>
      </a:lvl5pPr>
      <a:lvl6pPr marL="2514399" indent="-228582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6pPr>
      <a:lvl7pPr marL="2971562" indent="-228582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7pPr>
      <a:lvl8pPr marL="3428726" indent="-228582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8pPr>
      <a:lvl9pPr marL="3885890" indent="-228582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3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7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0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8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80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4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8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542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1988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FA7CED2-7E14-49CE-8624-A49BDACEB15B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55638" y="4467225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91598" r:id="rId1"/>
    <p:sldLayoutId id="2147491338" r:id="rId2"/>
    <p:sldLayoutId id="2147491339" r:id="rId3"/>
    <p:sldLayoutId id="2147491340" r:id="rId4"/>
    <p:sldLayoutId id="2147491341" r:id="rId5"/>
    <p:sldLayoutId id="2147491342" r:id="rId6"/>
    <p:sldLayoutId id="2147491343" r:id="rId7"/>
    <p:sldLayoutId id="2147491344" r:id="rId8"/>
    <p:sldLayoutId id="2147491345" r:id="rId9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5632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1988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92024628-DF83-4F5D-93A0-6512AF81CB8D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55638" y="4467225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1605" r:id="rId1"/>
    <p:sldLayoutId id="2147491361" r:id="rId2"/>
    <p:sldLayoutId id="2147491362" r:id="rId3"/>
    <p:sldLayoutId id="2147491363" r:id="rId4"/>
    <p:sldLayoutId id="2147491364" r:id="rId5"/>
    <p:sldLayoutId id="2147491365" r:id="rId6"/>
    <p:sldLayoutId id="2147491366" r:id="rId7"/>
    <p:sldLayoutId id="2147491367" r:id="rId8"/>
    <p:sldLayoutId id="2147491368" r:id="rId9"/>
    <p:sldLayoutId id="2147491606" r:id="rId10"/>
    <p:sldLayoutId id="2147491607" r:id="rId11"/>
    <p:sldLayoutId id="2147491608" r:id="rId12"/>
    <p:sldLayoutId id="2147491609" r:id="rId13"/>
    <p:sldLayoutId id="2147491610" r:id="rId14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5837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1988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38F847E4-0960-4712-BB91-3B1D93F8F29E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55638" y="4467225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1616" r:id="rId1"/>
    <p:sldLayoutId id="2147491369" r:id="rId2"/>
    <p:sldLayoutId id="2147491370" r:id="rId3"/>
    <p:sldLayoutId id="2147491371" r:id="rId4"/>
    <p:sldLayoutId id="2147491372" r:id="rId5"/>
    <p:sldLayoutId id="2147491373" r:id="rId6"/>
    <p:sldLayoutId id="2147491374" r:id="rId7"/>
    <p:sldLayoutId id="2147491375" r:id="rId8"/>
    <p:sldLayoutId id="2147491376" r:id="rId9"/>
    <p:sldLayoutId id="2147491617" r:id="rId10"/>
    <p:sldLayoutId id="2147491618" r:id="rId11"/>
    <p:sldLayoutId id="2147491619" r:id="rId12"/>
    <p:sldLayoutId id="2147491620" r:id="rId13"/>
    <p:sldLayoutId id="2147491621" r:id="rId14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5939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1988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53FA4958-C7AF-4218-AD7E-E5796F46BC98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55638" y="4467225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1622" r:id="rId1"/>
    <p:sldLayoutId id="2147491377" r:id="rId2"/>
    <p:sldLayoutId id="2147491378" r:id="rId3"/>
    <p:sldLayoutId id="2147491379" r:id="rId4"/>
    <p:sldLayoutId id="2147491380" r:id="rId5"/>
    <p:sldLayoutId id="2147491381" r:id="rId6"/>
    <p:sldLayoutId id="2147491382" r:id="rId7"/>
    <p:sldLayoutId id="2147491383" r:id="rId8"/>
    <p:sldLayoutId id="2147491384" r:id="rId9"/>
    <p:sldLayoutId id="2147491623" r:id="rId10"/>
    <p:sldLayoutId id="2147491624" r:id="rId11"/>
    <p:sldLayoutId id="2147491625" r:id="rId12"/>
    <p:sldLayoutId id="2147491626" r:id="rId13"/>
    <p:sldLayoutId id="2147491627" r:id="rId14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6246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1988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512638A2-1261-4DA3-B610-70B4B9D790C1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55638" y="4467225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1638" r:id="rId1"/>
    <p:sldLayoutId id="2147491385" r:id="rId2"/>
    <p:sldLayoutId id="2147491386" r:id="rId3"/>
    <p:sldLayoutId id="2147491387" r:id="rId4"/>
    <p:sldLayoutId id="2147491388" r:id="rId5"/>
    <p:sldLayoutId id="2147491389" r:id="rId6"/>
    <p:sldLayoutId id="2147491390" r:id="rId7"/>
    <p:sldLayoutId id="2147491391" r:id="rId8"/>
    <p:sldLayoutId id="2147491392" r:id="rId9"/>
    <p:sldLayoutId id="2147491639" r:id="rId10"/>
    <p:sldLayoutId id="2147491640" r:id="rId11"/>
    <p:sldLayoutId id="2147491641" r:id="rId12"/>
    <p:sldLayoutId id="2147491642" r:id="rId13"/>
    <p:sldLayoutId id="2147491643" r:id="rId14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j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2pPr>
      <a:lvl3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3pPr>
      <a:lvl4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4pPr>
      <a:lvl5pPr algn="l" defTabSz="514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n-cs"/>
        </a:defRPr>
      </a:lvl1pPr>
      <a:lvl2pPr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2pPr>
      <a:lvl3pPr marL="133350" indent="-133350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3pPr>
      <a:lvl4pPr marL="271463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4pPr>
      <a:lvl5pPr marL="406400" indent="-134938" algn="l" defTabSz="514350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250825" y="1060450"/>
            <a:ext cx="8683625" cy="3671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  <a:p>
            <a:pPr lvl="3"/>
            <a:r>
              <a:rPr lang="fr-FR" altLang="fr-FR" smtClean="0"/>
              <a:t>Quatrième niveau</a:t>
            </a:r>
          </a:p>
          <a:p>
            <a:pPr lvl="4"/>
            <a:r>
              <a:rPr lang="fr-FR" altLang="fr-FR" smtClean="0"/>
              <a:t>Cinquième niveau</a:t>
            </a:r>
          </a:p>
        </p:txBody>
      </p:sp>
      <p:sp>
        <p:nvSpPr>
          <p:cNvPr id="63491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50825" y="228600"/>
            <a:ext cx="8683625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 style du titre</a:t>
            </a: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91644" r:id="rId1"/>
    <p:sldLayoutId id="2147491645" r:id="rId2"/>
    <p:sldLayoutId id="2147491646" r:id="rId3"/>
    <p:sldLayoutId id="2147491647" r:id="rId4"/>
    <p:sldLayoutId id="2147491648" r:id="rId5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anose="020B0804020202020204" pitchFamily="34" charset="0"/>
          <a:ea typeface="+mj-ea"/>
          <a:cs typeface="+mj-cs"/>
        </a:defRPr>
      </a:lvl1pPr>
      <a:lvl2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2pPr>
      <a:lvl3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3pPr>
      <a:lvl4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4pPr>
      <a:lvl5pPr algn="l" rtl="0" eaLnBrk="0" fontAlgn="base" hangingPunct="0">
        <a:lnSpc>
          <a:spcPct val="124000"/>
        </a:lnSpc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Helvetica 75 Bold" pitchFamily="34" charset="0"/>
        </a:defRPr>
      </a:lvl5pPr>
      <a:lvl6pPr marL="457163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6pPr>
      <a:lvl7pPr marL="914327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7pPr>
      <a:lvl8pPr marL="1371490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8pPr>
      <a:lvl9pPr marL="1828654" algn="l" rtl="0" eaLnBrk="1" fontAlgn="base" hangingPunct="1">
        <a:lnSpc>
          <a:spcPct val="124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Helvetica 35 Thin" pitchFamily="34" charset="0"/>
        </a:defRPr>
      </a:lvl9pPr>
    </p:titleStyle>
    <p:bodyStyle>
      <a:lvl1pPr marL="192088" indent="-192088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tx2"/>
        </a:buClr>
        <a:buSzPct val="70000"/>
        <a:buFont typeface="Wingdings" pitchFamily="2" charset="2"/>
        <a:buChar char="§"/>
        <a:defRPr sz="1400">
          <a:solidFill>
            <a:schemeClr val="bg1"/>
          </a:solidFill>
          <a:latin typeface="Helvetica 55 Roman" panose="020B0604020202020204" pitchFamily="2" charset="0"/>
          <a:ea typeface="+mn-ea"/>
          <a:cs typeface="+mn-cs"/>
        </a:defRPr>
      </a:lvl1pPr>
      <a:lvl2pPr marL="766763" indent="-28416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har char="–"/>
        <a:defRPr sz="1400">
          <a:solidFill>
            <a:schemeClr val="bg1"/>
          </a:solidFill>
          <a:latin typeface="Helvetica 55 Roman" panose="020B0604020202020204" pitchFamily="2" charset="0"/>
        </a:defRPr>
      </a:lvl2pPr>
      <a:lvl3pPr marL="1185863" indent="-22701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lr>
          <a:schemeClr val="tx2"/>
        </a:buClr>
        <a:buSzPct val="80000"/>
        <a:buFont typeface="Wingdings" pitchFamily="2" charset="2"/>
        <a:buChar char="§"/>
        <a:defRPr sz="1400">
          <a:solidFill>
            <a:schemeClr val="bg1"/>
          </a:solidFill>
          <a:latin typeface="Helvetica 55 Roman" panose="020B0604020202020204" pitchFamily="2" charset="0"/>
        </a:defRPr>
      </a:lvl3pPr>
      <a:lvl4pPr marL="1604963" indent="-22701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har char="–"/>
        <a:defRPr sz="1400">
          <a:solidFill>
            <a:schemeClr val="bg1"/>
          </a:solidFill>
          <a:latin typeface="Helvetica 55 Roman" panose="020B0604020202020204" pitchFamily="2" charset="0"/>
        </a:defRPr>
      </a:lvl4pPr>
      <a:lvl5pPr marL="2055813" indent="-227013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har char="–"/>
        <a:defRPr sz="1400">
          <a:solidFill>
            <a:schemeClr val="bg1"/>
          </a:solidFill>
          <a:latin typeface="Helvetica 55 Roman" panose="020B0604020202020204" pitchFamily="2" charset="0"/>
        </a:defRPr>
      </a:lvl5pPr>
      <a:lvl6pPr marL="2514399" indent="-228582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6pPr>
      <a:lvl7pPr marL="2971562" indent="-228582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7pPr>
      <a:lvl8pPr marL="3428726" indent="-228582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8pPr>
      <a:lvl9pPr marL="3885890" indent="-228582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har char="–"/>
        <a:defRPr sz="1600">
          <a:solidFill>
            <a:schemeClr val="bg1"/>
          </a:solidFill>
          <a:latin typeface="+mn-lt"/>
        </a:defRPr>
      </a:lvl9pPr>
    </p:bodyStyle>
    <p:otherStyle>
      <a:defPPr>
        <a:defRPr lang="en-US"/>
      </a:defPPr>
      <a:lvl1pPr marL="0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3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7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0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54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18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80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44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08" algn="l" defTabSz="9143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576588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0776" name="Diapositive think-cell" r:id="rId13" imgW="360" imgH="360" progId="TCLayout.ActiveDocument.1">
                  <p:embed/>
                </p:oleObj>
              </mc:Choice>
              <mc:Fallback>
                <p:oleObj name="Diapositive think-cell" r:id="rId1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3200" y="268288"/>
            <a:ext cx="8516475" cy="7413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pour modifier le ti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3200" y="1181100"/>
            <a:ext cx="8516475" cy="33702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314325" y="4535485"/>
            <a:ext cx="275010" cy="334961"/>
          </a:xfrm>
          <a:prstGeom prst="rect">
            <a:avLst/>
          </a:prstGeom>
        </p:spPr>
        <p:txBody>
          <a:bodyPr wrap="square" lIns="72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0322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1660" r:id="rId1"/>
    <p:sldLayoutId id="2147491661" r:id="rId2"/>
    <p:sldLayoutId id="2147491662" r:id="rId3"/>
    <p:sldLayoutId id="2147491663" r:id="rId4"/>
    <p:sldLayoutId id="2147491664" r:id="rId5"/>
    <p:sldLayoutId id="2147491665" r:id="rId6"/>
    <p:sldLayoutId id="2147491666" r:id="rId7"/>
    <p:sldLayoutId id="2147491667" r:id="rId8"/>
    <p:sldLayoutId id="2147491668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 spc="-20" baseline="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tabLst/>
        <a:defRPr sz="1400" kern="1200" spc="-20" baseline="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Wingdings" panose="05000000000000000000" pitchFamily="2" charset="2"/>
        <a:buChar char="§"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defTabSz="914400" rtl="0" eaLnBrk="1" latinLnBrk="0" hangingPunct="1">
        <a:lnSpc>
          <a:spcPct val="90000"/>
        </a:lnSpc>
        <a:spcBef>
          <a:spcPct val="20000"/>
        </a:spcBef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defTabSz="914400" rtl="0" eaLnBrk="1" latinLnBrk="0" hangingPunct="1">
        <a:lnSpc>
          <a:spcPct val="90000"/>
        </a:lnSpc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5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4325" y="267494"/>
            <a:ext cx="8515350" cy="7437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pour modifier le ti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4325" y="1184275"/>
            <a:ext cx="8515350" cy="3365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314325" y="4535485"/>
            <a:ext cx="275010" cy="334961"/>
          </a:xfrm>
          <a:prstGeom prst="rect">
            <a:avLst/>
          </a:prstGeom>
        </p:spPr>
        <p:txBody>
          <a:bodyPr wrap="square" lIns="72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0941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1670" r:id="rId1"/>
    <p:sldLayoutId id="2147491671" r:id="rId2"/>
    <p:sldLayoutId id="2147491672" r:id="rId3"/>
    <p:sldLayoutId id="2147491673" r:id="rId4"/>
    <p:sldLayoutId id="2147491674" r:id="rId5"/>
    <p:sldLayoutId id="2147491675" r:id="rId6"/>
    <p:sldLayoutId id="2147491676" r:id="rId7"/>
    <p:sldLayoutId id="2147491677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 spc="-20" baseline="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tabLst/>
        <a:defRPr sz="1400" kern="1200" spc="-20" baseline="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Wingdings" panose="05000000000000000000" pitchFamily="2" charset="2"/>
        <a:buChar char="§"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defTabSz="914400" rtl="0" eaLnBrk="1" latinLnBrk="0" hangingPunct="1">
        <a:lnSpc>
          <a:spcPct val="90000"/>
        </a:lnSpc>
        <a:spcBef>
          <a:spcPct val="20000"/>
        </a:spcBef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defTabSz="914400" rtl="0" eaLnBrk="1" latinLnBrk="0" hangingPunct="1">
        <a:lnSpc>
          <a:spcPct val="90000"/>
        </a:lnSpc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/>
    </p:ext>
  </p:extLst>
</p:sldMaster>
</file>

<file path=ppt/slideMasters/slideMaster5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03987" y="145161"/>
            <a:ext cx="2216785" cy="3606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200" b="1" i="0">
                <a:solidFill>
                  <a:srgbClr val="FF6600"/>
                </a:solidFill>
                <a:latin typeface="Helvetica 75 Bold"/>
                <a:cs typeface="Helvetica 75 Bol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2441956" y="2218156"/>
            <a:ext cx="4260087" cy="113220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1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4783455"/>
            <a:ext cx="2926080" cy="2571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sz="18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4783455"/>
            <a:ext cx="2103120" cy="2571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1D8BD707-D9CF-40AE-B4C6-C98DA3205C09}" type="datetimeFigureOut">
              <a:rPr lang="en-US" sz="180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2/19/2019</a:t>
            </a:fld>
            <a:endParaRPr lang="en-US" sz="18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4783455"/>
            <a:ext cx="2103120" cy="2571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B6F15528-21DE-4FAA-801E-634DDDAF4B2B}" type="slidenum">
              <a:rPr sz="180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N°›</a:t>
            </a:fld>
            <a:endParaRPr sz="18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2377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1679" r:id="rId1"/>
    <p:sldLayoutId id="2147491680" r:id="rId2"/>
    <p:sldLayoutId id="2147491681" r:id="rId3"/>
    <p:sldLayoutId id="2147491682" r:id="rId4"/>
    <p:sldLayoutId id="2147491683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5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4325" y="267494"/>
            <a:ext cx="8515350" cy="7437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pour modifier le ti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4325" y="1184275"/>
            <a:ext cx="8515350" cy="3365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314325" y="4535485"/>
            <a:ext cx="275010" cy="334961"/>
          </a:xfrm>
          <a:prstGeom prst="rect">
            <a:avLst/>
          </a:prstGeom>
        </p:spPr>
        <p:txBody>
          <a:bodyPr wrap="square" lIns="72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sz="800">
                <a:solidFill>
                  <a:srgbClr val="FFFFFF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sz="800">
              <a:solidFill>
                <a:srgbClr val="FFFFFF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0984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1685" r:id="rId1"/>
    <p:sldLayoutId id="2147491686" r:id="rId2"/>
    <p:sldLayoutId id="2147491687" r:id="rId3"/>
    <p:sldLayoutId id="2147491688" r:id="rId4"/>
    <p:sldLayoutId id="2147491689" r:id="rId5"/>
    <p:sldLayoutId id="2147491690" r:id="rId6"/>
    <p:sldLayoutId id="2147491691" r:id="rId7"/>
    <p:sldLayoutId id="2147491692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 spc="-20" baseline="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tabLst/>
        <a:defRPr sz="1400" kern="1200" spc="-20" baseline="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Wingdings" panose="05000000000000000000" pitchFamily="2" charset="2"/>
        <a:buChar char="§"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defTabSz="914400" rtl="0" eaLnBrk="1" latinLnBrk="0" hangingPunct="1">
        <a:lnSpc>
          <a:spcPct val="90000"/>
        </a:lnSpc>
        <a:spcBef>
          <a:spcPct val="20000"/>
        </a:spcBef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defTabSz="914400" rtl="0" eaLnBrk="1" latinLnBrk="0" hangingPunct="1">
        <a:lnSpc>
          <a:spcPct val="90000"/>
        </a:lnSpc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614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721225"/>
            <a:ext cx="274638" cy="334963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03824C7-B0FB-4055-9F74-D936E78513AE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55638" y="4716463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Orange restricted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91411" r:id="rId1"/>
    <p:sldLayoutId id="2147491412" r:id="rId2"/>
    <p:sldLayoutId id="2147491413" r:id="rId3"/>
    <p:sldLayoutId id="2147491414" r:id="rId4"/>
    <p:sldLayoutId id="2147491415" r:id="rId5"/>
    <p:sldLayoutId id="2147491416" r:id="rId6"/>
    <p:sldLayoutId id="2147491417" r:id="rId7"/>
    <p:sldLayoutId id="2147491418" r:id="rId8"/>
    <p:sldLayoutId id="2147491419" r:id="rId9"/>
    <p:sldLayoutId id="2147491420" r:id="rId10"/>
    <p:sldLayoutId id="2147491056" r:id="rId11"/>
    <p:sldLayoutId id="2147491421" r:id="rId12"/>
    <p:sldLayoutId id="2147491422" r:id="rId13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2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j-cs"/>
        </a:defRPr>
      </a:lvl1pPr>
      <a:lvl2pPr algn="l" defTabSz="512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2pPr>
      <a:lvl3pPr algn="l" defTabSz="512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3pPr>
      <a:lvl4pPr algn="l" defTabSz="512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4pPr>
      <a:lvl5pPr algn="l" defTabSz="512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5pPr>
      <a:lvl6pPr marL="457163" algn="l" defTabSz="514309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327" algn="l" defTabSz="514309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490" algn="l" defTabSz="514309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654" algn="l" defTabSz="514309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2763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n-cs"/>
        </a:defRPr>
      </a:lvl1pPr>
      <a:lvl2pPr algn="l" defTabSz="512763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2pPr>
      <a:lvl3pPr marL="131763" indent="-131763" algn="l" defTabSz="512763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6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3pPr>
      <a:lvl4pPr marL="269875" indent="-133350" algn="l" defTabSz="512763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4pPr>
      <a:lvl5pPr marL="404813" indent="-133350" algn="l" defTabSz="512763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2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5pPr>
      <a:lvl6pPr marL="1414350" indent="-128578" algn="l" defTabSz="514309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671504" indent="-128578" algn="l" defTabSz="514309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8659" indent="-128578" algn="l" defTabSz="514309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185813" indent="-128578" algn="l" defTabSz="514309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257155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14309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71463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618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285773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542927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800081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236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717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91423" r:id="rId1"/>
    <p:sldLayoutId id="2147491424" r:id="rId2"/>
    <p:sldLayoutId id="2147491425" r:id="rId3"/>
    <p:sldLayoutId id="2147491426" r:id="rId4"/>
    <p:sldLayoutId id="2147491427" r:id="rId5"/>
    <p:sldLayoutId id="2147491428" r:id="rId6"/>
    <p:sldLayoutId id="2147491429" r:id="rId7"/>
    <p:sldLayoutId id="2147491430" r:id="rId8"/>
    <p:sldLayoutId id="2147491431" r:id="rId9"/>
    <p:sldLayoutId id="2147491432" r:id="rId10"/>
    <p:sldLayoutId id="2147491433" r:id="rId11"/>
    <p:sldLayoutId id="2147491434" r:id="rId12"/>
    <p:sldLayoutId id="2147491057" r:id="rId13"/>
    <p:sldLayoutId id="2147491058" r:id="rId14"/>
    <p:sldLayoutId id="2147491059" r:id="rId15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2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j-cs"/>
        </a:defRPr>
      </a:lvl1pPr>
      <a:lvl2pPr algn="l" defTabSz="512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2pPr>
      <a:lvl3pPr algn="l" defTabSz="512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3pPr>
      <a:lvl4pPr algn="l" defTabSz="512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4pPr>
      <a:lvl5pPr algn="l" defTabSz="512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5pPr>
      <a:lvl6pPr marL="457163" algn="l" defTabSz="514309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327" algn="l" defTabSz="514309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490" algn="l" defTabSz="514309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654" algn="l" defTabSz="514309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2763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n-cs"/>
        </a:defRPr>
      </a:lvl1pPr>
      <a:lvl2pPr algn="l" defTabSz="512763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2pPr>
      <a:lvl3pPr marL="131763" indent="-131763" algn="l" defTabSz="512763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6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3pPr>
      <a:lvl4pPr marL="269875" indent="-133350" algn="l" defTabSz="512763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4pPr>
      <a:lvl5pPr marL="404813" indent="-133350" algn="l" defTabSz="512763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2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5pPr>
      <a:lvl6pPr marL="1414350" indent="-128578" algn="l" defTabSz="514309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671504" indent="-128578" algn="l" defTabSz="514309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8659" indent="-128578" algn="l" defTabSz="514309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185813" indent="-128578" algn="l" defTabSz="514309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257155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14309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71463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618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285773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542927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800081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236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quez ici pour saisir le titre principal</a:t>
            </a:r>
          </a:p>
        </p:txBody>
      </p:sp>
      <p:sp>
        <p:nvSpPr>
          <p:cNvPr id="819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Modifiez le texte du masque</a:t>
            </a:r>
          </a:p>
          <a:p>
            <a:pPr lvl="1"/>
            <a:r>
              <a:rPr lang="en-US" altLang="en-US" smtClean="0"/>
              <a:t>Deuxième niveau</a:t>
            </a:r>
          </a:p>
          <a:p>
            <a:pPr lvl="2"/>
            <a:r>
              <a:rPr lang="en-US" altLang="en-US" smtClean="0"/>
              <a:t>Troisième niveau</a:t>
            </a:r>
          </a:p>
          <a:p>
            <a:pPr lvl="3"/>
            <a:r>
              <a:rPr lang="en-US" altLang="en-US" smtClean="0"/>
              <a:t>Quatrième niveau</a:t>
            </a:r>
          </a:p>
          <a:p>
            <a:pPr lvl="4"/>
            <a:r>
              <a:rPr lang="en-US" altLang="en-US" smtClean="0"/>
              <a:t>Cinquième niveau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91435" r:id="rId1"/>
    <p:sldLayoutId id="2147491436" r:id="rId2"/>
    <p:sldLayoutId id="2147491437" r:id="rId3"/>
    <p:sldLayoutId id="2147491438" r:id="rId4"/>
    <p:sldLayoutId id="2147491439" r:id="rId5"/>
    <p:sldLayoutId id="2147491440" r:id="rId6"/>
    <p:sldLayoutId id="2147491441" r:id="rId7"/>
    <p:sldLayoutId id="2147491442" r:id="rId8"/>
    <p:sldLayoutId id="2147491443" r:id="rId9"/>
    <p:sldLayoutId id="2147491444" r:id="rId10"/>
    <p:sldLayoutId id="2147491445" r:id="rId11"/>
    <p:sldLayoutId id="2147491446" r:id="rId12"/>
    <p:sldLayoutId id="2147491447" r:id="rId13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2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j-cs"/>
        </a:defRPr>
      </a:lvl1pPr>
      <a:lvl2pPr algn="l" defTabSz="512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2pPr>
      <a:lvl3pPr algn="l" defTabSz="512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3pPr>
      <a:lvl4pPr algn="l" defTabSz="512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4pPr>
      <a:lvl5pPr algn="l" defTabSz="512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5pPr>
      <a:lvl6pPr marL="457163" algn="l" defTabSz="514309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327" algn="l" defTabSz="514309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490" algn="l" defTabSz="514309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654" algn="l" defTabSz="514309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2763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n-cs"/>
        </a:defRPr>
      </a:lvl1pPr>
      <a:lvl2pPr algn="l" defTabSz="512763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2pPr>
      <a:lvl3pPr marL="131763" indent="-131763" algn="l" defTabSz="512763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3pPr>
      <a:lvl4pPr marL="269875" indent="-133350" algn="l" defTabSz="512763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4pPr>
      <a:lvl5pPr marL="404813" indent="-133350" algn="l" defTabSz="512763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5pPr>
      <a:lvl6pPr marL="1414350" indent="-128578" algn="l" defTabSz="514309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671504" indent="-128578" algn="l" defTabSz="514309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8659" indent="-128578" algn="l" defTabSz="514309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185813" indent="-128578" algn="l" defTabSz="514309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257155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14309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71463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618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285773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542927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800081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236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t 1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0" name="Diapositive think-cell" r:id="rId16" imgW="360" imgH="360" progId="TCLayout.ActiveDocument.1">
                  <p:embed/>
                </p:oleObj>
              </mc:Choice>
              <mc:Fallback>
                <p:oleObj name="Diapositive think-cell" r:id="rId16" imgW="360" imgH="360" progId="TCLayout.ActiveDocument.1">
                  <p:embed/>
                  <p:pic>
                    <p:nvPicPr>
                      <p:cNvPr id="0" name="Obje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9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5"/>
            <a:ext cx="84709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Cliquez ici pour saisir le titre principal</a:t>
            </a:r>
          </a:p>
        </p:txBody>
      </p:sp>
      <p:sp>
        <p:nvSpPr>
          <p:cNvPr id="922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smtClean="0"/>
              <a:t>Modifiez le texte du masque</a:t>
            </a:r>
          </a:p>
          <a:p>
            <a:pPr lvl="1"/>
            <a:r>
              <a:rPr lang="fr-FR" altLang="en-US" smtClean="0"/>
              <a:t>Deuxième niveau</a:t>
            </a:r>
          </a:p>
          <a:p>
            <a:pPr lvl="2"/>
            <a:r>
              <a:rPr lang="fr-FR" altLang="en-US" smtClean="0"/>
              <a:t>Troisième niveau</a:t>
            </a:r>
          </a:p>
          <a:p>
            <a:pPr lvl="3"/>
            <a:r>
              <a:rPr lang="fr-FR" altLang="en-US" smtClean="0"/>
              <a:t>Quatrième niveau</a:t>
            </a:r>
          </a:p>
          <a:p>
            <a:pPr lvl="4"/>
            <a:r>
              <a:rPr lang="fr-FR" altLang="en-US" smtClean="0"/>
              <a:t>Cinquième niveau</a:t>
            </a:r>
            <a:endParaRPr lang="en-GB" altLang="en-US" smtClean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757738"/>
            <a:ext cx="274638" cy="33496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250F24F2-E108-4E34-AF72-6F46FEB1C916}" type="slidenum">
              <a:rPr lang="en-GB" sz="800">
                <a:solidFill>
                  <a:srgbClr val="000000"/>
                </a:solidFill>
                <a:latin typeface="Helvetica 45 Light" panose="020B0403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45 Light" panose="020B0403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55638" y="4752975"/>
            <a:ext cx="8151812" cy="339725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 err="1">
                <a:solidFill>
                  <a:srgbClr val="FF6600"/>
                </a:solidFill>
                <a:latin typeface="Helvetica 45 Light" panose="020B0403020202020204" pitchFamily="34" charset="0"/>
              </a:rPr>
              <a:t>confidentiel</a:t>
            </a:r>
            <a:r>
              <a:rPr lang="en-GB" sz="800">
                <a:solidFill>
                  <a:srgbClr val="FF6600"/>
                </a:solidFill>
                <a:latin typeface="Helvetica 45 Light" panose="020B0403020202020204" pitchFamily="34" charset="0"/>
              </a:rPr>
              <a:t> Orange</a:t>
            </a:r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91448" r:id="rId1"/>
    <p:sldLayoutId id="2147491060" r:id="rId2"/>
    <p:sldLayoutId id="2147491061" r:id="rId3"/>
    <p:sldLayoutId id="2147491062" r:id="rId4"/>
    <p:sldLayoutId id="2147491063" r:id="rId5"/>
    <p:sldLayoutId id="2147491064" r:id="rId6"/>
    <p:sldLayoutId id="2147491065" r:id="rId7"/>
    <p:sldLayoutId id="2147491066" r:id="rId8"/>
    <p:sldLayoutId id="2147491067" r:id="rId9"/>
    <p:sldLayoutId id="2147491068" r:id="rId10"/>
    <p:sldLayoutId id="2147491449" r:id="rId11"/>
    <p:sldLayoutId id="2147491069" r:id="rId12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512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j-cs"/>
        </a:defRPr>
      </a:lvl1pPr>
      <a:lvl2pPr algn="l" defTabSz="512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2pPr>
      <a:lvl3pPr algn="l" defTabSz="512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3pPr>
      <a:lvl4pPr algn="l" defTabSz="512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4pPr>
      <a:lvl5pPr algn="l" defTabSz="5127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5pPr>
      <a:lvl6pPr marL="457163" algn="l" defTabSz="514309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327" algn="l" defTabSz="514309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490" algn="l" defTabSz="514309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654" algn="l" defTabSz="514309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2763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n-cs"/>
        </a:defRPr>
      </a:lvl1pPr>
      <a:lvl2pPr algn="l" defTabSz="512763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2pPr>
      <a:lvl3pPr marL="131763" indent="-131763" algn="l" defTabSz="512763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3pPr>
      <a:lvl4pPr marL="269875" indent="-133350" algn="l" defTabSz="512763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4pPr>
      <a:lvl5pPr marL="404813" indent="-133350" algn="l" defTabSz="512763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5pPr>
      <a:lvl6pPr marL="1414350" indent="-128578" algn="l" defTabSz="514309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671504" indent="-128578" algn="l" defTabSz="514309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8659" indent="-128578" algn="l" defTabSz="514309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185813" indent="-128578" algn="l" defTabSz="514309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257155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14309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71463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618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285773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542927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800081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236" algn="l" defTabSz="514309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396.xml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69.xml"/><Relationship Id="rId4" Type="http://schemas.openxmlformats.org/officeDocument/2006/relationships/image" Target="../media/image20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9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3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6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j43zV0BmZNs" TargetMode="Externa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0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536.xml"/><Relationship Id="rId4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8946" name="Picture 6" descr="C:\Users\XEBX8380\Documents\Mes fichiers reçus\iStock-688980466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8947" name="ZoneTexte 1"/>
          <p:cNvSpPr txBox="1">
            <a:spLocks noChangeArrowheads="1"/>
          </p:cNvSpPr>
          <p:nvPr/>
        </p:nvSpPr>
        <p:spPr bwMode="auto">
          <a:xfrm>
            <a:off x="1314450" y="144463"/>
            <a:ext cx="6654800" cy="1138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fr-FR" altLang="fr-FR" sz="4400" b="1" dirty="0">
                <a:solidFill>
                  <a:srgbClr val="FF6600"/>
                </a:solidFill>
              </a:rPr>
              <a:t>IoT Connect Low Power</a:t>
            </a:r>
          </a:p>
          <a:p>
            <a:pPr algn="ctr"/>
            <a:r>
              <a:rPr lang="fr-FR" altLang="fr-FR" sz="2400" dirty="0" smtClean="0">
                <a:solidFill>
                  <a:srgbClr val="FFFFFF"/>
                </a:solidFill>
              </a:rPr>
              <a:t>Présentation Client – juin </a:t>
            </a:r>
            <a:r>
              <a:rPr lang="fr-FR" altLang="fr-FR" sz="2400" dirty="0">
                <a:solidFill>
                  <a:srgbClr val="FFFFFF"/>
                </a:solidFill>
              </a:rPr>
              <a:t>2018</a:t>
            </a:r>
          </a:p>
        </p:txBody>
      </p:sp>
      <p:pic>
        <p:nvPicPr>
          <p:cNvPr id="338948" name="Imag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8275" y="4227513"/>
            <a:ext cx="777875" cy="784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3929" y="1299605"/>
            <a:ext cx="1509836" cy="902328"/>
          </a:xfrm>
          <a:prstGeom prst="rect">
            <a:avLst/>
          </a:prstGeom>
          <a:noFill/>
          <a:ln>
            <a:noFill/>
          </a:ln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2286000" y="2571750"/>
            <a:ext cx="2286000" cy="2571750"/>
            <a:chOff x="2286000" y="2571750"/>
            <a:chExt cx="2286000" cy="2571750"/>
          </a:xfrm>
          <a:solidFill>
            <a:schemeClr val="bg1">
              <a:lumMod val="95000"/>
            </a:schemeClr>
          </a:solidFill>
        </p:grpSpPr>
        <p:sp>
          <p:nvSpPr>
            <p:cNvPr id="11" name="Rectangle 10"/>
            <p:cNvSpPr/>
            <p:nvPr/>
          </p:nvSpPr>
          <p:spPr>
            <a:xfrm>
              <a:off x="2286000" y="2571750"/>
              <a:ext cx="2286000" cy="257175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712788">
                <a:defRPr/>
              </a:pPr>
              <a:endParaRPr lang="en-GB" sz="1600" dirty="0">
                <a:solidFill>
                  <a:srgbClr val="000000"/>
                </a:solidFill>
              </a:endParaRPr>
            </a:p>
          </p:txBody>
        </p:sp>
        <p:grpSp>
          <p:nvGrpSpPr>
            <p:cNvPr id="12" name="Group 182"/>
            <p:cNvGrpSpPr>
              <a:grpSpLocks noChangeAspect="1"/>
            </p:cNvGrpSpPr>
            <p:nvPr/>
          </p:nvGrpSpPr>
          <p:grpSpPr bwMode="auto">
            <a:xfrm>
              <a:off x="3035059" y="3183354"/>
              <a:ext cx="788707" cy="1453695"/>
              <a:chOff x="2978" y="947"/>
              <a:chExt cx="969" cy="1786"/>
            </a:xfrm>
            <a:grpFill/>
          </p:grpSpPr>
          <p:sp>
            <p:nvSpPr>
              <p:cNvPr id="13" name="Freeform 184"/>
              <p:cNvSpPr>
                <a:spLocks/>
              </p:cNvSpPr>
              <p:nvPr/>
            </p:nvSpPr>
            <p:spPr bwMode="auto">
              <a:xfrm>
                <a:off x="2978" y="947"/>
                <a:ext cx="969" cy="1786"/>
              </a:xfrm>
              <a:custGeom>
                <a:avLst/>
                <a:gdLst>
                  <a:gd name="T0" fmla="*/ 336 w 336"/>
                  <a:gd name="T1" fmla="*/ 589 h 619"/>
                  <a:gd name="T2" fmla="*/ 306 w 336"/>
                  <a:gd name="T3" fmla="*/ 619 h 619"/>
                  <a:gd name="T4" fmla="*/ 29 w 336"/>
                  <a:gd name="T5" fmla="*/ 619 h 619"/>
                  <a:gd name="T6" fmla="*/ 0 w 336"/>
                  <a:gd name="T7" fmla="*/ 589 h 619"/>
                  <a:gd name="T8" fmla="*/ 0 w 336"/>
                  <a:gd name="T9" fmla="*/ 29 h 619"/>
                  <a:gd name="T10" fmla="*/ 29 w 336"/>
                  <a:gd name="T11" fmla="*/ 0 h 619"/>
                  <a:gd name="T12" fmla="*/ 306 w 336"/>
                  <a:gd name="T13" fmla="*/ 0 h 619"/>
                  <a:gd name="T14" fmla="*/ 336 w 336"/>
                  <a:gd name="T15" fmla="*/ 29 h 619"/>
                  <a:gd name="T16" fmla="*/ 336 w 336"/>
                  <a:gd name="T17" fmla="*/ 589 h 6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6" h="619">
                    <a:moveTo>
                      <a:pt x="336" y="589"/>
                    </a:moveTo>
                    <a:cubicBezTo>
                      <a:pt x="336" y="606"/>
                      <a:pt x="322" y="619"/>
                      <a:pt x="306" y="619"/>
                    </a:cubicBezTo>
                    <a:cubicBezTo>
                      <a:pt x="29" y="619"/>
                      <a:pt x="29" y="619"/>
                      <a:pt x="29" y="619"/>
                    </a:cubicBezTo>
                    <a:cubicBezTo>
                      <a:pt x="13" y="619"/>
                      <a:pt x="0" y="606"/>
                      <a:pt x="0" y="589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13"/>
                      <a:pt x="13" y="0"/>
                      <a:pt x="29" y="0"/>
                    </a:cubicBezTo>
                    <a:cubicBezTo>
                      <a:pt x="306" y="0"/>
                      <a:pt x="306" y="0"/>
                      <a:pt x="306" y="0"/>
                    </a:cubicBezTo>
                    <a:cubicBezTo>
                      <a:pt x="322" y="0"/>
                      <a:pt x="336" y="13"/>
                      <a:pt x="336" y="29"/>
                    </a:cubicBezTo>
                    <a:lnTo>
                      <a:pt x="336" y="58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712788">
                  <a:defRPr/>
                </a:pPr>
                <a:endParaRPr lang="en-GB" dirty="0">
                  <a:solidFill>
                    <a:srgbClr val="000000"/>
                  </a:solidFill>
                  <a:latin typeface="Helvetica 75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14" name="Rectangle 185"/>
              <p:cNvSpPr>
                <a:spLocks noChangeArrowheads="1"/>
              </p:cNvSpPr>
              <p:nvPr/>
            </p:nvSpPr>
            <p:spPr bwMode="auto">
              <a:xfrm>
                <a:off x="3038" y="1091"/>
                <a:ext cx="846" cy="1321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712788">
                  <a:defRPr/>
                </a:pPr>
                <a:endParaRPr lang="en-GB" dirty="0">
                  <a:solidFill>
                    <a:srgbClr val="000000"/>
                  </a:solidFill>
                  <a:latin typeface="Helvetica 75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15" name="Rectangle 186"/>
              <p:cNvSpPr>
                <a:spLocks noChangeArrowheads="1"/>
              </p:cNvSpPr>
              <p:nvPr/>
            </p:nvSpPr>
            <p:spPr bwMode="auto">
              <a:xfrm>
                <a:off x="3388" y="2482"/>
                <a:ext cx="150" cy="1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712788">
                  <a:defRPr/>
                </a:pPr>
                <a:endParaRPr lang="en-GB" dirty="0">
                  <a:solidFill>
                    <a:srgbClr val="000000"/>
                  </a:solidFill>
                  <a:latin typeface="Helvetica 75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16" name="Line 187"/>
              <p:cNvSpPr>
                <a:spLocks noChangeShapeType="1"/>
              </p:cNvSpPr>
              <p:nvPr/>
            </p:nvSpPr>
            <p:spPr bwMode="auto">
              <a:xfrm>
                <a:off x="3884" y="2251"/>
                <a:ext cx="0" cy="0"/>
              </a:xfrm>
              <a:prstGeom prst="line">
                <a:avLst/>
              </a:prstGeom>
              <a:grpFill/>
              <a:ln w="4763" cap="flat">
                <a:solidFill>
                  <a:srgbClr val="9C9B9C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defTabSz="712788">
                  <a:defRPr/>
                </a:pPr>
                <a:endParaRPr lang="en-GB" dirty="0">
                  <a:solidFill>
                    <a:srgbClr val="000000"/>
                  </a:solidFill>
                  <a:latin typeface="Helvetica 75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17" name="Line 188"/>
              <p:cNvSpPr>
                <a:spLocks noChangeShapeType="1"/>
              </p:cNvSpPr>
              <p:nvPr/>
            </p:nvSpPr>
            <p:spPr bwMode="auto">
              <a:xfrm>
                <a:off x="3038" y="2251"/>
                <a:ext cx="0" cy="0"/>
              </a:xfrm>
              <a:prstGeom prst="line">
                <a:avLst/>
              </a:prstGeom>
              <a:grpFill/>
              <a:ln w="4763" cap="flat">
                <a:solidFill>
                  <a:srgbClr val="9C9B9C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/>
              <a:lstStyle/>
              <a:p>
                <a:pPr defTabSz="712788">
                  <a:defRPr/>
                </a:pPr>
                <a:endParaRPr lang="en-GB" dirty="0">
                  <a:solidFill>
                    <a:srgbClr val="000000"/>
                  </a:solidFill>
                  <a:latin typeface="Helvetica 75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18" name="Freeform 189"/>
              <p:cNvSpPr>
                <a:spLocks/>
              </p:cNvSpPr>
              <p:nvPr/>
            </p:nvSpPr>
            <p:spPr bwMode="auto">
              <a:xfrm>
                <a:off x="3174" y="1345"/>
                <a:ext cx="606" cy="739"/>
              </a:xfrm>
              <a:custGeom>
                <a:avLst/>
                <a:gdLst>
                  <a:gd name="T0" fmla="*/ 606 w 606"/>
                  <a:gd name="T1" fmla="*/ 698 h 739"/>
                  <a:gd name="T2" fmla="*/ 606 w 606"/>
                  <a:gd name="T3" fmla="*/ 739 h 739"/>
                  <a:gd name="T4" fmla="*/ 0 w 606"/>
                  <a:gd name="T5" fmla="*/ 739 h 739"/>
                  <a:gd name="T6" fmla="*/ 0 w 606"/>
                  <a:gd name="T7" fmla="*/ 0 h 739"/>
                  <a:gd name="T8" fmla="*/ 40 w 606"/>
                  <a:gd name="T9" fmla="*/ 0 h 739"/>
                  <a:gd name="T10" fmla="*/ 40 w 606"/>
                  <a:gd name="T11" fmla="*/ 698 h 739"/>
                  <a:gd name="T12" fmla="*/ 606 w 606"/>
                  <a:gd name="T13" fmla="*/ 698 h 7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6" h="739">
                    <a:moveTo>
                      <a:pt x="606" y="698"/>
                    </a:moveTo>
                    <a:lnTo>
                      <a:pt x="606" y="739"/>
                    </a:lnTo>
                    <a:lnTo>
                      <a:pt x="0" y="739"/>
                    </a:lnTo>
                    <a:lnTo>
                      <a:pt x="0" y="0"/>
                    </a:lnTo>
                    <a:lnTo>
                      <a:pt x="40" y="0"/>
                    </a:lnTo>
                    <a:lnTo>
                      <a:pt x="40" y="698"/>
                    </a:lnTo>
                    <a:lnTo>
                      <a:pt x="606" y="69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712788">
                  <a:defRPr/>
                </a:pPr>
                <a:endParaRPr lang="en-GB" dirty="0">
                  <a:solidFill>
                    <a:srgbClr val="000000"/>
                  </a:solidFill>
                  <a:latin typeface="Helvetica 75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19" name="Rectangle 190"/>
              <p:cNvSpPr>
                <a:spLocks noChangeArrowheads="1"/>
              </p:cNvSpPr>
              <p:nvPr/>
            </p:nvSpPr>
            <p:spPr bwMode="auto">
              <a:xfrm>
                <a:off x="3235" y="1671"/>
                <a:ext cx="40" cy="35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712788">
                  <a:defRPr/>
                </a:pPr>
                <a:endParaRPr lang="en-GB" dirty="0">
                  <a:solidFill>
                    <a:srgbClr val="000000"/>
                  </a:solidFill>
                  <a:latin typeface="Helvetica 75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20" name="Rectangle 191"/>
              <p:cNvSpPr>
                <a:spLocks noChangeArrowheads="1"/>
              </p:cNvSpPr>
              <p:nvPr/>
            </p:nvSpPr>
            <p:spPr bwMode="auto">
              <a:xfrm>
                <a:off x="3298" y="1778"/>
                <a:ext cx="69" cy="24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712788">
                  <a:defRPr/>
                </a:pPr>
                <a:endParaRPr lang="en-GB" dirty="0">
                  <a:solidFill>
                    <a:srgbClr val="000000"/>
                  </a:solidFill>
                  <a:latin typeface="Helvetica 75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21" name="Rectangle 192"/>
              <p:cNvSpPr>
                <a:spLocks noChangeArrowheads="1"/>
              </p:cNvSpPr>
              <p:nvPr/>
            </p:nvSpPr>
            <p:spPr bwMode="auto">
              <a:xfrm>
                <a:off x="3465" y="1677"/>
                <a:ext cx="67" cy="34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712788">
                  <a:defRPr/>
                </a:pPr>
                <a:endParaRPr lang="en-GB" dirty="0">
                  <a:solidFill>
                    <a:srgbClr val="000000"/>
                  </a:solidFill>
                  <a:latin typeface="Helvetica 75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22" name="Rectangle 193"/>
              <p:cNvSpPr>
                <a:spLocks noChangeArrowheads="1"/>
              </p:cNvSpPr>
              <p:nvPr/>
            </p:nvSpPr>
            <p:spPr bwMode="auto">
              <a:xfrm>
                <a:off x="3630" y="1466"/>
                <a:ext cx="69" cy="56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712788">
                  <a:defRPr/>
                </a:pPr>
                <a:endParaRPr lang="en-GB" dirty="0">
                  <a:solidFill>
                    <a:srgbClr val="000000"/>
                  </a:solidFill>
                  <a:latin typeface="Helvetica 75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23" name="Rectangle 194"/>
              <p:cNvSpPr>
                <a:spLocks noChangeArrowheads="1"/>
              </p:cNvSpPr>
              <p:nvPr/>
            </p:nvSpPr>
            <p:spPr bwMode="auto">
              <a:xfrm>
                <a:off x="3399" y="1466"/>
                <a:ext cx="43" cy="56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712788">
                  <a:defRPr/>
                </a:pPr>
                <a:endParaRPr lang="en-GB" dirty="0">
                  <a:solidFill>
                    <a:srgbClr val="000000"/>
                  </a:solidFill>
                  <a:latin typeface="Helvetica 75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24" name="Rectangle 195"/>
              <p:cNvSpPr>
                <a:spLocks noChangeArrowheads="1"/>
              </p:cNvSpPr>
              <p:nvPr/>
            </p:nvSpPr>
            <p:spPr bwMode="auto">
              <a:xfrm>
                <a:off x="3566" y="1550"/>
                <a:ext cx="41" cy="4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712788">
                  <a:defRPr/>
                </a:pPr>
                <a:endParaRPr lang="en-GB" dirty="0">
                  <a:solidFill>
                    <a:srgbClr val="000000"/>
                  </a:solidFill>
                  <a:latin typeface="Helvetica 75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25" name="Rectangle 196"/>
              <p:cNvSpPr>
                <a:spLocks noChangeArrowheads="1"/>
              </p:cNvSpPr>
              <p:nvPr/>
            </p:nvSpPr>
            <p:spPr bwMode="auto">
              <a:xfrm>
                <a:off x="3731" y="1380"/>
                <a:ext cx="43" cy="64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712788">
                  <a:defRPr/>
                </a:pPr>
                <a:endParaRPr lang="en-GB" dirty="0">
                  <a:solidFill>
                    <a:srgbClr val="000000"/>
                  </a:solidFill>
                  <a:latin typeface="Helvetica 75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26" name="Oval 197"/>
              <p:cNvSpPr>
                <a:spLocks noChangeArrowheads="1"/>
              </p:cNvSpPr>
              <p:nvPr/>
            </p:nvSpPr>
            <p:spPr bwMode="auto">
              <a:xfrm>
                <a:off x="3122" y="2098"/>
                <a:ext cx="29" cy="2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712788">
                  <a:defRPr/>
                </a:pPr>
                <a:endParaRPr lang="en-GB" dirty="0">
                  <a:solidFill>
                    <a:srgbClr val="000000"/>
                  </a:solidFill>
                  <a:latin typeface="Helvetica 75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27" name="Oval 198"/>
              <p:cNvSpPr>
                <a:spLocks noChangeArrowheads="1"/>
              </p:cNvSpPr>
              <p:nvPr/>
            </p:nvSpPr>
            <p:spPr bwMode="auto">
              <a:xfrm>
                <a:off x="3122" y="2014"/>
                <a:ext cx="29" cy="2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712788">
                  <a:defRPr/>
                </a:pPr>
                <a:endParaRPr lang="en-GB" dirty="0">
                  <a:solidFill>
                    <a:srgbClr val="000000"/>
                  </a:solidFill>
                  <a:latin typeface="Helvetica 75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28" name="Oval 199"/>
              <p:cNvSpPr>
                <a:spLocks noChangeArrowheads="1"/>
              </p:cNvSpPr>
              <p:nvPr/>
            </p:nvSpPr>
            <p:spPr bwMode="auto">
              <a:xfrm>
                <a:off x="3122" y="1931"/>
                <a:ext cx="29" cy="28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712788">
                  <a:defRPr/>
                </a:pPr>
                <a:endParaRPr lang="en-GB" dirty="0">
                  <a:solidFill>
                    <a:srgbClr val="000000"/>
                  </a:solidFill>
                  <a:latin typeface="Helvetica 75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29" name="Oval 200"/>
              <p:cNvSpPr>
                <a:spLocks noChangeArrowheads="1"/>
              </p:cNvSpPr>
              <p:nvPr/>
            </p:nvSpPr>
            <p:spPr bwMode="auto">
              <a:xfrm>
                <a:off x="3122" y="1850"/>
                <a:ext cx="29" cy="26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712788">
                  <a:defRPr/>
                </a:pPr>
                <a:endParaRPr lang="en-GB" dirty="0">
                  <a:solidFill>
                    <a:srgbClr val="000000"/>
                  </a:solidFill>
                  <a:latin typeface="Helvetica 75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30" name="Oval 201"/>
              <p:cNvSpPr>
                <a:spLocks noChangeArrowheads="1"/>
              </p:cNvSpPr>
              <p:nvPr/>
            </p:nvSpPr>
            <p:spPr bwMode="auto">
              <a:xfrm>
                <a:off x="3122" y="1766"/>
                <a:ext cx="29" cy="26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712788">
                  <a:defRPr/>
                </a:pPr>
                <a:endParaRPr lang="en-GB" dirty="0">
                  <a:solidFill>
                    <a:srgbClr val="000000"/>
                  </a:solidFill>
                  <a:latin typeface="Helvetica 75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31" name="Oval 202"/>
              <p:cNvSpPr>
                <a:spLocks noChangeArrowheads="1"/>
              </p:cNvSpPr>
              <p:nvPr/>
            </p:nvSpPr>
            <p:spPr bwMode="auto">
              <a:xfrm>
                <a:off x="3122" y="1683"/>
                <a:ext cx="29" cy="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712788">
                  <a:defRPr/>
                </a:pPr>
                <a:endParaRPr lang="en-GB" dirty="0">
                  <a:solidFill>
                    <a:srgbClr val="000000"/>
                  </a:solidFill>
                  <a:latin typeface="Helvetica 75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32" name="Oval 203"/>
              <p:cNvSpPr>
                <a:spLocks noChangeArrowheads="1"/>
              </p:cNvSpPr>
              <p:nvPr/>
            </p:nvSpPr>
            <p:spPr bwMode="auto">
              <a:xfrm>
                <a:off x="3122" y="1599"/>
                <a:ext cx="29" cy="2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712788">
                  <a:defRPr/>
                </a:pPr>
                <a:endParaRPr lang="en-GB" dirty="0">
                  <a:solidFill>
                    <a:srgbClr val="000000"/>
                  </a:solidFill>
                  <a:latin typeface="Helvetica 75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33" name="Oval 204"/>
              <p:cNvSpPr>
                <a:spLocks noChangeArrowheads="1"/>
              </p:cNvSpPr>
              <p:nvPr/>
            </p:nvSpPr>
            <p:spPr bwMode="auto">
              <a:xfrm>
                <a:off x="3122" y="1515"/>
                <a:ext cx="29" cy="2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712788">
                  <a:defRPr/>
                </a:pPr>
                <a:endParaRPr lang="en-GB" dirty="0">
                  <a:solidFill>
                    <a:srgbClr val="000000"/>
                  </a:solidFill>
                  <a:latin typeface="Helvetica 75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34" name="Oval 205"/>
              <p:cNvSpPr>
                <a:spLocks noChangeArrowheads="1"/>
              </p:cNvSpPr>
              <p:nvPr/>
            </p:nvSpPr>
            <p:spPr bwMode="auto">
              <a:xfrm>
                <a:off x="3122" y="1434"/>
                <a:ext cx="29" cy="26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712788">
                  <a:defRPr/>
                </a:pPr>
                <a:endParaRPr lang="en-GB" dirty="0">
                  <a:solidFill>
                    <a:srgbClr val="000000"/>
                  </a:solidFill>
                  <a:latin typeface="Helvetica 75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35" name="Oval 206"/>
              <p:cNvSpPr>
                <a:spLocks noChangeArrowheads="1"/>
              </p:cNvSpPr>
              <p:nvPr/>
            </p:nvSpPr>
            <p:spPr bwMode="auto">
              <a:xfrm>
                <a:off x="3122" y="1351"/>
                <a:ext cx="29" cy="26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712788">
                  <a:defRPr/>
                </a:pPr>
                <a:endParaRPr lang="en-GB" dirty="0">
                  <a:solidFill>
                    <a:srgbClr val="000000"/>
                  </a:solidFill>
                  <a:latin typeface="Helvetica 75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36" name="Oval 207"/>
              <p:cNvSpPr>
                <a:spLocks noChangeArrowheads="1"/>
              </p:cNvSpPr>
              <p:nvPr/>
            </p:nvSpPr>
            <p:spPr bwMode="auto">
              <a:xfrm>
                <a:off x="3206" y="2098"/>
                <a:ext cx="29" cy="2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712788">
                  <a:defRPr/>
                </a:pPr>
                <a:endParaRPr lang="en-GB" dirty="0">
                  <a:solidFill>
                    <a:srgbClr val="000000"/>
                  </a:solidFill>
                  <a:latin typeface="Helvetica 75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37" name="Oval 208"/>
              <p:cNvSpPr>
                <a:spLocks noChangeArrowheads="1"/>
              </p:cNvSpPr>
              <p:nvPr/>
            </p:nvSpPr>
            <p:spPr bwMode="auto">
              <a:xfrm>
                <a:off x="3289" y="2098"/>
                <a:ext cx="29" cy="2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712788">
                  <a:defRPr/>
                </a:pPr>
                <a:endParaRPr lang="en-GB" dirty="0">
                  <a:solidFill>
                    <a:srgbClr val="000000"/>
                  </a:solidFill>
                  <a:latin typeface="Helvetica 75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38" name="Oval 209"/>
              <p:cNvSpPr>
                <a:spLocks noChangeArrowheads="1"/>
              </p:cNvSpPr>
              <p:nvPr/>
            </p:nvSpPr>
            <p:spPr bwMode="auto">
              <a:xfrm>
                <a:off x="3373" y="2098"/>
                <a:ext cx="26" cy="2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712788">
                  <a:defRPr/>
                </a:pPr>
                <a:endParaRPr lang="en-GB" dirty="0">
                  <a:solidFill>
                    <a:srgbClr val="000000"/>
                  </a:solidFill>
                  <a:latin typeface="Helvetica 75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39" name="Oval 210"/>
              <p:cNvSpPr>
                <a:spLocks noChangeArrowheads="1"/>
              </p:cNvSpPr>
              <p:nvPr/>
            </p:nvSpPr>
            <p:spPr bwMode="auto">
              <a:xfrm>
                <a:off x="3454" y="2098"/>
                <a:ext cx="29" cy="2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712788">
                  <a:defRPr/>
                </a:pPr>
                <a:endParaRPr lang="en-GB" dirty="0">
                  <a:solidFill>
                    <a:srgbClr val="000000"/>
                  </a:solidFill>
                  <a:latin typeface="Helvetica 75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40" name="Oval 211"/>
              <p:cNvSpPr>
                <a:spLocks noChangeArrowheads="1"/>
              </p:cNvSpPr>
              <p:nvPr/>
            </p:nvSpPr>
            <p:spPr bwMode="auto">
              <a:xfrm>
                <a:off x="3538" y="2098"/>
                <a:ext cx="28" cy="2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712788">
                  <a:defRPr/>
                </a:pPr>
                <a:endParaRPr lang="en-GB" dirty="0">
                  <a:solidFill>
                    <a:srgbClr val="000000"/>
                  </a:solidFill>
                  <a:latin typeface="Helvetica 75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41" name="Oval 212"/>
              <p:cNvSpPr>
                <a:spLocks noChangeArrowheads="1"/>
              </p:cNvSpPr>
              <p:nvPr/>
            </p:nvSpPr>
            <p:spPr bwMode="auto">
              <a:xfrm>
                <a:off x="3621" y="2098"/>
                <a:ext cx="29" cy="2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712788">
                  <a:defRPr/>
                </a:pPr>
                <a:endParaRPr lang="en-GB" dirty="0">
                  <a:solidFill>
                    <a:srgbClr val="000000"/>
                  </a:solidFill>
                  <a:latin typeface="Helvetica 75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42" name="Oval 213"/>
              <p:cNvSpPr>
                <a:spLocks noChangeArrowheads="1"/>
              </p:cNvSpPr>
              <p:nvPr/>
            </p:nvSpPr>
            <p:spPr bwMode="auto">
              <a:xfrm>
                <a:off x="3705" y="2098"/>
                <a:ext cx="26" cy="2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712788">
                  <a:defRPr/>
                </a:pPr>
                <a:endParaRPr lang="en-GB" dirty="0">
                  <a:solidFill>
                    <a:srgbClr val="000000"/>
                  </a:solidFill>
                  <a:latin typeface="Helvetica 75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43" name="Oval 214"/>
              <p:cNvSpPr>
                <a:spLocks noChangeArrowheads="1"/>
              </p:cNvSpPr>
              <p:nvPr/>
            </p:nvSpPr>
            <p:spPr bwMode="auto">
              <a:xfrm>
                <a:off x="3789" y="2098"/>
                <a:ext cx="25" cy="29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712788">
                  <a:defRPr/>
                </a:pPr>
                <a:endParaRPr lang="en-GB" dirty="0">
                  <a:solidFill>
                    <a:srgbClr val="000000"/>
                  </a:solidFill>
                  <a:latin typeface="Helvetica 75" pitchFamily="34" charset="0"/>
                  <a:ea typeface="ＭＳ Ｐゴシック" pitchFamily="34" charset="-128"/>
                </a:endParaRPr>
              </a:p>
            </p:txBody>
          </p:sp>
        </p:grpSp>
      </p:grpSp>
      <p:sp>
        <p:nvSpPr>
          <p:cNvPr id="44" name="Content Placeholder 3"/>
          <p:cNvSpPr txBox="1">
            <a:spLocks/>
          </p:cNvSpPr>
          <p:nvPr/>
        </p:nvSpPr>
        <p:spPr>
          <a:xfrm>
            <a:off x="4572000" y="2571750"/>
            <a:ext cx="2286000" cy="2571750"/>
          </a:xfrm>
          <a:prstGeom prst="rect">
            <a:avLst/>
          </a:prstGeom>
          <a:solidFill>
            <a:schemeClr val="tx1"/>
          </a:solidFill>
        </p:spPr>
        <p:txBody>
          <a:bodyPr lIns="180000" tIns="144000" rIns="180000" bIns="18000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kern="1200" spc="-20" baseline="0">
                <a:solidFill>
                  <a:schemeClr val="bg2"/>
                </a:solidFill>
                <a:latin typeface="Helvetica 75 Bold" panose="020B08040202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kern="1200" spc="-20" baseline="0">
                <a:solidFill>
                  <a:schemeClr val="tx1"/>
                </a:solidFill>
                <a:latin typeface="Helvetica 75 Bold" panose="020B0804020202020204" pitchFamily="34" charset="0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 spc="-20" baseline="0">
                <a:solidFill>
                  <a:schemeClr val="tx1"/>
                </a:solidFill>
                <a:latin typeface="Helvetica 75 Bold" panose="020B0804020202020204" pitchFamily="34" charset="0"/>
                <a:ea typeface="+mn-ea"/>
                <a:cs typeface="+mn-cs"/>
              </a:defRPr>
            </a:lvl3pPr>
            <a:lvl4pPr marL="357188" indent="-176213" algn="l" defTabSz="914400" rtl="0" eaLnBrk="1" latinLnBrk="0" hangingPunct="1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 kern="1200" spc="-20" baseline="0">
                <a:solidFill>
                  <a:schemeClr val="tx1"/>
                </a:solidFill>
                <a:latin typeface="Helvetica 55 Roman" panose="000B0500000000000000" pitchFamily="34" charset="0"/>
                <a:ea typeface="+mn-ea"/>
                <a:cs typeface="+mn-cs"/>
              </a:defRPr>
            </a:lvl4pPr>
            <a:lvl5pPr marL="538163" indent="-180975" algn="l" defTabSz="914400" rtl="0" eaLnBrk="1" latinLnBrk="0" hangingPunct="1">
              <a:lnSpc>
                <a:spcPct val="90000"/>
              </a:lnSpc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 kern="1200" spc="-20" baseline="0">
                <a:solidFill>
                  <a:schemeClr val="tx1"/>
                </a:solidFill>
                <a:latin typeface="Helvetica 55 Roman" panose="000B0500000000000000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defRPr/>
            </a:pPr>
            <a:r>
              <a:rPr lang="en-GB" sz="2000" dirty="0">
                <a:solidFill>
                  <a:srgbClr val="FF6600"/>
                </a:solidFill>
              </a:rPr>
              <a:t>Option de couverture</a:t>
            </a:r>
          </a:p>
          <a:p>
            <a:pPr marL="285750" lvl="1" indent="-285750">
              <a:buFont typeface="Wingdings" panose="05000000000000000000" pitchFamily="2" charset="2"/>
              <a:buChar char="§"/>
              <a:defRPr/>
            </a:pPr>
            <a:r>
              <a:rPr lang="fr-FR" dirty="0">
                <a:solidFill>
                  <a:srgbClr val="FFFFFF"/>
                </a:solidFill>
              </a:rPr>
              <a:t>Frais de mise en service</a:t>
            </a:r>
          </a:p>
          <a:p>
            <a:pPr marL="285750" lvl="1" indent="-285750">
              <a:buFont typeface="Wingdings" panose="05000000000000000000" pitchFamily="2" charset="2"/>
              <a:buChar char="§"/>
              <a:defRPr/>
            </a:pPr>
            <a:r>
              <a:rPr lang="fr-FR" dirty="0" smtClean="0">
                <a:solidFill>
                  <a:srgbClr val="FFFFFF"/>
                </a:solidFill>
              </a:rPr>
              <a:t>Abonnement mensuel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5" name="Content Placeholder 3"/>
          <p:cNvSpPr txBox="1">
            <a:spLocks/>
          </p:cNvSpPr>
          <p:nvPr/>
        </p:nvSpPr>
        <p:spPr>
          <a:xfrm>
            <a:off x="6858000" y="2571750"/>
            <a:ext cx="2286000" cy="257175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180000" tIns="182880" rIns="180000" bIns="18000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kern="1200" spc="-20" baseline="0">
                <a:solidFill>
                  <a:schemeClr val="bg2"/>
                </a:solidFill>
                <a:latin typeface="Helvetica 75 Bold" panose="020B08040202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kern="1200" spc="-20" baseline="0">
                <a:solidFill>
                  <a:schemeClr val="tx1"/>
                </a:solidFill>
                <a:latin typeface="Helvetica 75 Bold" panose="020B0804020202020204" pitchFamily="34" charset="0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 spc="-20" baseline="0">
                <a:solidFill>
                  <a:schemeClr val="tx1"/>
                </a:solidFill>
                <a:latin typeface="Helvetica 75 Bold" panose="020B0804020202020204" pitchFamily="34" charset="0"/>
                <a:ea typeface="+mn-ea"/>
                <a:cs typeface="+mn-cs"/>
              </a:defRPr>
            </a:lvl3pPr>
            <a:lvl4pPr marL="357188" indent="-176213" algn="l" defTabSz="914400" rtl="0" eaLnBrk="1" latinLnBrk="0" hangingPunct="1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 kern="1200" spc="-20" baseline="0">
                <a:solidFill>
                  <a:schemeClr val="tx1"/>
                </a:solidFill>
                <a:latin typeface="Helvetica 55 Roman" panose="000B0500000000000000" pitchFamily="34" charset="0"/>
                <a:ea typeface="+mn-ea"/>
                <a:cs typeface="+mn-cs"/>
              </a:defRPr>
            </a:lvl4pPr>
            <a:lvl5pPr marL="538163" indent="-180975" algn="l" defTabSz="914400" rtl="0" eaLnBrk="1" latinLnBrk="0" hangingPunct="1">
              <a:lnSpc>
                <a:spcPct val="90000"/>
              </a:lnSpc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 kern="1200" spc="-20" baseline="0">
                <a:solidFill>
                  <a:schemeClr val="tx1"/>
                </a:solidFill>
                <a:latin typeface="Helvetica 55 Roman" panose="000B0500000000000000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Couverture Site Express  IoT</a:t>
            </a:r>
          </a:p>
          <a:p>
            <a:pPr lvl="2">
              <a:buClr>
                <a:srgbClr val="FFFFFF"/>
              </a:buClr>
              <a:defRPr/>
            </a:pPr>
            <a:endParaRPr lang="fr-FR" sz="200" dirty="0" smtClean="0">
              <a:solidFill>
                <a:srgbClr val="000000"/>
              </a:solidFill>
            </a:endParaRPr>
          </a:p>
          <a:p>
            <a:pPr lvl="2">
              <a:buClr>
                <a:srgbClr val="FFFFFF"/>
              </a:buClr>
              <a:defRPr/>
            </a:pPr>
            <a:r>
              <a:rPr lang="fr-FR" sz="1200" dirty="0" smtClean="0">
                <a:solidFill>
                  <a:srgbClr val="000000"/>
                </a:solidFill>
              </a:rPr>
              <a:t>Utiliser </a:t>
            </a:r>
            <a:r>
              <a:rPr lang="fr-FR" sz="1200" dirty="0">
                <a:solidFill>
                  <a:srgbClr val="000000"/>
                </a:solidFill>
              </a:rPr>
              <a:t>directement notre réseau de technologie LoRa® , </a:t>
            </a:r>
          </a:p>
          <a:p>
            <a:pPr lvl="2">
              <a:buClr>
                <a:srgbClr val="FFFFFF"/>
              </a:buClr>
              <a:defRPr/>
            </a:pPr>
            <a:r>
              <a:rPr lang="fr-FR" sz="1200" dirty="0">
                <a:solidFill>
                  <a:srgbClr val="000000"/>
                </a:solidFill>
              </a:rPr>
              <a:t>En complément de couverture pour des projets clients,  par exemple en indoor.</a:t>
            </a:r>
          </a:p>
        </p:txBody>
      </p:sp>
      <p:sp>
        <p:nvSpPr>
          <p:cNvPr id="46" name="Rectangle 45"/>
          <p:cNvSpPr/>
          <p:nvPr/>
        </p:nvSpPr>
        <p:spPr>
          <a:xfrm>
            <a:off x="-6350" y="0"/>
            <a:ext cx="4578350" cy="2446338"/>
          </a:xfrm>
          <a:prstGeom prst="rect">
            <a:avLst/>
          </a:prstGeom>
        </p:spPr>
        <p:txBody>
          <a:bodyPr lIns="164592" tIns="182880" rIns="182880" bIns="219456">
            <a:spAutoFit/>
          </a:bodyPr>
          <a:lstStyle/>
          <a:p>
            <a:pPr defTabSz="712788">
              <a:lnSpc>
                <a:spcPct val="85000"/>
              </a:lnSpc>
              <a:defRPr/>
            </a:pPr>
            <a:r>
              <a:rPr lang="fr-FR" altLang="fr-FR" sz="6000" dirty="0">
                <a:solidFill>
                  <a:srgbClr val="FF6600"/>
                </a:solidFill>
                <a:latin typeface="Helvetica 75" pitchFamily="34" charset="0"/>
                <a:ea typeface="ＭＳ Ｐゴシック" pitchFamily="34" charset="-128"/>
              </a:rPr>
              <a:t>L’offre </a:t>
            </a:r>
          </a:p>
          <a:p>
            <a:pPr defTabSz="712788">
              <a:lnSpc>
                <a:spcPct val="85000"/>
              </a:lnSpc>
              <a:defRPr/>
            </a:pPr>
            <a:r>
              <a:rPr lang="fr-FR" altLang="fr-FR" sz="4800" dirty="0">
                <a:solidFill>
                  <a:srgbClr val="000000"/>
                </a:solidFill>
                <a:latin typeface="Helvetica 75" pitchFamily="34" charset="0"/>
                <a:ea typeface="ＭＳ Ｐゴシック" pitchFamily="34" charset="-128"/>
              </a:rPr>
              <a:t>IoT Connect Low Power </a:t>
            </a:r>
            <a:endParaRPr lang="en-GB" sz="4800" spc="-20" dirty="0">
              <a:solidFill>
                <a:srgbClr val="000000"/>
              </a:solidFill>
              <a:latin typeface="Helvetica 75 Bold" panose="020B0804020202020204" pitchFamily="34" charset="0"/>
              <a:ea typeface="ＭＳ Ｐゴシック" pitchFamily="34" charset="-128"/>
            </a:endParaRPr>
          </a:p>
        </p:txBody>
      </p:sp>
      <p:pic>
        <p:nvPicPr>
          <p:cNvPr id="356358" name="Picture 4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0"/>
            <a:ext cx="4572000" cy="2571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Content Placeholder 3"/>
          <p:cNvSpPr txBox="1">
            <a:spLocks/>
          </p:cNvSpPr>
          <p:nvPr/>
        </p:nvSpPr>
        <p:spPr>
          <a:xfrm>
            <a:off x="0" y="2571750"/>
            <a:ext cx="2771775" cy="2571750"/>
          </a:xfrm>
          <a:prstGeom prst="rect">
            <a:avLst/>
          </a:prstGeom>
          <a:solidFill>
            <a:schemeClr val="tx1"/>
          </a:solidFill>
        </p:spPr>
        <p:txBody>
          <a:bodyPr lIns="180000" tIns="146304" rIns="180000" bIns="18000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kern="1200" spc="-20" baseline="0">
                <a:solidFill>
                  <a:schemeClr val="bg2"/>
                </a:solidFill>
                <a:latin typeface="Helvetica 75 Bold" panose="020B08040202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kern="1200" spc="-20" baseline="0">
                <a:solidFill>
                  <a:schemeClr val="tx1"/>
                </a:solidFill>
                <a:latin typeface="Helvetica 75 Bold" panose="020B0804020202020204" pitchFamily="34" charset="0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 spc="-20" baseline="0">
                <a:solidFill>
                  <a:schemeClr val="tx1"/>
                </a:solidFill>
                <a:latin typeface="Helvetica 75 Bold" panose="020B0804020202020204" pitchFamily="34" charset="0"/>
                <a:ea typeface="+mn-ea"/>
                <a:cs typeface="+mn-cs"/>
              </a:defRPr>
            </a:lvl3pPr>
            <a:lvl4pPr marL="357188" indent="-176213" algn="l" defTabSz="914400" rtl="0" eaLnBrk="1" latinLnBrk="0" hangingPunct="1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 kern="1200" spc="-20" baseline="0">
                <a:solidFill>
                  <a:schemeClr val="tx1"/>
                </a:solidFill>
                <a:latin typeface="Helvetica 55 Roman" panose="000B0500000000000000" pitchFamily="34" charset="0"/>
                <a:ea typeface="+mn-ea"/>
                <a:cs typeface="+mn-cs"/>
              </a:defRPr>
            </a:lvl4pPr>
            <a:lvl5pPr marL="538163" indent="-180975" algn="l" defTabSz="914400" rtl="0" eaLnBrk="1" latinLnBrk="0" hangingPunct="1">
              <a:lnSpc>
                <a:spcPct val="90000"/>
              </a:lnSpc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 kern="1200" spc="-20" baseline="0">
                <a:solidFill>
                  <a:schemeClr val="tx1"/>
                </a:solidFill>
                <a:latin typeface="Helvetica 55 Roman" panose="000B0500000000000000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defRPr/>
            </a:pPr>
            <a:r>
              <a:rPr lang="en-GB" sz="2000" dirty="0" smtClean="0">
                <a:solidFill>
                  <a:srgbClr val="FF6600"/>
                </a:solidFill>
              </a:rPr>
              <a:t>Abonnement</a:t>
            </a:r>
          </a:p>
          <a:p>
            <a:pPr marL="171450" lvl="1" indent="-171450">
              <a:buFont typeface="Wingdings" panose="05000000000000000000" pitchFamily="2" charset="2"/>
              <a:buChar char="§"/>
              <a:defRPr/>
            </a:pPr>
            <a:r>
              <a:rPr lang="fr-FR" sz="1050" dirty="0">
                <a:solidFill>
                  <a:srgbClr val="FFFFFF"/>
                </a:solidFill>
              </a:rPr>
              <a:t>Connectivité et mise à disposition des données brutes sur </a:t>
            </a:r>
            <a:r>
              <a:rPr lang="fr-FR" sz="1050" dirty="0" smtClean="0">
                <a:solidFill>
                  <a:srgbClr val="FFFFFF"/>
                </a:solidFill>
              </a:rPr>
              <a:t>la plate-forme Live Objects</a:t>
            </a:r>
            <a:endParaRPr lang="fr-FR" sz="1050" dirty="0">
              <a:solidFill>
                <a:srgbClr val="FFFFFF"/>
              </a:solidFill>
            </a:endParaRPr>
          </a:p>
          <a:p>
            <a:pPr marL="171450" lvl="1" indent="-171450">
              <a:buFont typeface="Wingdings" panose="05000000000000000000" pitchFamily="2" charset="2"/>
              <a:buChar char="§"/>
              <a:defRPr/>
            </a:pPr>
            <a:r>
              <a:rPr lang="fr-FR" sz="1050" dirty="0">
                <a:solidFill>
                  <a:srgbClr val="FFFFFF"/>
                </a:solidFill>
              </a:rPr>
              <a:t>Messages montants illimités (dans le respect du </a:t>
            </a:r>
            <a:r>
              <a:rPr lang="fr-FR" sz="1050" dirty="0" smtClean="0">
                <a:solidFill>
                  <a:srgbClr val="FFFFFF"/>
                </a:solidFill>
              </a:rPr>
              <a:t>Duty Cycle).</a:t>
            </a:r>
            <a:endParaRPr lang="fr-FR" sz="1050" dirty="0">
              <a:solidFill>
                <a:srgbClr val="FFFFFF"/>
              </a:solidFill>
            </a:endParaRPr>
          </a:p>
          <a:p>
            <a:pPr marL="171450" lvl="1" indent="-171450">
              <a:buFont typeface="Wingdings" panose="05000000000000000000" pitchFamily="2" charset="2"/>
              <a:buChar char="§"/>
              <a:defRPr/>
            </a:pPr>
            <a:r>
              <a:rPr lang="fr-FR" sz="1050" dirty="0">
                <a:solidFill>
                  <a:srgbClr val="FFFFFF"/>
                </a:solidFill>
              </a:rPr>
              <a:t>Facturation à l’acte des messages </a:t>
            </a:r>
            <a:r>
              <a:rPr lang="fr-FR" sz="1050" dirty="0" smtClean="0">
                <a:solidFill>
                  <a:srgbClr val="FFFFFF"/>
                </a:solidFill>
              </a:rPr>
              <a:t>descendants</a:t>
            </a:r>
            <a:endParaRPr lang="fr-FR" sz="1050" dirty="0">
              <a:solidFill>
                <a:srgbClr val="FFFFFF"/>
              </a:solidFill>
            </a:endParaRPr>
          </a:p>
          <a:p>
            <a:pPr marL="171450" lvl="1" indent="-171450">
              <a:buFont typeface="Wingdings" panose="05000000000000000000" pitchFamily="2" charset="2"/>
              <a:buChar char="§"/>
              <a:defRPr/>
            </a:pPr>
            <a:r>
              <a:rPr lang="fr-FR" sz="1050" dirty="0">
                <a:solidFill>
                  <a:srgbClr val="FFFFFF"/>
                </a:solidFill>
              </a:rPr>
              <a:t>Historisation des données du client pendant 1 an</a:t>
            </a:r>
          </a:p>
        </p:txBody>
      </p:sp>
      <p:sp>
        <p:nvSpPr>
          <p:cNvPr id="2" name="Triangle rectangle 1"/>
          <p:cNvSpPr/>
          <p:nvPr/>
        </p:nvSpPr>
        <p:spPr>
          <a:xfrm rot="13498676">
            <a:off x="2086627" y="3465513"/>
            <a:ext cx="687387" cy="685800"/>
          </a:xfrm>
          <a:prstGeom prst="rt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2673">
              <a:defRPr/>
            </a:pPr>
            <a:endParaRPr lang="fr-FR" dirty="0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836863" y="3059113"/>
            <a:ext cx="1735137" cy="1569660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 defTabSz="712673">
              <a:buFont typeface="Wingdings" panose="05000000000000000000" pitchFamily="2" charset="2"/>
              <a:buChar char="§"/>
              <a:defRPr/>
            </a:pPr>
            <a:r>
              <a:rPr lang="fr-FR" sz="1200" spc="-20" dirty="0">
                <a:solidFill>
                  <a:srgbClr val="000000"/>
                </a:solidFill>
                <a:latin typeface="Helvetica 75 Bold" panose="020B0804020202020204" pitchFamily="34" charset="0"/>
              </a:rPr>
              <a:t>Abonnement </a:t>
            </a:r>
            <a:r>
              <a:rPr lang="fr-FR" sz="1200" spc="-20" dirty="0" smtClean="0">
                <a:solidFill>
                  <a:srgbClr val="000000"/>
                </a:solidFill>
                <a:latin typeface="Helvetica 75 Bold" panose="020B0804020202020204" pitchFamily="34" charset="0"/>
              </a:rPr>
              <a:t>mensuel</a:t>
            </a:r>
          </a:p>
          <a:p>
            <a:pPr marL="285750" indent="-285750" defTabSz="712673">
              <a:buFont typeface="Wingdings" panose="05000000000000000000" pitchFamily="2" charset="2"/>
              <a:buChar char="§"/>
              <a:defRPr/>
            </a:pPr>
            <a:endParaRPr lang="fr-FR" sz="1200" spc="-20" dirty="0">
              <a:solidFill>
                <a:srgbClr val="000000"/>
              </a:solidFill>
              <a:latin typeface="Helvetica 75 Bold" panose="020B0804020202020204" pitchFamily="34" charset="0"/>
            </a:endParaRPr>
          </a:p>
          <a:p>
            <a:pPr marL="285750" indent="-285750" defTabSz="712673">
              <a:buFont typeface="Wingdings" panose="05000000000000000000" pitchFamily="2" charset="2"/>
              <a:buChar char="§"/>
              <a:defRPr/>
            </a:pPr>
            <a:r>
              <a:rPr lang="fr-FR" sz="1200" spc="-20" dirty="0">
                <a:solidFill>
                  <a:srgbClr val="000000"/>
                </a:solidFill>
                <a:latin typeface="Helvetica 75 Bold" panose="020B0804020202020204" pitchFamily="34" charset="0"/>
              </a:rPr>
              <a:t>Prix avec engagement 12/24/36 mois,</a:t>
            </a:r>
          </a:p>
          <a:p>
            <a:pPr marL="285750" indent="-285750" defTabSz="712673">
              <a:buClr>
                <a:srgbClr val="FFFFFF"/>
              </a:buClr>
              <a:buFont typeface="Wingdings" panose="05000000000000000000" pitchFamily="2" charset="2"/>
              <a:buChar char="§"/>
              <a:defRPr/>
            </a:pPr>
            <a:r>
              <a:rPr lang="fr-FR" sz="1200" spc="-20" dirty="0">
                <a:solidFill>
                  <a:srgbClr val="000000"/>
                </a:solidFill>
                <a:latin typeface="Helvetica 75 Bold" panose="020B0804020202020204" pitchFamily="34" charset="0"/>
              </a:rPr>
              <a:t>ou sans engagement</a:t>
            </a:r>
          </a:p>
        </p:txBody>
      </p:sp>
      <p:sp>
        <p:nvSpPr>
          <p:cNvPr id="47" name="Triangle rectangle 46"/>
          <p:cNvSpPr/>
          <p:nvPr/>
        </p:nvSpPr>
        <p:spPr>
          <a:xfrm rot="13498676">
            <a:off x="6154194" y="3484563"/>
            <a:ext cx="685800" cy="685800"/>
          </a:xfrm>
          <a:prstGeom prst="rt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2673">
              <a:defRPr/>
            </a:pPr>
            <a:endParaRPr lang="fr-FR" dirty="0">
              <a:solidFill>
                <a:srgbClr val="FFFFFF"/>
              </a:solidFill>
            </a:endParaRPr>
          </a:p>
        </p:txBody>
      </p:sp>
      <p:pic>
        <p:nvPicPr>
          <p:cNvPr id="48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0352" y="339502"/>
            <a:ext cx="745629" cy="445613"/>
          </a:xfrm>
          <a:prstGeom prst="rect">
            <a:avLst/>
          </a:prstGeom>
          <a:noFill/>
          <a:ln>
            <a:noFill/>
          </a:ln>
          <a:effectLst>
            <a:softEdge rad="3175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9426" name="Titre 1"/>
          <p:cNvSpPr>
            <a:spLocks noGrp="1"/>
          </p:cNvSpPr>
          <p:nvPr>
            <p:ph type="title"/>
          </p:nvPr>
        </p:nvSpPr>
        <p:spPr>
          <a:xfrm>
            <a:off x="339725" y="263525"/>
            <a:ext cx="8470900" cy="620713"/>
          </a:xfrm>
        </p:spPr>
        <p:txBody>
          <a:bodyPr/>
          <a:lstStyle/>
          <a:p>
            <a:pPr eaLnBrk="1" hangingPunct="1">
              <a:spcAft>
                <a:spcPct val="0"/>
              </a:spcAft>
            </a:pPr>
            <a:r>
              <a:rPr lang="fr-FR" altLang="fr-FR" sz="2400" dirty="0" smtClean="0"/>
              <a:t>Tarifs</a:t>
            </a:r>
            <a:br>
              <a:rPr lang="fr-FR" altLang="fr-FR" sz="2400" dirty="0" smtClean="0"/>
            </a:br>
            <a:endParaRPr lang="fr-FR" altLang="fr-FR" dirty="0" smtClean="0">
              <a:solidFill>
                <a:srgbClr val="8F8F8F"/>
              </a:solidFill>
              <a:latin typeface="Helvetica 55 Roman" pitchFamily="34" charset="0"/>
            </a:endParaRPr>
          </a:p>
        </p:txBody>
      </p:sp>
      <p:sp>
        <p:nvSpPr>
          <p:cNvPr id="3" name="Espace réservé du contenu 3"/>
          <p:cNvSpPr txBox="1">
            <a:spLocks/>
          </p:cNvSpPr>
          <p:nvPr/>
        </p:nvSpPr>
        <p:spPr bwMode="auto">
          <a:xfrm>
            <a:off x="17160" y="555526"/>
            <a:ext cx="8947328" cy="24933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D6D6D6"/>
            </a:solidFill>
            <a:miter lim="800000"/>
            <a:headEnd/>
            <a:tailEnd/>
          </a:ln>
        </p:spPr>
        <p:txBody>
          <a:bodyPr lIns="144000" tIns="72000" rIns="144000" bIns="72000" anchor="ctr"/>
          <a:lstStyle/>
          <a:p>
            <a:pPr marL="171450" indent="-171450" defTabSz="712788">
              <a:spcBef>
                <a:spcPts val="1200"/>
              </a:spcBef>
              <a:spcAft>
                <a:spcPts val="0"/>
              </a:spcAft>
              <a:buClr>
                <a:srgbClr val="FF6600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fr-FR" sz="1200" dirty="0" smtClean="0">
                <a:solidFill>
                  <a:srgbClr val="000000"/>
                </a:solidFill>
                <a:latin typeface="Helvetica 55 Roman" panose="020B0604020202020204" pitchFamily="34" charset="0"/>
                <a:ea typeface="ＭＳ Ｐゴシック" pitchFamily="34" charset="-128"/>
                <a:cs typeface="+mn-cs"/>
              </a:rPr>
              <a:t>Un </a:t>
            </a:r>
            <a:r>
              <a:rPr lang="fr-FR" sz="1200" dirty="0">
                <a:solidFill>
                  <a:srgbClr val="000000"/>
                </a:solidFill>
                <a:latin typeface="Helvetica 55 Roman" panose="020B0604020202020204" pitchFamily="34" charset="0"/>
                <a:ea typeface="ＭＳ Ｐゴシック" pitchFamily="34" charset="-128"/>
                <a:cs typeface="+mn-cs"/>
              </a:rPr>
              <a:t>tarif intégrant la connectivité de la technologie LoRa® </a:t>
            </a:r>
            <a:r>
              <a:rPr lang="fr-FR" sz="1200" dirty="0" smtClean="0">
                <a:solidFill>
                  <a:srgbClr val="000000"/>
                </a:solidFill>
                <a:latin typeface="Helvetica 55 Roman" panose="020B0604020202020204" pitchFamily="34" charset="0"/>
                <a:ea typeface="ＭＳ Ｐゴシック" pitchFamily="34" charset="-128"/>
                <a:cs typeface="+mn-cs"/>
              </a:rPr>
              <a:t>et </a:t>
            </a:r>
            <a:r>
              <a:rPr lang="fr-FR" sz="1200" dirty="0">
                <a:solidFill>
                  <a:srgbClr val="000000"/>
                </a:solidFill>
                <a:latin typeface="Helvetica 55 Roman" panose="020B0604020202020204" pitchFamily="34" charset="0"/>
                <a:ea typeface="ＭＳ Ｐゴシック" pitchFamily="34" charset="-128"/>
                <a:cs typeface="+mn-cs"/>
              </a:rPr>
              <a:t>la mise à disposition des données brutes sur Live </a:t>
            </a:r>
            <a:r>
              <a:rPr lang="fr-FR" sz="1200" dirty="0" smtClean="0">
                <a:solidFill>
                  <a:srgbClr val="000000"/>
                </a:solidFill>
                <a:latin typeface="Helvetica 55 Roman" panose="020B0604020202020204" pitchFamily="34" charset="0"/>
                <a:ea typeface="ＭＳ Ｐゴシック" pitchFamily="34" charset="-128"/>
                <a:cs typeface="+mn-cs"/>
              </a:rPr>
              <a:t>Objects.</a:t>
            </a:r>
            <a:r>
              <a:rPr lang="fr-FR" sz="1200" dirty="0">
                <a:solidFill>
                  <a:srgbClr val="000000"/>
                </a:solidFill>
                <a:latin typeface="Helvetica 55 Roman" panose="020B0604020202020204" pitchFamily="34" charset="0"/>
                <a:ea typeface="ＭＳ Ｐゴシック" pitchFamily="34" charset="-128"/>
                <a:cs typeface="+mn-cs"/>
              </a:rPr>
              <a:t/>
            </a:r>
            <a:br>
              <a:rPr lang="fr-FR" sz="1200" dirty="0">
                <a:solidFill>
                  <a:srgbClr val="000000"/>
                </a:solidFill>
                <a:latin typeface="Helvetica 55 Roman" panose="020B0604020202020204" pitchFamily="34" charset="0"/>
                <a:ea typeface="ＭＳ Ｐゴシック" pitchFamily="34" charset="-128"/>
                <a:cs typeface="+mn-cs"/>
              </a:rPr>
            </a:br>
            <a:endParaRPr lang="fr-FR" sz="200" dirty="0">
              <a:solidFill>
                <a:srgbClr val="000000"/>
              </a:solidFill>
              <a:latin typeface="Helvetica 55 Roman" panose="020B0604020202020204" pitchFamily="34" charset="0"/>
              <a:ea typeface="ＭＳ Ｐゴシック" pitchFamily="34" charset="-128"/>
              <a:cs typeface="+mn-cs"/>
            </a:endParaRPr>
          </a:p>
          <a:p>
            <a:pPr marL="171450" indent="-171450" defTabSz="712788">
              <a:spcBef>
                <a:spcPts val="1200"/>
              </a:spcBef>
              <a:spcAft>
                <a:spcPts val="0"/>
              </a:spcAft>
              <a:buClr>
                <a:srgbClr val="FF6600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Helvetica 55 Roman" panose="020B0604020202020204" pitchFamily="34" charset="0"/>
                <a:ea typeface="ＭＳ Ｐゴシック" pitchFamily="34" charset="-128"/>
                <a:cs typeface="+mn-cs"/>
              </a:rPr>
              <a:t>Un abonnement mensuel par </a:t>
            </a:r>
            <a:r>
              <a:rPr lang="fr-FR" sz="1200" dirty="0" smtClean="0">
                <a:solidFill>
                  <a:srgbClr val="000000"/>
                </a:solidFill>
                <a:latin typeface="Helvetica 55 Roman" panose="020B0604020202020204" pitchFamily="34" charset="0"/>
                <a:ea typeface="ＭＳ Ｐゴシック" pitchFamily="34" charset="-128"/>
                <a:cs typeface="+mn-cs"/>
              </a:rPr>
              <a:t>objet, </a:t>
            </a:r>
            <a:r>
              <a:rPr lang="fr-FR" sz="1200" dirty="0">
                <a:solidFill>
                  <a:srgbClr val="000000"/>
                </a:solidFill>
                <a:latin typeface="Helvetica 55 Roman" panose="020B0604020202020204" pitchFamily="34" charset="0"/>
                <a:ea typeface="ＭＳ Ｐゴシック" pitchFamily="34" charset="-128"/>
                <a:cs typeface="+mn-cs"/>
              </a:rPr>
              <a:t>intégrant un nombre de messages montants illimité dans le respect du duty cycle  (sens de l’Objet vers le réseau). </a:t>
            </a:r>
            <a:br>
              <a:rPr lang="fr-FR" sz="1200" dirty="0">
                <a:solidFill>
                  <a:srgbClr val="000000"/>
                </a:solidFill>
                <a:latin typeface="Helvetica 55 Roman" panose="020B0604020202020204" pitchFamily="34" charset="0"/>
                <a:ea typeface="ＭＳ Ｐゴシック" pitchFamily="34" charset="-128"/>
                <a:cs typeface="+mn-cs"/>
              </a:rPr>
            </a:br>
            <a:endParaRPr lang="fr-FR" sz="200" dirty="0">
              <a:solidFill>
                <a:srgbClr val="000000"/>
              </a:solidFill>
              <a:latin typeface="Helvetica 55 Roman" panose="020B0604020202020204" pitchFamily="34" charset="0"/>
              <a:ea typeface="ＭＳ Ｐゴシック" pitchFamily="34" charset="-128"/>
              <a:cs typeface="+mn-cs"/>
            </a:endParaRPr>
          </a:p>
          <a:p>
            <a:pPr marL="171450" indent="-171450" defTabSz="712788">
              <a:spcBef>
                <a:spcPts val="1200"/>
              </a:spcBef>
              <a:spcAft>
                <a:spcPts val="0"/>
              </a:spcAft>
              <a:buClr>
                <a:srgbClr val="FF6600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Helvetica 55 Roman" panose="020B0604020202020204" pitchFamily="34" charset="0"/>
                <a:ea typeface="ＭＳ Ｐゴシック" pitchFamily="34" charset="-128"/>
                <a:cs typeface="+mn-cs"/>
              </a:rPr>
              <a:t>En complément, une facturation à l’usage d’envoi de commandes vers les </a:t>
            </a:r>
            <a:r>
              <a:rPr lang="fr-FR" sz="1200" dirty="0" smtClean="0">
                <a:solidFill>
                  <a:srgbClr val="000000"/>
                </a:solidFill>
                <a:latin typeface="Helvetica 55 Roman" panose="020B0604020202020204" pitchFamily="34" charset="0"/>
                <a:ea typeface="ＭＳ Ｐゴシック" pitchFamily="34" charset="-128"/>
                <a:cs typeface="+mn-cs"/>
              </a:rPr>
              <a:t>objets (</a:t>
            </a:r>
            <a:r>
              <a:rPr lang="fr-FR" sz="1200" dirty="0">
                <a:solidFill>
                  <a:srgbClr val="000000"/>
                </a:solidFill>
                <a:latin typeface="Helvetica 55 Roman" panose="020B0604020202020204" pitchFamily="34" charset="0"/>
                <a:ea typeface="ＭＳ Ｐゴシック" pitchFamily="34" charset="-128"/>
                <a:cs typeface="+mn-cs"/>
              </a:rPr>
              <a:t>sens descendant du réseau vers l’Objet).</a:t>
            </a:r>
            <a:br>
              <a:rPr lang="fr-FR" sz="1200" dirty="0">
                <a:solidFill>
                  <a:srgbClr val="000000"/>
                </a:solidFill>
                <a:latin typeface="Helvetica 55 Roman" panose="020B0604020202020204" pitchFamily="34" charset="0"/>
                <a:ea typeface="ＭＳ Ｐゴシック" pitchFamily="34" charset="-128"/>
                <a:cs typeface="+mn-cs"/>
              </a:rPr>
            </a:br>
            <a:endParaRPr lang="fr-FR" sz="100" dirty="0">
              <a:solidFill>
                <a:srgbClr val="000000"/>
              </a:solidFill>
              <a:latin typeface="Helvetica 55 Roman" panose="020B0604020202020204" pitchFamily="34" charset="0"/>
              <a:ea typeface="ＭＳ Ｐゴシック" pitchFamily="34" charset="-128"/>
              <a:cs typeface="+mn-cs"/>
            </a:endParaRPr>
          </a:p>
          <a:p>
            <a:pPr marL="171450" indent="-171450" defTabSz="712788">
              <a:spcBef>
                <a:spcPts val="1200"/>
              </a:spcBef>
              <a:spcAft>
                <a:spcPts val="0"/>
              </a:spcAft>
              <a:buClr>
                <a:srgbClr val="FF6600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Helvetica 55 Roman" panose="020B0604020202020204" pitchFamily="34" charset="0"/>
                <a:ea typeface="ＭＳ Ｐゴシック" pitchFamily="34" charset="-128"/>
                <a:cs typeface="+mn-cs"/>
              </a:rPr>
              <a:t>Une historisation des données du client pendant 1 </a:t>
            </a:r>
            <a:r>
              <a:rPr lang="fr-FR" sz="1200" dirty="0" smtClean="0">
                <a:solidFill>
                  <a:srgbClr val="000000"/>
                </a:solidFill>
                <a:latin typeface="Helvetica 55 Roman" panose="020B0604020202020204" pitchFamily="34" charset="0"/>
                <a:ea typeface="ＭＳ Ｐゴシック" pitchFamily="34" charset="-128"/>
                <a:cs typeface="+mn-cs"/>
              </a:rPr>
              <a:t>an</a:t>
            </a:r>
            <a:endParaRPr lang="fr-FR" sz="1200" dirty="0">
              <a:solidFill>
                <a:srgbClr val="000000"/>
              </a:solidFill>
              <a:latin typeface="Helvetica 55 Roman" panose="020B0604020202020204" pitchFamily="34" charset="0"/>
              <a:ea typeface="ＭＳ Ｐゴシック" pitchFamily="34" charset="-128"/>
              <a:cs typeface="+mn-cs"/>
            </a:endParaRPr>
          </a:p>
          <a:p>
            <a:pPr marL="171450" indent="-171450" defTabSz="712788">
              <a:spcBef>
                <a:spcPts val="1200"/>
              </a:spcBef>
              <a:spcAft>
                <a:spcPts val="0"/>
              </a:spcAft>
              <a:buClr>
                <a:srgbClr val="FF6600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fr-FR" sz="1200" dirty="0">
                <a:solidFill>
                  <a:srgbClr val="000000"/>
                </a:solidFill>
                <a:latin typeface="Helvetica 55 Roman" panose="020B0604020202020204" pitchFamily="34" charset="0"/>
                <a:ea typeface="ＭＳ Ｐゴシック" pitchFamily="34" charset="-128"/>
                <a:cs typeface="+mn-cs"/>
              </a:rPr>
              <a:t>Un prix avec engagement 12/24/36 mois, ou sans engagement , avec une facturation globale.</a:t>
            </a:r>
          </a:p>
        </p:txBody>
      </p:sp>
      <p:sp>
        <p:nvSpPr>
          <p:cNvPr id="6" name="ZoneTexte 5"/>
          <p:cNvSpPr txBox="1"/>
          <p:nvPr/>
        </p:nvSpPr>
        <p:spPr bwMode="gray">
          <a:xfrm>
            <a:off x="3233313" y="3184380"/>
            <a:ext cx="2447925" cy="576064"/>
          </a:xfrm>
          <a:prstGeom prst="rect">
            <a:avLst/>
          </a:prstGeom>
          <a:solidFill>
            <a:schemeClr val="accent4"/>
          </a:solidFill>
          <a:ln w="25400" cap="flat" cmpd="sng" algn="ctr">
            <a:solidFill>
              <a:schemeClr val="accent4"/>
            </a:solidFill>
            <a:prstDash val="solid"/>
          </a:ln>
          <a:effectLst/>
        </p:spPr>
        <p:txBody>
          <a:bodyPr lIns="720000" anchor="ctr"/>
          <a:lstStyle>
            <a:defPPr>
              <a:defRPr lang="en-GB"/>
            </a:defPPr>
            <a:lvl1pPr lvl="0" fontAlgn="auto">
              <a:spcBef>
                <a:spcPts val="0"/>
              </a:spcBef>
              <a:spcAft>
                <a:spcPts val="0"/>
              </a:spcAft>
              <a:defRPr b="1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defRPr/>
            </a:pPr>
            <a:r>
              <a:rPr lang="fr-FR" dirty="0">
                <a:solidFill>
                  <a:schemeClr val="bg1"/>
                </a:solidFill>
                <a:cs typeface="+mn-cs"/>
              </a:rPr>
              <a:t>36 mois</a:t>
            </a:r>
            <a:endParaRPr lang="fr-FR" b="0" dirty="0">
              <a:solidFill>
                <a:schemeClr val="bg1"/>
              </a:solidFill>
              <a:cs typeface="+mn-cs"/>
            </a:endParaRPr>
          </a:p>
          <a:p>
            <a:pPr fontAlgn="t">
              <a:defRPr/>
            </a:pPr>
            <a:r>
              <a:rPr lang="fr-FR" dirty="0">
                <a:solidFill>
                  <a:schemeClr val="tx1"/>
                </a:solidFill>
                <a:cs typeface="+mn-cs"/>
              </a:rPr>
              <a:t>1 € / mois</a:t>
            </a:r>
          </a:p>
        </p:txBody>
      </p:sp>
      <p:sp>
        <p:nvSpPr>
          <p:cNvPr id="359429" name="ZoneTexte 6"/>
          <p:cNvSpPr txBox="1">
            <a:spLocks noChangeArrowheads="1"/>
          </p:cNvSpPr>
          <p:nvPr/>
        </p:nvSpPr>
        <p:spPr bwMode="gray">
          <a:xfrm>
            <a:off x="619497" y="3863923"/>
            <a:ext cx="2447925" cy="514351"/>
          </a:xfrm>
          <a:prstGeom prst="rect">
            <a:avLst/>
          </a:prstGeom>
          <a:solidFill>
            <a:schemeClr val="accent2"/>
          </a:solidFill>
          <a:ln w="25400" algn="ctr">
            <a:solidFill>
              <a:schemeClr val="accent2"/>
            </a:solidFill>
            <a:miter lim="800000"/>
            <a:headEnd/>
            <a:tailEnd/>
          </a:ln>
        </p:spPr>
        <p:txBody>
          <a:bodyPr lIns="720000" anchor="ctr"/>
          <a:lstStyle/>
          <a:p>
            <a:r>
              <a:rPr lang="fr-FR" altLang="fr-FR" b="1" dirty="0">
                <a:solidFill>
                  <a:schemeClr val="bg1"/>
                </a:solidFill>
                <a:latin typeface="Helvetica 55 Roman" pitchFamily="34" charset="0"/>
              </a:rPr>
              <a:t>24 mois</a:t>
            </a:r>
            <a:endParaRPr lang="fr-FR" altLang="fr-FR" sz="1600" dirty="0">
              <a:solidFill>
                <a:schemeClr val="bg1"/>
              </a:solidFill>
              <a:latin typeface="Arial" pitchFamily="34" charset="0"/>
            </a:endParaRPr>
          </a:p>
          <a:p>
            <a:pPr fontAlgn="t"/>
            <a:r>
              <a:rPr lang="fr-FR" altLang="fr-FR" dirty="0">
                <a:latin typeface="Helvetica 55 Roman" pitchFamily="34" charset="0"/>
              </a:rPr>
              <a:t>1,2 € / mois</a:t>
            </a:r>
            <a:endParaRPr lang="fr-FR" altLang="fr-FR" sz="1600" dirty="0">
              <a:latin typeface="Arial" pitchFamily="34" charset="0"/>
            </a:endParaRPr>
          </a:p>
        </p:txBody>
      </p:sp>
      <p:sp>
        <p:nvSpPr>
          <p:cNvPr id="359430" name="ZoneTexte 7"/>
          <p:cNvSpPr txBox="1">
            <a:spLocks noChangeArrowheads="1"/>
          </p:cNvSpPr>
          <p:nvPr/>
        </p:nvSpPr>
        <p:spPr bwMode="gray">
          <a:xfrm>
            <a:off x="3233314" y="3863924"/>
            <a:ext cx="2447925" cy="514351"/>
          </a:xfrm>
          <a:prstGeom prst="rect">
            <a:avLst/>
          </a:prstGeom>
          <a:solidFill>
            <a:schemeClr val="accent1"/>
          </a:solidFill>
          <a:ln w="25400" algn="ctr">
            <a:solidFill>
              <a:schemeClr val="accent1"/>
            </a:solidFill>
            <a:miter lim="800000"/>
            <a:headEnd/>
            <a:tailEnd/>
          </a:ln>
        </p:spPr>
        <p:txBody>
          <a:bodyPr lIns="720000" anchor="ctr"/>
          <a:lstStyle/>
          <a:p>
            <a:pPr fontAlgn="t"/>
            <a:r>
              <a:rPr lang="fr-FR" altLang="fr-FR" b="1" dirty="0">
                <a:solidFill>
                  <a:schemeClr val="bg1"/>
                </a:solidFill>
              </a:rPr>
              <a:t>12 mois</a:t>
            </a:r>
            <a:endParaRPr lang="fr-FR" altLang="fr-FR" dirty="0">
              <a:solidFill>
                <a:schemeClr val="bg1"/>
              </a:solidFill>
            </a:endParaRPr>
          </a:p>
          <a:p>
            <a:pPr fontAlgn="t"/>
            <a:r>
              <a:rPr lang="fr-FR" altLang="fr-FR" dirty="0"/>
              <a:t>1,5 € / mois</a:t>
            </a:r>
          </a:p>
        </p:txBody>
      </p:sp>
      <p:sp>
        <p:nvSpPr>
          <p:cNvPr id="10" name="ZoneTexte 9"/>
          <p:cNvSpPr txBox="1"/>
          <p:nvPr/>
        </p:nvSpPr>
        <p:spPr bwMode="gray">
          <a:xfrm>
            <a:off x="5851228" y="3850790"/>
            <a:ext cx="2447925" cy="514352"/>
          </a:xfrm>
          <a:prstGeom prst="rect">
            <a:avLst/>
          </a:prstGeom>
          <a:solidFill>
            <a:srgbClr val="FFC000"/>
          </a:solidFill>
          <a:ln w="25400" cap="flat" cmpd="sng" algn="ctr">
            <a:solidFill>
              <a:schemeClr val="accent6"/>
            </a:solidFill>
            <a:prstDash val="solid"/>
          </a:ln>
          <a:effectLst/>
        </p:spPr>
        <p:txBody>
          <a:bodyPr lIns="720000" anchor="ctr"/>
          <a:lstStyle>
            <a:defPPr>
              <a:defRPr lang="en-GB"/>
            </a:defPPr>
            <a:lvl1pPr lvl="0" fontAlgn="auto">
              <a:spcBef>
                <a:spcPts val="0"/>
              </a:spcBef>
              <a:spcAft>
                <a:spcPts val="0"/>
              </a:spcAft>
              <a:defRPr b="1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fontAlgn="t">
              <a:defRPr/>
            </a:pPr>
            <a:r>
              <a:rPr lang="fr-FR" dirty="0">
                <a:solidFill>
                  <a:schemeClr val="bg1"/>
                </a:solidFill>
                <a:cs typeface="+mn-cs"/>
              </a:rPr>
              <a:t>sans engagement</a:t>
            </a:r>
            <a:endParaRPr lang="fr-FR" b="0" dirty="0">
              <a:solidFill>
                <a:schemeClr val="bg1"/>
              </a:solidFill>
              <a:cs typeface="+mn-cs"/>
            </a:endParaRPr>
          </a:p>
          <a:p>
            <a:pPr fontAlgn="t">
              <a:defRPr/>
            </a:pPr>
            <a:r>
              <a:rPr lang="fr-FR" b="0" dirty="0">
                <a:solidFill>
                  <a:schemeClr val="tx1"/>
                </a:solidFill>
                <a:cs typeface="+mn-cs"/>
              </a:rPr>
              <a:t>2 € / moi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619497" y="4497388"/>
            <a:ext cx="7675563" cy="461962"/>
          </a:xfrm>
          <a:prstGeom prst="rect">
            <a:avLst/>
          </a:prstGeom>
          <a:solidFill>
            <a:srgbClr val="FFFFFF">
              <a:lumMod val="85000"/>
            </a:srgbClr>
          </a:solidFill>
        </p:spPr>
        <p:txBody>
          <a:bodyPr>
            <a:spAutoFit/>
          </a:bodyPr>
          <a:lstStyle/>
          <a:p>
            <a:pPr algn="ctr" defTabSz="7126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kern="0" dirty="0">
                <a:solidFill>
                  <a:srgbClr val="FF6600"/>
                </a:solidFill>
                <a:latin typeface="Helvetica 55 Roman" panose="020B0604020202020204" pitchFamily="34" charset="0"/>
                <a:ea typeface="ＭＳ Ｐゴシック" pitchFamily="34" charset="-128"/>
                <a:cs typeface="+mn-cs"/>
              </a:rPr>
              <a:t>Prix à l’acte pour tous les messages descendants </a:t>
            </a:r>
          </a:p>
          <a:p>
            <a:pPr algn="ctr" defTabSz="7126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kern="0" dirty="0">
                <a:solidFill>
                  <a:srgbClr val="FF6600"/>
                </a:solidFill>
                <a:latin typeface="Helvetica 55 Roman" panose="020B0604020202020204" pitchFamily="34" charset="0"/>
                <a:ea typeface="ＭＳ Ｐゴシック" pitchFamily="34" charset="-128"/>
                <a:cs typeface="+mn-cs"/>
              </a:rPr>
              <a:t>(ex: les envois de commandes messages DL)  : 0,05 € par message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0450" name="Rectangle 3"/>
          <p:cNvSpPr>
            <a:spLocks noChangeArrowheads="1"/>
          </p:cNvSpPr>
          <p:nvPr/>
        </p:nvSpPr>
        <p:spPr bwMode="auto">
          <a:xfrm>
            <a:off x="4356100" y="2066925"/>
            <a:ext cx="3062288" cy="884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712788" eaLnBrk="0" hangingPunct="0">
              <a:spcAft>
                <a:spcPct val="50000"/>
              </a:spcAft>
              <a:buClr>
                <a:schemeClr val="tx2"/>
              </a:buClr>
              <a:buSzPct val="70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Helvetica 45 Light" pitchFamily="34" charset="0"/>
              </a:defRPr>
            </a:lvl1pPr>
            <a:lvl2pPr marL="768350" indent="-285750" defTabSz="712788" eaLnBrk="0" hangingPunct="0">
              <a:spcAft>
                <a:spcPct val="25000"/>
              </a:spcAft>
              <a:buChar char="–"/>
              <a:defRPr>
                <a:solidFill>
                  <a:schemeClr val="tx1"/>
                </a:solidFill>
                <a:latin typeface="Helvetica 45 Light" pitchFamily="34" charset="0"/>
              </a:defRPr>
            </a:lvl2pPr>
            <a:lvl3pPr marL="1187450" indent="-228600" defTabSz="712788" eaLnBrk="0" hangingPunct="0">
              <a:spcAft>
                <a:spcPct val="25000"/>
              </a:spcAft>
              <a:buClr>
                <a:schemeClr val="tx1"/>
              </a:buClr>
              <a:buFont typeface="Times New Roman" pitchFamily="18" charset="0"/>
              <a:buChar char="–"/>
              <a:defRPr>
                <a:solidFill>
                  <a:schemeClr val="tx1"/>
                </a:solidFill>
                <a:latin typeface="Helvetica 45 Light" pitchFamily="34" charset="0"/>
              </a:defRPr>
            </a:lvl3pPr>
            <a:lvl4pPr marL="1606550" indent="-228600" defTabSz="712788" eaLnBrk="0" hangingPunct="0">
              <a:spcAft>
                <a:spcPct val="25000"/>
              </a:spcAft>
              <a:buChar char="–"/>
              <a:defRPr>
                <a:solidFill>
                  <a:schemeClr val="tx1"/>
                </a:solidFill>
                <a:latin typeface="Helvetica 45 Light" pitchFamily="34" charset="0"/>
              </a:defRPr>
            </a:lvl4pPr>
            <a:lvl5pPr marL="2057400" indent="-228600" defTabSz="712788" eaLnBrk="0" hangingPunct="0">
              <a:spcAft>
                <a:spcPct val="25000"/>
              </a:spcAft>
              <a:buChar char="–"/>
              <a:defRPr sz="1600">
                <a:solidFill>
                  <a:schemeClr val="tx1"/>
                </a:solidFill>
                <a:latin typeface="Helvetica 45 Light" pitchFamily="34" charset="0"/>
              </a:defRPr>
            </a:lvl5pPr>
            <a:lvl6pPr marL="2514600" indent="-228600" defTabSz="712788" eaLnBrk="0" fontAlgn="base" hangingPunct="0">
              <a:spcBef>
                <a:spcPct val="0"/>
              </a:spcBef>
              <a:spcAft>
                <a:spcPct val="25000"/>
              </a:spcAft>
              <a:buChar char="–"/>
              <a:defRPr sz="1600">
                <a:solidFill>
                  <a:schemeClr val="tx1"/>
                </a:solidFill>
                <a:latin typeface="Helvetica 45 Light" pitchFamily="34" charset="0"/>
              </a:defRPr>
            </a:lvl6pPr>
            <a:lvl7pPr marL="2971800" indent="-228600" defTabSz="712788" eaLnBrk="0" fontAlgn="base" hangingPunct="0">
              <a:spcBef>
                <a:spcPct val="0"/>
              </a:spcBef>
              <a:spcAft>
                <a:spcPct val="25000"/>
              </a:spcAft>
              <a:buChar char="–"/>
              <a:defRPr sz="1600">
                <a:solidFill>
                  <a:schemeClr val="tx1"/>
                </a:solidFill>
                <a:latin typeface="Helvetica 45 Light" pitchFamily="34" charset="0"/>
              </a:defRPr>
            </a:lvl7pPr>
            <a:lvl8pPr marL="3429000" indent="-228600" defTabSz="712788" eaLnBrk="0" fontAlgn="base" hangingPunct="0">
              <a:spcBef>
                <a:spcPct val="0"/>
              </a:spcBef>
              <a:spcAft>
                <a:spcPct val="25000"/>
              </a:spcAft>
              <a:buChar char="–"/>
              <a:defRPr sz="1600">
                <a:solidFill>
                  <a:schemeClr val="tx1"/>
                </a:solidFill>
                <a:latin typeface="Helvetica 45 Light" pitchFamily="34" charset="0"/>
              </a:defRPr>
            </a:lvl8pPr>
            <a:lvl9pPr marL="3886200" indent="-228600" defTabSz="712788" eaLnBrk="0" fontAlgn="base" hangingPunct="0">
              <a:spcBef>
                <a:spcPct val="0"/>
              </a:spcBef>
              <a:spcAft>
                <a:spcPct val="25000"/>
              </a:spcAft>
              <a:buChar char="–"/>
              <a:defRPr sz="1600">
                <a:solidFill>
                  <a:schemeClr val="tx1"/>
                </a:solidFill>
                <a:latin typeface="Helvetica 45 Light" pitchFamily="34" charset="0"/>
              </a:defRPr>
            </a:lvl9pPr>
          </a:lstStyle>
          <a:p>
            <a:pPr eaLnBrk="1" hangingPunct="1">
              <a:lnSpc>
                <a:spcPct val="85000"/>
              </a:lnSpc>
              <a:spcAft>
                <a:spcPct val="0"/>
              </a:spcAft>
              <a:buClrTx/>
              <a:buSzTx/>
              <a:buFontTx/>
              <a:buNone/>
            </a:pPr>
            <a:r>
              <a:rPr lang="fr-FR" altLang="fr-FR" sz="6000" b="1">
                <a:solidFill>
                  <a:srgbClr val="FF6600"/>
                </a:solidFill>
                <a:latin typeface="Helvetica 75"/>
              </a:rPr>
              <a:t>Options</a:t>
            </a:r>
          </a:p>
        </p:txBody>
      </p:sp>
      <p:pic>
        <p:nvPicPr>
          <p:cNvPr id="360452" name="Picture 2" descr="C:\Users\xebx8380\AppData\Local\Temp\U302470_medium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982"/>
          <a:stretch>
            <a:fillRect/>
          </a:stretch>
        </p:blipFill>
        <p:spPr bwMode="auto">
          <a:xfrm>
            <a:off x="0" y="0"/>
            <a:ext cx="3951288" cy="5164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/>
          <p:cNvSpPr/>
          <p:nvPr/>
        </p:nvSpPr>
        <p:spPr>
          <a:xfrm>
            <a:off x="-6350" y="0"/>
            <a:ext cx="4578350" cy="2295052"/>
          </a:xfrm>
          <a:prstGeom prst="rect">
            <a:avLst/>
          </a:prstGeom>
        </p:spPr>
        <p:txBody>
          <a:bodyPr lIns="164592" tIns="182880" rIns="182880" bIns="219456">
            <a:spAutoFit/>
          </a:bodyPr>
          <a:lstStyle/>
          <a:p>
            <a:pPr defTabSz="712788">
              <a:lnSpc>
                <a:spcPct val="85000"/>
              </a:lnSpc>
              <a:defRPr/>
            </a:pPr>
            <a:r>
              <a:rPr lang="fr-FR" altLang="fr-FR" sz="4800" dirty="0">
                <a:cs typeface="Helvetica" pitchFamily="34" charset="0"/>
              </a:rPr>
              <a:t>Couverture Site </a:t>
            </a:r>
            <a:r>
              <a:rPr lang="fr-FR" altLang="fr-FR" sz="4800" dirty="0" smtClean="0">
                <a:cs typeface="Helvetica" pitchFamily="34" charset="0"/>
              </a:rPr>
              <a:t>Express IoT</a:t>
            </a:r>
            <a:endParaRPr lang="en-GB" sz="4000" spc="-20" dirty="0">
              <a:solidFill>
                <a:srgbClr val="000000"/>
              </a:solidFill>
              <a:latin typeface="Helvetica 75 Bold" panose="020B0804020202020204" pitchFamily="34" charset="0"/>
              <a:ea typeface="ＭＳ Ｐゴシック" pitchFamily="34" charset="-128"/>
            </a:endParaRPr>
          </a:p>
        </p:txBody>
      </p:sp>
      <p:sp>
        <p:nvSpPr>
          <p:cNvPr id="45" name="Content Placeholder 3"/>
          <p:cNvSpPr txBox="1">
            <a:spLocks/>
          </p:cNvSpPr>
          <p:nvPr/>
        </p:nvSpPr>
        <p:spPr>
          <a:xfrm>
            <a:off x="5508625" y="3076575"/>
            <a:ext cx="3635375" cy="20669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180000" tIns="182880" rIns="180000" bIns="18000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kern="1200" spc="-20" baseline="0">
                <a:solidFill>
                  <a:schemeClr val="bg2"/>
                </a:solidFill>
                <a:latin typeface="Helvetica 75 Bold" panose="020B08040202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kern="1200" spc="-20" baseline="0">
                <a:solidFill>
                  <a:schemeClr val="tx1"/>
                </a:solidFill>
                <a:latin typeface="Helvetica 75 Bold" panose="020B0804020202020204" pitchFamily="34" charset="0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 spc="-20" baseline="0">
                <a:solidFill>
                  <a:schemeClr val="tx1"/>
                </a:solidFill>
                <a:latin typeface="Helvetica 75 Bold" panose="020B0804020202020204" pitchFamily="34" charset="0"/>
                <a:ea typeface="+mn-ea"/>
                <a:cs typeface="+mn-cs"/>
              </a:defRPr>
            </a:lvl3pPr>
            <a:lvl4pPr marL="357188" indent="-176213" algn="l" defTabSz="914400" rtl="0" eaLnBrk="1" latinLnBrk="0" hangingPunct="1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 kern="1200" spc="-20" baseline="0">
                <a:solidFill>
                  <a:schemeClr val="tx1"/>
                </a:solidFill>
                <a:latin typeface="Helvetica 55 Roman" panose="000B0500000000000000" pitchFamily="34" charset="0"/>
                <a:ea typeface="+mn-ea"/>
                <a:cs typeface="+mn-cs"/>
              </a:defRPr>
            </a:lvl4pPr>
            <a:lvl5pPr marL="538163" indent="-180975" algn="l" defTabSz="914400" rtl="0" eaLnBrk="1" latinLnBrk="0" hangingPunct="1">
              <a:lnSpc>
                <a:spcPct val="90000"/>
              </a:lnSpc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 kern="1200" spc="-20" baseline="0">
                <a:solidFill>
                  <a:schemeClr val="tx1"/>
                </a:solidFill>
                <a:latin typeface="Helvetica 55 Roman" panose="000B0500000000000000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2000" dirty="0">
                <a:solidFill>
                  <a:srgbClr val="000000"/>
                </a:solidFill>
              </a:rPr>
              <a:t>Tarif</a:t>
            </a:r>
          </a:p>
          <a:p>
            <a:pPr lvl="2">
              <a:buClr>
                <a:srgbClr val="FFFFFF"/>
              </a:buClr>
              <a:defRPr/>
            </a:pPr>
            <a:endParaRPr lang="fr-FR" sz="200" dirty="0" smtClean="0">
              <a:solidFill>
                <a:srgbClr val="000000"/>
              </a:solidFill>
            </a:endParaRPr>
          </a:p>
          <a:p>
            <a:pPr lvl="2">
              <a:buClr>
                <a:srgbClr val="FF6600"/>
              </a:buClr>
              <a:defRPr/>
            </a:pPr>
            <a:r>
              <a:rPr lang="fr-FR" sz="1200" dirty="0">
                <a:solidFill>
                  <a:srgbClr val="000000"/>
                </a:solidFill>
              </a:rPr>
              <a:t>6</a:t>
            </a:r>
            <a:r>
              <a:rPr lang="fr-FR" sz="1200" dirty="0" smtClean="0">
                <a:solidFill>
                  <a:srgbClr val="000000"/>
                </a:solidFill>
              </a:rPr>
              <a:t>00 </a:t>
            </a:r>
            <a:r>
              <a:rPr lang="fr-FR" sz="1200" dirty="0">
                <a:solidFill>
                  <a:srgbClr val="000000"/>
                </a:solidFill>
              </a:rPr>
              <a:t>€ HT de Frais de Mise en </a:t>
            </a:r>
            <a:r>
              <a:rPr lang="fr-FR" sz="1200" dirty="0" smtClean="0">
                <a:solidFill>
                  <a:srgbClr val="000000"/>
                </a:solidFill>
              </a:rPr>
              <a:t>Service</a:t>
            </a:r>
          </a:p>
          <a:p>
            <a:pPr lvl="2">
              <a:buClr>
                <a:srgbClr val="FF6600"/>
              </a:buClr>
              <a:defRPr/>
            </a:pPr>
            <a:r>
              <a:rPr lang="fr-FR" sz="1200" dirty="0" smtClean="0">
                <a:solidFill>
                  <a:srgbClr val="000000"/>
                </a:solidFill>
              </a:rPr>
              <a:t>5 ans de garantie incluse</a:t>
            </a:r>
          </a:p>
          <a:p>
            <a:pPr lvl="2">
              <a:buClr>
                <a:srgbClr val="FF6600"/>
              </a:buClr>
              <a:defRPr/>
            </a:pPr>
            <a:r>
              <a:rPr lang="fr-FR" sz="1200" dirty="0" smtClean="0">
                <a:solidFill>
                  <a:srgbClr val="000000"/>
                </a:solidFill>
              </a:rPr>
              <a:t>Au-delà des 5 ans, 60€/an de maintenance</a:t>
            </a:r>
          </a:p>
          <a:p>
            <a:pPr lvl="2">
              <a:buClr>
                <a:srgbClr val="FF6600"/>
              </a:buClr>
              <a:defRPr/>
            </a:pPr>
            <a:r>
              <a:rPr lang="fr-FR" sz="1200" dirty="0" smtClean="0">
                <a:solidFill>
                  <a:srgbClr val="000000"/>
                </a:solidFill>
              </a:rPr>
              <a:t>Possibilité d’ajouter une clé 3G : 39,90€ avec un abonnement à 12€/mois</a:t>
            </a:r>
            <a:endParaRPr lang="fr-FR" sz="1200" dirty="0">
              <a:solidFill>
                <a:srgbClr val="000000"/>
              </a:solidFill>
            </a:endParaRPr>
          </a:p>
        </p:txBody>
      </p:sp>
      <p:sp>
        <p:nvSpPr>
          <p:cNvPr id="49" name="Content Placeholder 3"/>
          <p:cNvSpPr txBox="1">
            <a:spLocks/>
          </p:cNvSpPr>
          <p:nvPr/>
        </p:nvSpPr>
        <p:spPr>
          <a:xfrm>
            <a:off x="0" y="3076575"/>
            <a:ext cx="5508625" cy="2066925"/>
          </a:xfrm>
          <a:prstGeom prst="rect">
            <a:avLst/>
          </a:prstGeom>
          <a:solidFill>
            <a:schemeClr val="tx1"/>
          </a:solidFill>
        </p:spPr>
        <p:txBody>
          <a:bodyPr lIns="180000" tIns="146304" rIns="180000" bIns="18000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kern="1200" spc="-20" baseline="0">
                <a:solidFill>
                  <a:schemeClr val="bg2"/>
                </a:solidFill>
                <a:latin typeface="Helvetica 75 Bold" panose="020B0804020202020204" pitchFamily="34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kern="1200" spc="-20" baseline="0">
                <a:solidFill>
                  <a:schemeClr val="tx1"/>
                </a:solidFill>
                <a:latin typeface="Helvetica 75 Bold" panose="020B0804020202020204" pitchFamily="34" charset="0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 spc="-20" baseline="0">
                <a:solidFill>
                  <a:schemeClr val="tx1"/>
                </a:solidFill>
                <a:latin typeface="Helvetica 75 Bold" panose="020B0804020202020204" pitchFamily="34" charset="0"/>
                <a:ea typeface="+mn-ea"/>
                <a:cs typeface="+mn-cs"/>
              </a:defRPr>
            </a:lvl3pPr>
            <a:lvl4pPr marL="357188" indent="-176213" algn="l" defTabSz="914400" rtl="0" eaLnBrk="1" latinLnBrk="0" hangingPunct="1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 kern="1200" spc="-20" baseline="0">
                <a:solidFill>
                  <a:schemeClr val="tx1"/>
                </a:solidFill>
                <a:latin typeface="Helvetica 55 Roman" panose="000B0500000000000000" pitchFamily="34" charset="0"/>
                <a:ea typeface="+mn-ea"/>
                <a:cs typeface="+mn-cs"/>
              </a:defRPr>
            </a:lvl4pPr>
            <a:lvl5pPr marL="538163" indent="-180975" algn="l" defTabSz="914400" rtl="0" eaLnBrk="1" latinLnBrk="0" hangingPunct="1">
              <a:lnSpc>
                <a:spcPct val="90000"/>
              </a:lnSpc>
              <a:spcBef>
                <a:spcPct val="20000"/>
              </a:spcBef>
              <a:buClr>
                <a:schemeClr val="tx1"/>
              </a:buClr>
              <a:buFont typeface="Arial" panose="020B0604020202020204" pitchFamily="34" charset="0"/>
              <a:buChar char="–"/>
              <a:defRPr sz="1400" kern="1200" spc="-20" baseline="0">
                <a:solidFill>
                  <a:schemeClr val="tx1"/>
                </a:solidFill>
                <a:latin typeface="Helvetica 55 Roman" panose="000B0500000000000000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defRPr/>
            </a:pPr>
            <a:r>
              <a:rPr lang="en-GB" sz="2000" dirty="0">
                <a:solidFill>
                  <a:srgbClr val="FF6600"/>
                </a:solidFill>
              </a:rPr>
              <a:t>Objectifs</a:t>
            </a:r>
          </a:p>
          <a:p>
            <a:pPr marL="171450" lvl="1" indent="-171450">
              <a:buFont typeface="Wingdings" panose="05000000000000000000" pitchFamily="2" charset="2"/>
              <a:buChar char="§"/>
              <a:defRPr/>
            </a:pPr>
            <a:endParaRPr lang="fr-FR" sz="1050" dirty="0" smtClean="0">
              <a:solidFill>
                <a:srgbClr val="FFFFFF"/>
              </a:solidFill>
            </a:endParaRPr>
          </a:p>
          <a:p>
            <a:pPr marL="171450" lvl="1" indent="-171450">
              <a:buClr>
                <a:srgbClr val="FF6600"/>
              </a:buClr>
              <a:buFont typeface="Wingdings" panose="05000000000000000000" pitchFamily="2" charset="2"/>
              <a:buChar char="§"/>
              <a:defRPr/>
            </a:pPr>
            <a:r>
              <a:rPr lang="fr-FR" sz="1200" dirty="0" smtClean="0">
                <a:solidFill>
                  <a:srgbClr val="FFFFFF"/>
                </a:solidFill>
              </a:rPr>
              <a:t>Permettre </a:t>
            </a:r>
            <a:r>
              <a:rPr lang="fr-FR" sz="1200" dirty="0">
                <a:solidFill>
                  <a:srgbClr val="FFFFFF"/>
                </a:solidFill>
              </a:rPr>
              <a:t>à toute entreprise de tester directement notre réseau de techno LoRa®, même si la couverture macro n’est pas encore disponible sur le site du client.</a:t>
            </a:r>
          </a:p>
          <a:p>
            <a:pPr marL="171450" lvl="1" indent="-171450">
              <a:buClr>
                <a:srgbClr val="FF6600"/>
              </a:buClr>
              <a:buFont typeface="Wingdings" panose="05000000000000000000" pitchFamily="2" charset="2"/>
              <a:buChar char="§"/>
              <a:defRPr/>
            </a:pPr>
            <a:r>
              <a:rPr lang="fr-FR" sz="1200" dirty="0">
                <a:solidFill>
                  <a:srgbClr val="FFFFFF"/>
                </a:solidFill>
              </a:rPr>
              <a:t>Complément de couverture notamment en indoor, pour les projets clients.</a:t>
            </a:r>
          </a:p>
        </p:txBody>
      </p:sp>
      <p:sp>
        <p:nvSpPr>
          <p:cNvPr id="2" name="Triangle rectangle 1"/>
          <p:cNvSpPr/>
          <p:nvPr/>
        </p:nvSpPr>
        <p:spPr>
          <a:xfrm rot="13498676">
            <a:off x="4882137" y="3833813"/>
            <a:ext cx="687387" cy="550862"/>
          </a:xfrm>
          <a:prstGeom prst="rt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2673">
              <a:defRPr/>
            </a:pPr>
            <a:endParaRPr lang="fr-FR" dirty="0">
              <a:solidFill>
                <a:srgbClr val="FFFFFF"/>
              </a:solidFill>
            </a:endParaRPr>
          </a:p>
        </p:txBody>
      </p:sp>
      <p:pic>
        <p:nvPicPr>
          <p:cNvPr id="36147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73" r="8083"/>
          <a:stretch>
            <a:fillRect/>
          </a:stretch>
        </p:blipFill>
        <p:spPr bwMode="auto">
          <a:xfrm>
            <a:off x="5508625" y="0"/>
            <a:ext cx="3635375" cy="307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-6350" y="1995488"/>
            <a:ext cx="5514975" cy="108108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buFont typeface="Wingdings" pitchFamily="2" charset="2"/>
              <a:buNone/>
              <a:defRPr/>
            </a:pPr>
            <a:r>
              <a:rPr lang="fr-FR" sz="1600" dirty="0">
                <a:solidFill>
                  <a:srgbClr val="FF6600"/>
                </a:solidFill>
              </a:rPr>
              <a:t>En complément, une offre d’extension de couverture, </a:t>
            </a:r>
          </a:p>
          <a:p>
            <a:pPr>
              <a:buFont typeface="Wingdings" pitchFamily="2" charset="2"/>
              <a:buNone/>
              <a:defRPr/>
            </a:pPr>
            <a:r>
              <a:rPr lang="fr-FR" sz="1600" dirty="0">
                <a:solidFill>
                  <a:srgbClr val="FF6600"/>
                </a:solidFill>
              </a:rPr>
              <a:t>sur le modèle de l’offre Couverture Site Express</a:t>
            </a:r>
          </a:p>
          <a:p>
            <a:pPr>
              <a:buFont typeface="Wingdings" pitchFamily="2" charset="2"/>
              <a:buNone/>
              <a:defRPr/>
            </a:pPr>
            <a:r>
              <a:rPr lang="fr-FR" sz="1600" dirty="0">
                <a:solidFill>
                  <a:srgbClr val="FF6600"/>
                </a:solidFill>
              </a:rPr>
              <a:t>du </a:t>
            </a:r>
            <a:r>
              <a:rPr lang="fr-FR" sz="1600" dirty="0" smtClean="0">
                <a:solidFill>
                  <a:srgbClr val="FF6600"/>
                </a:solidFill>
              </a:rPr>
              <a:t>mobile cellulaire.</a:t>
            </a:r>
            <a:endParaRPr lang="fr-FR" dirty="0">
              <a:solidFill>
                <a:srgbClr val="FF6600"/>
              </a:solidFill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454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42863"/>
            <a:ext cx="9172575" cy="505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4547" name="ZoneTexte 4"/>
          <p:cNvSpPr txBox="1">
            <a:spLocks noChangeArrowheads="1"/>
          </p:cNvSpPr>
          <p:nvPr/>
        </p:nvSpPr>
        <p:spPr bwMode="auto">
          <a:xfrm>
            <a:off x="468313" y="195263"/>
            <a:ext cx="4684712" cy="461665"/>
          </a:xfrm>
          <a:prstGeom prst="rect">
            <a:avLst/>
          </a:prstGeom>
          <a:solidFill>
            <a:srgbClr val="50BE8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fr-FR" sz="2400" u="sng" dirty="0">
                <a:hlinkClick r:id="rId3"/>
              </a:rPr>
              <a:t>https://</a:t>
            </a:r>
            <a:r>
              <a:rPr lang="fr-FR" sz="2400" u="sng" dirty="0" smtClean="0">
                <a:hlinkClick r:id="rId3"/>
              </a:rPr>
              <a:t>youtu.be/j43zV0BmZNs</a:t>
            </a:r>
            <a:r>
              <a:rPr lang="fr-FR" sz="2400" u="sng" dirty="0" smtClean="0"/>
              <a:t> </a:t>
            </a:r>
            <a:endParaRPr lang="fr-FR" altLang="fr-FR" sz="2400" dirty="0">
              <a:solidFill>
                <a:srgbClr val="FFFFFF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23799" y="4670552"/>
            <a:ext cx="138430" cy="1479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defTabSz="914400" fontAlgn="auto">
              <a:spcBef>
                <a:spcPts val="100"/>
              </a:spcBef>
              <a:spcAft>
                <a:spcPts val="0"/>
              </a:spcAft>
            </a:pPr>
            <a:r>
              <a:rPr sz="800" b="1" spc="-5" dirty="0">
                <a:solidFill>
                  <a:prstClr val="black"/>
                </a:solidFill>
                <a:latin typeface="Helvetica 75 Bold"/>
                <a:ea typeface="+mn-ea"/>
                <a:cs typeface="Helvetica 75 Bold"/>
              </a:rPr>
              <a:t>39</a:t>
            </a:r>
            <a:endParaRPr sz="800">
              <a:solidFill>
                <a:prstClr val="black"/>
              </a:solidFill>
              <a:latin typeface="Helvetica 75 Bold"/>
              <a:ea typeface="+mn-ea"/>
              <a:cs typeface="Helvetica 75 Bold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0" y="843533"/>
            <a:ext cx="9143999" cy="213067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sz="180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pc="-10" dirty="0"/>
              <a:t>Vinci</a:t>
            </a:r>
            <a:r>
              <a:rPr spc="-55" dirty="0"/>
              <a:t> </a:t>
            </a:r>
            <a:r>
              <a:rPr spc="-10" dirty="0"/>
              <a:t>Autoroutes</a:t>
            </a:r>
          </a:p>
        </p:txBody>
      </p:sp>
      <p:sp>
        <p:nvSpPr>
          <p:cNvPr id="5" name="object 5"/>
          <p:cNvSpPr txBox="1"/>
          <p:nvPr/>
        </p:nvSpPr>
        <p:spPr>
          <a:xfrm>
            <a:off x="317398" y="496570"/>
            <a:ext cx="2981325" cy="3308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defTabSz="914400" fontAlgn="auto">
              <a:spcBef>
                <a:spcPts val="105"/>
              </a:spcBef>
              <a:spcAft>
                <a:spcPts val="0"/>
              </a:spcAft>
            </a:pPr>
            <a:r>
              <a:rPr sz="2000" b="1" spc="-10" dirty="0">
                <a:solidFill>
                  <a:prstClr val="black"/>
                </a:solidFill>
                <a:latin typeface="Helvetica 75 Bold"/>
                <a:ea typeface="+mn-ea"/>
                <a:cs typeface="Helvetica 75 Bold"/>
              </a:rPr>
              <a:t>Aire </a:t>
            </a:r>
            <a:r>
              <a:rPr sz="2000" b="1" dirty="0">
                <a:solidFill>
                  <a:prstClr val="black"/>
                </a:solidFill>
                <a:latin typeface="Helvetica 75 Bold"/>
                <a:ea typeface="+mn-ea"/>
                <a:cs typeface="Helvetica 75 Bold"/>
              </a:rPr>
              <a:t>de </a:t>
            </a:r>
            <a:r>
              <a:rPr sz="2000" b="1" spc="-10" dirty="0">
                <a:solidFill>
                  <a:prstClr val="black"/>
                </a:solidFill>
                <a:latin typeface="Helvetica 75 Bold"/>
                <a:ea typeface="+mn-ea"/>
                <a:cs typeface="Helvetica 75 Bold"/>
              </a:rPr>
              <a:t>repos</a:t>
            </a:r>
            <a:r>
              <a:rPr sz="2000" b="1" spc="-75" dirty="0">
                <a:solidFill>
                  <a:prstClr val="black"/>
                </a:solidFill>
                <a:latin typeface="Helvetica 75 Bold"/>
                <a:ea typeface="+mn-ea"/>
                <a:cs typeface="Helvetica 75 Bold"/>
              </a:rPr>
              <a:t> </a:t>
            </a:r>
            <a:r>
              <a:rPr sz="2000" b="1" dirty="0">
                <a:solidFill>
                  <a:prstClr val="black"/>
                </a:solidFill>
                <a:latin typeface="Helvetica 75 Bold"/>
                <a:ea typeface="+mn-ea"/>
                <a:cs typeface="Helvetica 75 Bold"/>
              </a:rPr>
              <a:t>connectée</a:t>
            </a:r>
            <a:endParaRPr sz="2000">
              <a:solidFill>
                <a:prstClr val="black"/>
              </a:solidFill>
              <a:latin typeface="Helvetica 75 Bold"/>
              <a:ea typeface="+mn-ea"/>
              <a:cs typeface="Helvetica 75 Bold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201574" y="2951593"/>
            <a:ext cx="2554605" cy="1452880"/>
          </a:xfrm>
          <a:prstGeom prst="rect">
            <a:avLst/>
          </a:prstGeom>
        </p:spPr>
        <p:txBody>
          <a:bodyPr vert="horz" wrap="square" lIns="0" tIns="57785" rIns="0" bIns="0" rtlCol="0">
            <a:spAutoFit/>
          </a:bodyPr>
          <a:lstStyle/>
          <a:p>
            <a:pPr marL="12700" defTabSz="914400" fontAlgn="auto">
              <a:spcBef>
                <a:spcPts val="455"/>
              </a:spcBef>
              <a:spcAft>
                <a:spcPts val="0"/>
              </a:spcAft>
            </a:pPr>
            <a:r>
              <a:rPr sz="1200" b="1" spc="-5" dirty="0">
                <a:solidFill>
                  <a:srgbClr val="FF6600"/>
                </a:solidFill>
                <a:latin typeface="Arial"/>
                <a:ea typeface="+mn-ea"/>
                <a:cs typeface="Arial"/>
              </a:rPr>
              <a:t>Enjeux</a:t>
            </a:r>
            <a:endParaRPr sz="1200">
              <a:solidFill>
                <a:prstClr val="black"/>
              </a:solidFill>
              <a:latin typeface="Arial"/>
              <a:ea typeface="+mn-ea"/>
              <a:cs typeface="Arial"/>
            </a:endParaRPr>
          </a:p>
          <a:p>
            <a:pPr marL="158750" marR="5080" indent="-146050" defTabSz="914400" fontAlgn="auto">
              <a:spcBef>
                <a:spcPts val="320"/>
              </a:spcBef>
              <a:spcAft>
                <a:spcPts val="0"/>
              </a:spcAft>
              <a:buClr>
                <a:srgbClr val="FF6600"/>
              </a:buClr>
              <a:buFont typeface="Wingdings"/>
              <a:buChar char=""/>
              <a:tabLst>
                <a:tab pos="159385" algn="l"/>
              </a:tabLst>
            </a:pPr>
            <a:r>
              <a:rPr sz="105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Améliorer le niveau actuel </a:t>
            </a:r>
            <a:r>
              <a:rPr sz="1050" spc="-5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des </a:t>
            </a:r>
            <a:r>
              <a:rPr sz="105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services  sur les aires de repos, améliorer  l’efficience de </a:t>
            </a:r>
            <a:r>
              <a:rPr sz="1050" spc="-5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l’exploitation </a:t>
            </a:r>
            <a:r>
              <a:rPr sz="105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et</a:t>
            </a:r>
            <a:r>
              <a:rPr sz="1050" spc="-7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 </a:t>
            </a:r>
            <a:r>
              <a:rPr sz="105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envisager  de nouveaux services aux</a:t>
            </a:r>
            <a:r>
              <a:rPr sz="1050" spc="-7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 </a:t>
            </a:r>
            <a:r>
              <a:rPr sz="105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clients</a:t>
            </a:r>
            <a:endParaRPr sz="1050">
              <a:solidFill>
                <a:prstClr val="black"/>
              </a:solidFill>
              <a:latin typeface="Helvetica 55 Roman"/>
              <a:ea typeface="+mn-ea"/>
              <a:cs typeface="Helvetica 55 Roman"/>
            </a:endParaRPr>
          </a:p>
          <a:p>
            <a:pPr marL="158750" marR="51435" indent="-146050" defTabSz="914400" fontAlgn="auto"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Font typeface="Wingdings"/>
              <a:buChar char=""/>
              <a:tabLst>
                <a:tab pos="159385" algn="l"/>
              </a:tabLst>
            </a:pPr>
            <a:r>
              <a:rPr sz="105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Tester les usages sur une aire de</a:t>
            </a:r>
            <a:r>
              <a:rPr sz="1050" spc="-16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 </a:t>
            </a:r>
            <a:r>
              <a:rPr sz="105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repos  de grand passage (Aire de Boutroux)  avant </a:t>
            </a:r>
            <a:r>
              <a:rPr sz="1050" spc="-5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d’en </a:t>
            </a:r>
            <a:r>
              <a:rPr sz="105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généraliser le</a:t>
            </a:r>
            <a:r>
              <a:rPr sz="1050" spc="-105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 </a:t>
            </a:r>
            <a:r>
              <a:rPr sz="105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déploiement</a:t>
            </a:r>
            <a:endParaRPr sz="1050">
              <a:solidFill>
                <a:prstClr val="black"/>
              </a:solidFill>
              <a:latin typeface="Helvetica 55 Roman"/>
              <a:ea typeface="+mn-ea"/>
              <a:cs typeface="Helvetica 55 Roman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3037458" y="2951593"/>
            <a:ext cx="3046730" cy="2169160"/>
          </a:xfrm>
          <a:prstGeom prst="rect">
            <a:avLst/>
          </a:prstGeom>
        </p:spPr>
        <p:txBody>
          <a:bodyPr vert="horz" wrap="square" lIns="0" tIns="57785" rIns="0" bIns="0" rtlCol="0">
            <a:spAutoFit/>
          </a:bodyPr>
          <a:lstStyle/>
          <a:p>
            <a:pPr marL="12700" defTabSz="914400" fontAlgn="auto">
              <a:spcBef>
                <a:spcPts val="455"/>
              </a:spcBef>
              <a:spcAft>
                <a:spcPts val="0"/>
              </a:spcAft>
            </a:pPr>
            <a:r>
              <a:rPr sz="1200" b="1" spc="-5" dirty="0">
                <a:solidFill>
                  <a:srgbClr val="FF6600"/>
                </a:solidFill>
                <a:latin typeface="Arial"/>
                <a:ea typeface="+mn-ea"/>
                <a:cs typeface="Arial"/>
              </a:rPr>
              <a:t>Solution</a:t>
            </a:r>
            <a:endParaRPr sz="1200">
              <a:solidFill>
                <a:prstClr val="black"/>
              </a:solidFill>
              <a:latin typeface="Arial"/>
              <a:ea typeface="+mn-ea"/>
              <a:cs typeface="Arial"/>
            </a:endParaRPr>
          </a:p>
          <a:p>
            <a:pPr marL="12700" marR="151130" defTabSz="914400" fontAlgn="auto">
              <a:spcBef>
                <a:spcPts val="320"/>
              </a:spcBef>
              <a:spcAft>
                <a:spcPts val="0"/>
              </a:spcAft>
            </a:pPr>
            <a:r>
              <a:rPr sz="105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Solution Datavenue basée sur la plateforme</a:t>
            </a:r>
            <a:r>
              <a:rPr sz="1050" spc="-17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 </a:t>
            </a:r>
            <a:r>
              <a:rPr sz="105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Live  Objects associée à une connectivité</a:t>
            </a:r>
            <a:r>
              <a:rPr sz="1050" spc="-14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 </a:t>
            </a:r>
            <a:r>
              <a:rPr sz="105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LoRa</a:t>
            </a:r>
            <a:endParaRPr sz="1050">
              <a:solidFill>
                <a:prstClr val="black"/>
              </a:solidFill>
              <a:latin typeface="Helvetica 55 Roman"/>
              <a:ea typeface="+mn-ea"/>
              <a:cs typeface="Helvetica 55 Roman"/>
            </a:endParaRPr>
          </a:p>
          <a:p>
            <a:pPr marL="158750" marR="5080" indent="-146050" defTabSz="914400" fontAlgn="auto"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Font typeface="Wingdings"/>
              <a:buChar char=""/>
              <a:tabLst>
                <a:tab pos="159385" algn="l"/>
              </a:tabLst>
            </a:pPr>
            <a:r>
              <a:rPr sz="105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Capteurs de mesure de température de  chaussée, places de stationnement</a:t>
            </a:r>
            <a:r>
              <a:rPr sz="1050" spc="-125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 </a:t>
            </a:r>
            <a:r>
              <a:rPr sz="105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disponibles,  consommables sanitaires, remplissage </a:t>
            </a:r>
            <a:r>
              <a:rPr sz="1050" spc="-5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des  </a:t>
            </a:r>
            <a:r>
              <a:rPr sz="105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containers de déchets, consommation</a:t>
            </a:r>
            <a:r>
              <a:rPr sz="1050" spc="-15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 </a:t>
            </a:r>
            <a:r>
              <a:rPr sz="105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anormale  </a:t>
            </a:r>
            <a:r>
              <a:rPr sz="1050" spc="-5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d’eau </a:t>
            </a:r>
            <a:r>
              <a:rPr sz="105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et</a:t>
            </a:r>
            <a:r>
              <a:rPr sz="1050" spc="-2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 </a:t>
            </a:r>
            <a:r>
              <a:rPr sz="105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d’énergie…</a:t>
            </a:r>
            <a:endParaRPr sz="1050">
              <a:solidFill>
                <a:prstClr val="black"/>
              </a:solidFill>
              <a:latin typeface="Helvetica 55 Roman"/>
              <a:ea typeface="+mn-ea"/>
              <a:cs typeface="Helvetica 55 Roman"/>
            </a:endParaRPr>
          </a:p>
          <a:p>
            <a:pPr marL="158750" marR="222885" indent="-146050" defTabSz="914400" fontAlgn="auto"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Font typeface="Wingdings"/>
              <a:buChar char=""/>
              <a:tabLst>
                <a:tab pos="159385" algn="l"/>
              </a:tabLst>
            </a:pPr>
            <a:r>
              <a:rPr sz="105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Smiley box pour remonter la satisfaction</a:t>
            </a:r>
            <a:r>
              <a:rPr sz="1050" spc="-14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 </a:t>
            </a:r>
            <a:r>
              <a:rPr sz="1050" spc="-5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des  </a:t>
            </a:r>
            <a:r>
              <a:rPr sz="105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clients</a:t>
            </a:r>
            <a:endParaRPr sz="1050">
              <a:solidFill>
                <a:prstClr val="black"/>
              </a:solidFill>
              <a:latin typeface="Helvetica 55 Roman"/>
              <a:ea typeface="+mn-ea"/>
              <a:cs typeface="Helvetica 55 Roman"/>
            </a:endParaRPr>
          </a:p>
          <a:p>
            <a:pPr marL="158750" marR="197485" indent="-146050" defTabSz="914400" fontAlgn="auto"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Font typeface="Wingdings"/>
              <a:buChar char=""/>
              <a:tabLst>
                <a:tab pos="159385" algn="l"/>
              </a:tabLst>
            </a:pPr>
            <a:r>
              <a:rPr sz="105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Interface de visualisation </a:t>
            </a:r>
            <a:r>
              <a:rPr sz="1050" spc="-5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des </a:t>
            </a:r>
            <a:r>
              <a:rPr sz="105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données au</a:t>
            </a:r>
            <a:r>
              <a:rPr sz="1050" spc="-13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 </a:t>
            </a:r>
            <a:r>
              <a:rPr sz="105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PC  sécurité</a:t>
            </a:r>
            <a:endParaRPr sz="1050">
              <a:solidFill>
                <a:prstClr val="black"/>
              </a:solidFill>
              <a:latin typeface="Helvetica 55 Roman"/>
              <a:ea typeface="+mn-ea"/>
              <a:cs typeface="Helvetica 55 Roman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0" y="843546"/>
            <a:ext cx="136525" cy="1008380"/>
          </a:xfrm>
          <a:custGeom>
            <a:avLst/>
            <a:gdLst/>
            <a:ahLst/>
            <a:cxnLst/>
            <a:rect l="l" t="t" r="r" b="b"/>
            <a:pathLst>
              <a:path w="136525" h="1008380">
                <a:moveTo>
                  <a:pt x="0" y="1008113"/>
                </a:moveTo>
                <a:lnTo>
                  <a:pt x="136283" y="1008113"/>
                </a:lnTo>
                <a:lnTo>
                  <a:pt x="136283" y="0"/>
                </a:lnTo>
                <a:lnTo>
                  <a:pt x="0" y="0"/>
                </a:lnTo>
                <a:lnTo>
                  <a:pt x="0" y="1008113"/>
                </a:lnTo>
                <a:close/>
              </a:path>
            </a:pathLst>
          </a:custGeom>
          <a:solidFill>
            <a:srgbClr val="8E908F"/>
          </a:solidFill>
        </p:spPr>
        <p:txBody>
          <a:bodyPr wrap="square" lIns="0" tIns="0" rIns="0" bIns="0" rtlCol="0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sz="180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36283" y="843597"/>
            <a:ext cx="4796155" cy="1040765"/>
          </a:xfrm>
          <a:prstGeom prst="rect">
            <a:avLst/>
          </a:prstGeom>
          <a:solidFill>
            <a:srgbClr val="50BD86"/>
          </a:solidFill>
        </p:spPr>
        <p:txBody>
          <a:bodyPr vert="horz" wrap="square" lIns="0" tIns="36195" rIns="0" bIns="0" rtlCol="0">
            <a:spAutoFit/>
          </a:bodyPr>
          <a:lstStyle/>
          <a:p>
            <a:pPr marL="182880" marR="238125" indent="-105410" defTabSz="914400" fontAlgn="auto">
              <a:spcBef>
                <a:spcPts val="285"/>
              </a:spcBef>
              <a:spcAft>
                <a:spcPts val="0"/>
              </a:spcAft>
              <a:buFont typeface="Wingdings"/>
              <a:buChar char=""/>
              <a:tabLst>
                <a:tab pos="183515" algn="l"/>
              </a:tabLst>
            </a:pPr>
            <a:r>
              <a:rPr sz="1150" spc="-5" dirty="0">
                <a:solidFill>
                  <a:srgbClr val="FFFFFF"/>
                </a:solidFill>
                <a:latin typeface="Helvetica 55 Roman"/>
                <a:ea typeface="+mn-ea"/>
                <a:cs typeface="Helvetica 55 Roman"/>
              </a:rPr>
              <a:t>Pôle </a:t>
            </a:r>
            <a:r>
              <a:rPr sz="1150" dirty="0">
                <a:solidFill>
                  <a:srgbClr val="FFFFFF"/>
                </a:solidFill>
                <a:latin typeface="Helvetica 55 Roman"/>
                <a:ea typeface="+mn-ea"/>
                <a:cs typeface="Helvetica 55 Roman"/>
              </a:rPr>
              <a:t>du </a:t>
            </a:r>
            <a:r>
              <a:rPr sz="1150" spc="-5" dirty="0">
                <a:solidFill>
                  <a:srgbClr val="FFFFFF"/>
                </a:solidFill>
                <a:latin typeface="Helvetica 55 Roman"/>
                <a:ea typeface="+mn-ea"/>
                <a:cs typeface="Helvetica 55 Roman"/>
              </a:rPr>
              <a:t>groupe Vinci spécialisé dans la concession </a:t>
            </a:r>
            <a:r>
              <a:rPr sz="1150" dirty="0">
                <a:solidFill>
                  <a:srgbClr val="FFFFFF"/>
                </a:solidFill>
                <a:latin typeface="Helvetica 55 Roman"/>
                <a:ea typeface="+mn-ea"/>
                <a:cs typeface="Helvetica 55 Roman"/>
              </a:rPr>
              <a:t>et </a:t>
            </a:r>
            <a:r>
              <a:rPr sz="1150" spc="-5" dirty="0">
                <a:solidFill>
                  <a:srgbClr val="FFFFFF"/>
                </a:solidFill>
                <a:latin typeface="Helvetica 55 Roman"/>
                <a:ea typeface="+mn-ea"/>
                <a:cs typeface="Helvetica 55 Roman"/>
              </a:rPr>
              <a:t>l’exploitation  d'infrastructures autoroutières</a:t>
            </a:r>
            <a:endParaRPr sz="1150">
              <a:solidFill>
                <a:prstClr val="black"/>
              </a:solidFill>
              <a:latin typeface="Helvetica 55 Roman"/>
              <a:ea typeface="+mn-ea"/>
              <a:cs typeface="Helvetica 55 Roman"/>
            </a:endParaRPr>
          </a:p>
          <a:p>
            <a:pPr marL="182880" marR="298450" indent="-105410" defTabSz="914400" fontAlgn="auto">
              <a:spcBef>
                <a:spcPts val="300"/>
              </a:spcBef>
              <a:spcAft>
                <a:spcPts val="0"/>
              </a:spcAft>
              <a:buFont typeface="Wingdings"/>
              <a:buChar char=""/>
              <a:tabLst>
                <a:tab pos="183515" algn="l"/>
              </a:tabLst>
            </a:pPr>
            <a:r>
              <a:rPr sz="1150" dirty="0">
                <a:solidFill>
                  <a:srgbClr val="FFFFFF"/>
                </a:solidFill>
                <a:latin typeface="Helvetica 55 Roman"/>
                <a:ea typeface="+mn-ea"/>
                <a:cs typeface="Helvetica 55 Roman"/>
              </a:rPr>
              <a:t>4 </a:t>
            </a:r>
            <a:r>
              <a:rPr sz="1150" spc="-5" dirty="0">
                <a:solidFill>
                  <a:srgbClr val="FFFFFF"/>
                </a:solidFill>
                <a:latin typeface="Helvetica 55 Roman"/>
                <a:ea typeface="+mn-ea"/>
                <a:cs typeface="Helvetica 55 Roman"/>
              </a:rPr>
              <a:t>386 </a:t>
            </a:r>
            <a:r>
              <a:rPr sz="1150" dirty="0">
                <a:solidFill>
                  <a:srgbClr val="FFFFFF"/>
                </a:solidFill>
                <a:latin typeface="Helvetica 55 Roman"/>
                <a:ea typeface="+mn-ea"/>
                <a:cs typeface="Helvetica 55 Roman"/>
              </a:rPr>
              <a:t>km </a:t>
            </a:r>
            <a:r>
              <a:rPr sz="1150" spc="-5" dirty="0">
                <a:solidFill>
                  <a:srgbClr val="FFFFFF"/>
                </a:solidFill>
                <a:latin typeface="Helvetica 55 Roman"/>
                <a:ea typeface="+mn-ea"/>
                <a:cs typeface="Helvetica 55 Roman"/>
              </a:rPr>
              <a:t>d'autoroutes sur les </a:t>
            </a:r>
            <a:r>
              <a:rPr sz="1150" dirty="0">
                <a:solidFill>
                  <a:srgbClr val="FFFFFF"/>
                </a:solidFill>
                <a:latin typeface="Helvetica 55 Roman"/>
                <a:ea typeface="+mn-ea"/>
                <a:cs typeface="Helvetica 55 Roman"/>
              </a:rPr>
              <a:t>réseaux de ses quatre sociétés :  </a:t>
            </a:r>
            <a:r>
              <a:rPr sz="1150" spc="-5" dirty="0">
                <a:solidFill>
                  <a:srgbClr val="FFFFFF"/>
                </a:solidFill>
                <a:latin typeface="Helvetica 55 Roman"/>
                <a:ea typeface="+mn-ea"/>
                <a:cs typeface="Helvetica 55 Roman"/>
              </a:rPr>
              <a:t>Autoroutes </a:t>
            </a:r>
            <a:r>
              <a:rPr sz="1150" dirty="0">
                <a:solidFill>
                  <a:srgbClr val="FFFFFF"/>
                </a:solidFill>
                <a:latin typeface="Helvetica 55 Roman"/>
                <a:ea typeface="+mn-ea"/>
                <a:cs typeface="Helvetica 55 Roman"/>
              </a:rPr>
              <a:t>du </a:t>
            </a:r>
            <a:r>
              <a:rPr sz="1150" spc="-5" dirty="0">
                <a:solidFill>
                  <a:srgbClr val="FFFFFF"/>
                </a:solidFill>
                <a:latin typeface="Helvetica 55 Roman"/>
                <a:ea typeface="+mn-ea"/>
                <a:cs typeface="Helvetica 55 Roman"/>
              </a:rPr>
              <a:t>sud </a:t>
            </a:r>
            <a:r>
              <a:rPr sz="1150" dirty="0">
                <a:solidFill>
                  <a:srgbClr val="FFFFFF"/>
                </a:solidFill>
                <a:latin typeface="Helvetica 55 Roman"/>
                <a:ea typeface="+mn-ea"/>
                <a:cs typeface="Helvetica 55 Roman"/>
              </a:rPr>
              <a:t>de </a:t>
            </a:r>
            <a:r>
              <a:rPr sz="1150" spc="-5" dirty="0">
                <a:solidFill>
                  <a:srgbClr val="FFFFFF"/>
                </a:solidFill>
                <a:latin typeface="Helvetica 55 Roman"/>
                <a:ea typeface="+mn-ea"/>
                <a:cs typeface="Helvetica 55 Roman"/>
              </a:rPr>
              <a:t>la </a:t>
            </a:r>
            <a:r>
              <a:rPr sz="1150" dirty="0">
                <a:solidFill>
                  <a:srgbClr val="FFFFFF"/>
                </a:solidFill>
                <a:latin typeface="Helvetica 55 Roman"/>
                <a:ea typeface="+mn-ea"/>
                <a:cs typeface="Helvetica 55 Roman"/>
              </a:rPr>
              <a:t>France (ASF), </a:t>
            </a:r>
            <a:r>
              <a:rPr sz="1150" spc="-5" dirty="0">
                <a:solidFill>
                  <a:srgbClr val="FFFFFF"/>
                </a:solidFill>
                <a:latin typeface="Helvetica 55 Roman"/>
                <a:ea typeface="+mn-ea"/>
                <a:cs typeface="Helvetica 55 Roman"/>
              </a:rPr>
              <a:t>Cofiroute, </a:t>
            </a:r>
            <a:r>
              <a:rPr sz="1150" dirty="0">
                <a:solidFill>
                  <a:srgbClr val="FFFFFF"/>
                </a:solidFill>
                <a:latin typeface="Helvetica 55 Roman"/>
                <a:ea typeface="+mn-ea"/>
                <a:cs typeface="Helvetica 55 Roman"/>
              </a:rPr>
              <a:t>Escota et</a:t>
            </a:r>
            <a:r>
              <a:rPr sz="1150" spc="35" dirty="0">
                <a:solidFill>
                  <a:srgbClr val="FFFFFF"/>
                </a:solidFill>
                <a:latin typeface="Helvetica 55 Roman"/>
                <a:ea typeface="+mn-ea"/>
                <a:cs typeface="Helvetica 55 Roman"/>
              </a:rPr>
              <a:t> </a:t>
            </a:r>
            <a:r>
              <a:rPr sz="1150" dirty="0">
                <a:solidFill>
                  <a:srgbClr val="FFFFFF"/>
                </a:solidFill>
                <a:latin typeface="Helvetica 55 Roman"/>
                <a:ea typeface="+mn-ea"/>
                <a:cs typeface="Helvetica 55 Roman"/>
              </a:rPr>
              <a:t>Arcour</a:t>
            </a:r>
            <a:endParaRPr sz="1150">
              <a:solidFill>
                <a:prstClr val="black"/>
              </a:solidFill>
              <a:latin typeface="Helvetica 55 Roman"/>
              <a:ea typeface="+mn-ea"/>
              <a:cs typeface="Helvetica 55 Roman"/>
            </a:endParaRPr>
          </a:p>
          <a:p>
            <a:pPr marL="182880" indent="-105410" defTabSz="914400" fontAlgn="auto">
              <a:spcBef>
                <a:spcPts val="300"/>
              </a:spcBef>
              <a:spcAft>
                <a:spcPts val="0"/>
              </a:spcAft>
              <a:buFont typeface="Wingdings"/>
              <a:buChar char=""/>
              <a:tabLst>
                <a:tab pos="183515" algn="l"/>
              </a:tabLst>
            </a:pPr>
            <a:r>
              <a:rPr sz="1150" spc="-5" dirty="0">
                <a:solidFill>
                  <a:srgbClr val="FFFFFF"/>
                </a:solidFill>
                <a:latin typeface="Helvetica 55 Roman"/>
                <a:ea typeface="+mn-ea"/>
                <a:cs typeface="Helvetica 55 Roman"/>
              </a:rPr>
              <a:t>1er </a:t>
            </a:r>
            <a:r>
              <a:rPr sz="1150" dirty="0">
                <a:solidFill>
                  <a:srgbClr val="FFFFFF"/>
                </a:solidFill>
                <a:latin typeface="Helvetica 55 Roman"/>
                <a:ea typeface="+mn-ea"/>
                <a:cs typeface="Helvetica 55 Roman"/>
              </a:rPr>
              <a:t>opérateur </a:t>
            </a:r>
            <a:r>
              <a:rPr sz="1150" spc="-5" dirty="0">
                <a:solidFill>
                  <a:srgbClr val="FFFFFF"/>
                </a:solidFill>
                <a:latin typeface="Helvetica 55 Roman"/>
                <a:ea typeface="+mn-ea"/>
                <a:cs typeface="Helvetica 55 Roman"/>
              </a:rPr>
              <a:t>d’autoroutes </a:t>
            </a:r>
            <a:r>
              <a:rPr sz="1150" dirty="0">
                <a:solidFill>
                  <a:srgbClr val="FFFFFF"/>
                </a:solidFill>
                <a:latin typeface="Helvetica 55 Roman"/>
                <a:ea typeface="+mn-ea"/>
                <a:cs typeface="Helvetica 55 Roman"/>
              </a:rPr>
              <a:t>en </a:t>
            </a:r>
            <a:r>
              <a:rPr sz="1150" spc="-5" dirty="0">
                <a:solidFill>
                  <a:srgbClr val="FFFFFF"/>
                </a:solidFill>
                <a:latin typeface="Helvetica 55 Roman"/>
                <a:ea typeface="+mn-ea"/>
                <a:cs typeface="Helvetica 55 Roman"/>
              </a:rPr>
              <a:t>concession </a:t>
            </a:r>
            <a:r>
              <a:rPr sz="1150" dirty="0">
                <a:solidFill>
                  <a:srgbClr val="FFFFFF"/>
                </a:solidFill>
                <a:latin typeface="Helvetica 55 Roman"/>
                <a:ea typeface="+mn-ea"/>
                <a:cs typeface="Helvetica 55 Roman"/>
              </a:rPr>
              <a:t>en</a:t>
            </a:r>
            <a:r>
              <a:rPr sz="1150" spc="-45" dirty="0">
                <a:solidFill>
                  <a:srgbClr val="FFFFFF"/>
                </a:solidFill>
                <a:latin typeface="Helvetica 55 Roman"/>
                <a:ea typeface="+mn-ea"/>
                <a:cs typeface="Helvetica 55 Roman"/>
              </a:rPr>
              <a:t> </a:t>
            </a:r>
            <a:r>
              <a:rPr sz="1150" dirty="0">
                <a:solidFill>
                  <a:srgbClr val="FFFFFF"/>
                </a:solidFill>
                <a:latin typeface="Helvetica 55 Roman"/>
                <a:ea typeface="+mn-ea"/>
                <a:cs typeface="Helvetica 55 Roman"/>
              </a:rPr>
              <a:t>Europe</a:t>
            </a:r>
            <a:endParaRPr sz="1150">
              <a:solidFill>
                <a:prstClr val="black"/>
              </a:solidFill>
              <a:latin typeface="Helvetica 55 Roman"/>
              <a:ea typeface="+mn-ea"/>
              <a:cs typeface="Helvetica 55 Roman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7433173" y="190179"/>
            <a:ext cx="1564187" cy="45926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sz="180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6360033" y="2963404"/>
            <a:ext cx="2687320" cy="1567180"/>
          </a:xfrm>
          <a:prstGeom prst="rect">
            <a:avLst/>
          </a:prstGeom>
        </p:spPr>
        <p:txBody>
          <a:bodyPr vert="horz" wrap="square" lIns="0" tIns="57785" rIns="0" bIns="0" rtlCol="0">
            <a:spAutoFit/>
          </a:bodyPr>
          <a:lstStyle/>
          <a:p>
            <a:pPr marL="12700" defTabSz="914400" fontAlgn="auto">
              <a:spcBef>
                <a:spcPts val="455"/>
              </a:spcBef>
              <a:spcAft>
                <a:spcPts val="0"/>
              </a:spcAft>
            </a:pPr>
            <a:r>
              <a:rPr sz="1200" b="1" dirty="0">
                <a:solidFill>
                  <a:srgbClr val="FF6600"/>
                </a:solidFill>
                <a:latin typeface="Arial"/>
                <a:ea typeface="+mn-ea"/>
                <a:cs typeface="Arial"/>
              </a:rPr>
              <a:t>Bénéfices</a:t>
            </a:r>
            <a:endParaRPr sz="1200">
              <a:solidFill>
                <a:prstClr val="black"/>
              </a:solidFill>
              <a:latin typeface="Arial"/>
              <a:ea typeface="+mn-ea"/>
              <a:cs typeface="Arial"/>
            </a:endParaRPr>
          </a:p>
          <a:p>
            <a:pPr marL="158750" marR="5080" indent="-146050" defTabSz="914400" fontAlgn="auto">
              <a:spcBef>
                <a:spcPts val="320"/>
              </a:spcBef>
              <a:spcAft>
                <a:spcPts val="0"/>
              </a:spcAft>
              <a:buClr>
                <a:srgbClr val="FF6600"/>
              </a:buClr>
              <a:buFont typeface="Wingdings"/>
              <a:buChar char=""/>
              <a:tabLst>
                <a:tab pos="159385" algn="l"/>
              </a:tabLst>
            </a:pPr>
            <a:r>
              <a:rPr sz="105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Remontée </a:t>
            </a:r>
            <a:r>
              <a:rPr sz="1050" spc="-5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des </a:t>
            </a:r>
            <a:r>
              <a:rPr sz="105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données et </a:t>
            </a:r>
            <a:r>
              <a:rPr sz="1050" spc="-5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des</a:t>
            </a:r>
            <a:r>
              <a:rPr sz="1050" spc="-105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 </a:t>
            </a:r>
            <a:r>
              <a:rPr sz="105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indicateurs  en temps</a:t>
            </a:r>
            <a:r>
              <a:rPr sz="1050" spc="-35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 </a:t>
            </a:r>
            <a:r>
              <a:rPr sz="1050" spc="-5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réel</a:t>
            </a:r>
            <a:endParaRPr sz="1050">
              <a:solidFill>
                <a:prstClr val="black"/>
              </a:solidFill>
              <a:latin typeface="Helvetica 55 Roman"/>
              <a:ea typeface="+mn-ea"/>
              <a:cs typeface="Helvetica 55 Roman"/>
            </a:endParaRPr>
          </a:p>
          <a:p>
            <a:pPr marL="158750" indent="-146050" defTabSz="914400" fontAlgn="auto"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Font typeface="Wingdings"/>
              <a:buChar char=""/>
              <a:tabLst>
                <a:tab pos="159385" algn="l"/>
              </a:tabLst>
            </a:pPr>
            <a:r>
              <a:rPr sz="105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Sécurisation </a:t>
            </a:r>
            <a:r>
              <a:rPr sz="1050" spc="-5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des</a:t>
            </a:r>
            <a:r>
              <a:rPr sz="1050" spc="-5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 </a:t>
            </a:r>
            <a:r>
              <a:rPr sz="105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équipements</a:t>
            </a:r>
            <a:endParaRPr sz="1050">
              <a:solidFill>
                <a:prstClr val="black"/>
              </a:solidFill>
              <a:latin typeface="Helvetica 55 Roman"/>
              <a:ea typeface="+mn-ea"/>
              <a:cs typeface="Helvetica 55 Roman"/>
            </a:endParaRPr>
          </a:p>
          <a:p>
            <a:pPr marL="158750" marR="156845" indent="-146050" defTabSz="914400" fontAlgn="auto"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Font typeface="Wingdings"/>
              <a:buChar char=""/>
              <a:tabLst>
                <a:tab pos="159385" algn="l"/>
              </a:tabLst>
            </a:pPr>
            <a:r>
              <a:rPr sz="105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Optimisation </a:t>
            </a:r>
            <a:r>
              <a:rPr sz="1050" spc="-5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des </a:t>
            </a:r>
            <a:r>
              <a:rPr sz="105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consommables et</a:t>
            </a:r>
            <a:r>
              <a:rPr sz="1050" spc="-114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 </a:t>
            </a:r>
            <a:r>
              <a:rPr sz="1050" spc="-5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des  </a:t>
            </a:r>
            <a:r>
              <a:rPr sz="105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intervention sur le</a:t>
            </a:r>
            <a:r>
              <a:rPr sz="1050" spc="-7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 </a:t>
            </a:r>
            <a:r>
              <a:rPr sz="105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site</a:t>
            </a:r>
            <a:endParaRPr sz="1050">
              <a:solidFill>
                <a:prstClr val="black"/>
              </a:solidFill>
              <a:latin typeface="Helvetica 55 Roman"/>
              <a:ea typeface="+mn-ea"/>
              <a:cs typeface="Helvetica 55 Roman"/>
            </a:endParaRPr>
          </a:p>
          <a:p>
            <a:pPr marL="158750" indent="-146050" defTabSz="914400" fontAlgn="auto"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Font typeface="Wingdings"/>
              <a:buChar char=""/>
              <a:tabLst>
                <a:tab pos="159385" algn="l"/>
              </a:tabLst>
            </a:pPr>
            <a:r>
              <a:rPr sz="105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Satisfaction des</a:t>
            </a:r>
            <a:r>
              <a:rPr sz="1050" spc="-125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 </a:t>
            </a:r>
            <a:r>
              <a:rPr sz="105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clients</a:t>
            </a:r>
            <a:endParaRPr sz="1050">
              <a:solidFill>
                <a:prstClr val="black"/>
              </a:solidFill>
              <a:latin typeface="Helvetica 55 Roman"/>
              <a:ea typeface="+mn-ea"/>
              <a:cs typeface="Helvetica 55 Roman"/>
            </a:endParaRPr>
          </a:p>
          <a:p>
            <a:pPr marL="158750" indent="-146050" defTabSz="914400" fontAlgn="auto"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Font typeface="Wingdings"/>
              <a:buChar char=""/>
              <a:tabLst>
                <a:tab pos="159385" algn="l"/>
              </a:tabLst>
            </a:pPr>
            <a:r>
              <a:rPr sz="105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Réactivité </a:t>
            </a:r>
            <a:r>
              <a:rPr sz="1050" spc="-5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accrue </a:t>
            </a:r>
            <a:r>
              <a:rPr sz="105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en </a:t>
            </a:r>
            <a:r>
              <a:rPr sz="1050" spc="-5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cas </a:t>
            </a:r>
            <a:r>
              <a:rPr sz="105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de</a:t>
            </a:r>
            <a:r>
              <a:rPr sz="1050" spc="-9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 </a:t>
            </a:r>
            <a:r>
              <a:rPr sz="1050" dirty="0">
                <a:solidFill>
                  <a:prstClr val="black"/>
                </a:solidFill>
                <a:latin typeface="Helvetica 55 Roman"/>
                <a:ea typeface="+mn-ea"/>
                <a:cs typeface="Helvetica 55 Roman"/>
              </a:rPr>
              <a:t>problème</a:t>
            </a:r>
            <a:endParaRPr sz="1050">
              <a:solidFill>
                <a:prstClr val="black"/>
              </a:solidFill>
              <a:latin typeface="Helvetica 55 Roman"/>
              <a:ea typeface="+mn-ea"/>
              <a:cs typeface="Helvetica 55 Roman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7380351" y="1519936"/>
            <a:ext cx="476250" cy="9525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sz="180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6300215" y="1900301"/>
            <a:ext cx="695782" cy="13915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sz="180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8034528" y="1379994"/>
            <a:ext cx="308089" cy="61619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sz="180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24726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3"/>
          <p:cNvSpPr/>
          <p:nvPr/>
        </p:nvSpPr>
        <p:spPr>
          <a:xfrm>
            <a:off x="4572000" y="969963"/>
            <a:ext cx="4103688" cy="3594100"/>
          </a:xfrm>
          <a:custGeom>
            <a:avLst/>
            <a:gdLst/>
            <a:ahLst/>
            <a:cxnLst/>
            <a:rect l="l" t="t" r="r" b="b"/>
            <a:pathLst>
              <a:path w="8375015" h="3606800">
                <a:moveTo>
                  <a:pt x="0" y="3606800"/>
                </a:moveTo>
                <a:lnTo>
                  <a:pt x="8374760" y="3606800"/>
                </a:lnTo>
                <a:lnTo>
                  <a:pt x="8374760" y="0"/>
                </a:lnTo>
                <a:lnTo>
                  <a:pt x="0" y="0"/>
                </a:lnTo>
                <a:lnTo>
                  <a:pt x="0" y="36068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2700">
            <a:solidFill>
              <a:srgbClr val="7E7E7E"/>
            </a:solidFill>
          </a:ln>
        </p:spPr>
        <p:txBody>
          <a:bodyPr lIns="0" tIns="0" rIns="0" bIns="0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sz="180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5" name="object 3"/>
          <p:cNvSpPr/>
          <p:nvPr/>
        </p:nvSpPr>
        <p:spPr>
          <a:xfrm>
            <a:off x="179388" y="969963"/>
            <a:ext cx="4105275" cy="3594100"/>
          </a:xfrm>
          <a:custGeom>
            <a:avLst/>
            <a:gdLst/>
            <a:ahLst/>
            <a:cxnLst/>
            <a:rect l="l" t="t" r="r" b="b"/>
            <a:pathLst>
              <a:path w="8375015" h="3606800">
                <a:moveTo>
                  <a:pt x="0" y="3606800"/>
                </a:moveTo>
                <a:lnTo>
                  <a:pt x="8374760" y="3606800"/>
                </a:lnTo>
                <a:lnTo>
                  <a:pt x="8374760" y="0"/>
                </a:lnTo>
                <a:lnTo>
                  <a:pt x="0" y="0"/>
                </a:lnTo>
                <a:lnTo>
                  <a:pt x="0" y="36068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2700">
            <a:solidFill>
              <a:srgbClr val="7E7E7E"/>
            </a:solidFill>
          </a:ln>
        </p:spPr>
        <p:txBody>
          <a:bodyPr lIns="0" tIns="0" rIns="0" bIns="0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sz="1800">
              <a:solidFill>
                <a:prstClr val="black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39725" y="292100"/>
            <a:ext cx="8470900" cy="623888"/>
          </a:xfrm>
        </p:spPr>
        <p:txBody>
          <a:bodyPr/>
          <a:lstStyle/>
          <a:p>
            <a:pPr eaLnBrk="1" hangingPunct="1">
              <a:defRPr/>
            </a:pPr>
            <a:r>
              <a:rPr lang="fr-FR" sz="2400" dirty="0" smtClean="0">
                <a:solidFill>
                  <a:schemeClr val="bg2"/>
                </a:solidFill>
                <a:ea typeface="ＭＳ Ｐゴシック" pitchFamily="34" charset="-128"/>
                <a:cs typeface="+mn-cs"/>
              </a:rPr>
              <a:t>Les caractéristiques d’un réseau </a:t>
            </a:r>
            <a:r>
              <a:rPr lang="fr-FR" sz="2400" dirty="0" err="1" smtClean="0">
                <a:solidFill>
                  <a:schemeClr val="bg2"/>
                </a:solidFill>
                <a:ea typeface="ＭＳ Ｐゴシック" pitchFamily="34" charset="-128"/>
                <a:cs typeface="+mn-cs"/>
              </a:rPr>
              <a:t>LoRa</a:t>
            </a:r>
            <a:r>
              <a:rPr lang="fr-FR" sz="2400" dirty="0" smtClean="0">
                <a:solidFill>
                  <a:schemeClr val="bg2"/>
                </a:solidFill>
                <a:ea typeface="ＭＳ Ｐゴシック" pitchFamily="34" charset="-128"/>
                <a:cs typeface="+mn-cs"/>
              </a:rPr>
              <a:t>®</a:t>
            </a:r>
            <a:endParaRPr lang="fr-FR" sz="2400" dirty="0">
              <a:solidFill>
                <a:schemeClr val="bg2"/>
              </a:solidFill>
              <a:ea typeface="ＭＳ Ｐゴシック" pitchFamily="34" charset="-128"/>
              <a:cs typeface="+mn-cs"/>
            </a:endParaRPr>
          </a:p>
        </p:txBody>
      </p:sp>
      <p:sp>
        <p:nvSpPr>
          <p:cNvPr id="17" name="Espace réservé du contenu 4"/>
          <p:cNvSpPr>
            <a:spLocks noGrp="1"/>
          </p:cNvSpPr>
          <p:nvPr>
            <p:ph idx="1"/>
          </p:nvPr>
        </p:nvSpPr>
        <p:spPr>
          <a:xfrm>
            <a:off x="339725" y="1304925"/>
            <a:ext cx="4065588" cy="3165475"/>
          </a:xfrm>
        </p:spPr>
        <p:txBody>
          <a:bodyPr/>
          <a:lstStyle/>
          <a:p>
            <a:pPr eaLnBrk="1" hangingPunct="1">
              <a:defRPr/>
            </a:pPr>
            <a:r>
              <a:rPr lang="fr-FR" dirty="0" smtClean="0">
                <a:ea typeface="ＭＳ Ｐゴシック" pitchFamily="34" charset="-128"/>
              </a:rPr>
              <a:t>Faible consommation électrique</a:t>
            </a:r>
          </a:p>
          <a:p>
            <a:pPr marL="285750" indent="-285750" eaLnBrk="1" hangingPunct="1">
              <a:buFont typeface="Arial" pitchFamily="34" charset="0"/>
              <a:buChar char="•"/>
              <a:defRPr/>
            </a:pPr>
            <a:r>
              <a:rPr lang="fr-FR" sz="1200" dirty="0" smtClean="0">
                <a:solidFill>
                  <a:schemeClr val="tx1"/>
                </a:solidFill>
                <a:ea typeface="ＭＳ Ｐゴシック" pitchFamily="34" charset="-128"/>
              </a:rPr>
              <a:t>Objectif de durée de vie : ~10 ans sur batterie</a:t>
            </a:r>
          </a:p>
          <a:p>
            <a:pPr eaLnBrk="1" hangingPunct="1">
              <a:defRPr/>
            </a:pPr>
            <a:r>
              <a:rPr lang="fr-FR" dirty="0">
                <a:ea typeface="ＭＳ Ｐゴシック" pitchFamily="34" charset="-128"/>
              </a:rPr>
              <a:t>C</a:t>
            </a:r>
            <a:r>
              <a:rPr lang="fr-FR" dirty="0" smtClean="0">
                <a:ea typeface="ＭＳ Ｐゴシック" pitchFamily="34" charset="-128"/>
              </a:rPr>
              <a:t>hipset de faible coût </a:t>
            </a:r>
          </a:p>
          <a:p>
            <a:pPr marL="285750" indent="-285750" eaLnBrk="1" hangingPunct="1">
              <a:buFont typeface="Arial" pitchFamily="34" charset="0"/>
              <a:buChar char="•"/>
              <a:defRPr/>
            </a:pPr>
            <a:r>
              <a:rPr lang="fr-FR" sz="1200" dirty="0" smtClean="0">
                <a:solidFill>
                  <a:schemeClr val="tx1"/>
                </a:solidFill>
                <a:ea typeface="ＭＳ Ｐゴシック" pitchFamily="34" charset="-128"/>
              </a:rPr>
              <a:t>1 à 2$ par module</a:t>
            </a:r>
          </a:p>
          <a:p>
            <a:pPr eaLnBrk="1" hangingPunct="1">
              <a:defRPr/>
            </a:pPr>
            <a:r>
              <a:rPr lang="fr-FR" dirty="0" smtClean="0">
                <a:ea typeface="ＭＳ Ｐゴシック" pitchFamily="34" charset="-128"/>
              </a:rPr>
              <a:t>Connectivité longue portée</a:t>
            </a:r>
          </a:p>
          <a:p>
            <a:pPr marL="285750" indent="-285750" eaLnBrk="1" hangingPunct="1">
              <a:buFont typeface="Arial" pitchFamily="34" charset="0"/>
              <a:buChar char="•"/>
              <a:defRPr/>
            </a:pPr>
            <a:r>
              <a:rPr lang="fr-FR" sz="1200" dirty="0" smtClean="0">
                <a:solidFill>
                  <a:schemeClr val="tx1"/>
                </a:solidFill>
                <a:ea typeface="ＭＳ Ｐゴシック" pitchFamily="34" charset="-128"/>
              </a:rPr>
              <a:t>3-5 km en environnement urbain , 15km en environnement rural</a:t>
            </a:r>
          </a:p>
          <a:p>
            <a:pPr eaLnBrk="1" hangingPunct="1">
              <a:defRPr/>
            </a:pPr>
            <a:r>
              <a:rPr lang="fr-FR" dirty="0">
                <a:ea typeface="ＭＳ Ｐゴシック" pitchFamily="34" charset="-128"/>
              </a:rPr>
              <a:t>C</a:t>
            </a:r>
            <a:r>
              <a:rPr lang="fr-FR" dirty="0" smtClean="0">
                <a:ea typeface="ＭＳ Ｐゴシック" pitchFamily="34" charset="-128"/>
              </a:rPr>
              <a:t>ommunications bi-directionnelles mais principalement uplink</a:t>
            </a:r>
          </a:p>
          <a:p>
            <a:pPr marL="285750" indent="-285750" eaLnBrk="1" hangingPunct="1">
              <a:buFont typeface="Arial" pitchFamily="34" charset="0"/>
              <a:buChar char="•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pitchFamily="34" charset="-128"/>
              </a:rPr>
              <a:t>Q</a:t>
            </a:r>
            <a:r>
              <a:rPr lang="fr-FR" sz="1200" dirty="0" smtClean="0">
                <a:solidFill>
                  <a:schemeClr val="tx1"/>
                </a:solidFill>
                <a:ea typeface="ＭＳ Ｐゴシック" pitchFamily="34" charset="-128"/>
              </a:rPr>
              <a:t>uelques octets envoyés par jour par capteur</a:t>
            </a:r>
          </a:p>
          <a:p>
            <a:pPr marL="285750" indent="-285750" eaLnBrk="1" hangingPunct="1">
              <a:buFont typeface="Arial" pitchFamily="34" charset="0"/>
              <a:buChar char="•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pitchFamily="34" charset="-128"/>
              </a:rPr>
              <a:t>Q</a:t>
            </a:r>
            <a:r>
              <a:rPr lang="fr-FR" sz="1200" dirty="0" smtClean="0">
                <a:solidFill>
                  <a:schemeClr val="tx1"/>
                </a:solidFill>
                <a:ea typeface="ＭＳ Ｐゴシック" pitchFamily="34" charset="-128"/>
              </a:rPr>
              <a:t>uelques messages par année en downlink (voie downlink très coûteuse)</a:t>
            </a:r>
          </a:p>
          <a:p>
            <a:pPr eaLnBrk="1" hangingPunct="1">
              <a:defRPr/>
            </a:pPr>
            <a:endParaRPr lang="fr-FR" dirty="0">
              <a:ea typeface="ＭＳ Ｐゴシック" pitchFamily="34" charset="-128"/>
            </a:endParaRPr>
          </a:p>
        </p:txBody>
      </p:sp>
      <p:sp>
        <p:nvSpPr>
          <p:cNvPr id="18" name="Espace réservé du contenu 5"/>
          <p:cNvSpPr>
            <a:spLocks noGrp="1"/>
          </p:cNvSpPr>
          <p:nvPr>
            <p:ph idx="10"/>
          </p:nvPr>
        </p:nvSpPr>
        <p:spPr>
          <a:xfrm>
            <a:off x="4738689" y="1304925"/>
            <a:ext cx="3793752" cy="3165475"/>
          </a:xfrm>
        </p:spPr>
        <p:txBody>
          <a:bodyPr/>
          <a:lstStyle/>
          <a:p>
            <a:pPr eaLnBrk="1" hangingPunct="1">
              <a:defRPr/>
            </a:pPr>
            <a:r>
              <a:rPr lang="fr-FR" dirty="0" smtClean="0">
                <a:ea typeface="ＭＳ Ｐゴシック" pitchFamily="34" charset="-128"/>
              </a:rPr>
              <a:t>Repose </a:t>
            </a:r>
            <a:r>
              <a:rPr lang="fr-FR" dirty="0">
                <a:solidFill>
                  <a:schemeClr val="tx1"/>
                </a:solidFill>
                <a:ea typeface="ＭＳ Ｐゴシック" pitchFamily="34" charset="-128"/>
              </a:rPr>
              <a:t>actuellement</a:t>
            </a:r>
            <a:r>
              <a:rPr lang="fr-FR" dirty="0">
                <a:ea typeface="ＭＳ Ｐゴシック" pitchFamily="34" charset="-128"/>
              </a:rPr>
              <a:t> sur bandes de licence libres (868MHz en France) </a:t>
            </a:r>
            <a:endParaRPr lang="fr-FR" dirty="0" smtClean="0">
              <a:ea typeface="ＭＳ Ｐゴシック" pitchFamily="34" charset="-128"/>
            </a:endParaRPr>
          </a:p>
          <a:p>
            <a:pPr marL="285750" indent="-285750" eaLnBrk="1" hangingPunct="1">
              <a:buFont typeface="Arial" pitchFamily="34" charset="0"/>
              <a:buChar char="•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pitchFamily="34" charset="-128"/>
              </a:rPr>
              <a:t>P</a:t>
            </a:r>
            <a:r>
              <a:rPr lang="fr-FR" sz="1200" dirty="0" smtClean="0">
                <a:solidFill>
                  <a:schemeClr val="tx1"/>
                </a:solidFill>
                <a:ea typeface="ＭＳ Ｐゴシック" pitchFamily="34" charset="-128"/>
              </a:rPr>
              <a:t>romesse faible coût déploiement, mais</a:t>
            </a:r>
          </a:p>
          <a:p>
            <a:pPr marL="285750" indent="-285750" eaLnBrk="1" hangingPunct="1">
              <a:buFont typeface="Arial" pitchFamily="34" charset="0"/>
              <a:buChar char="•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pitchFamily="34" charset="-128"/>
              </a:rPr>
              <a:t>P</a:t>
            </a:r>
            <a:r>
              <a:rPr lang="fr-FR" sz="1200" dirty="0" smtClean="0">
                <a:solidFill>
                  <a:schemeClr val="tx1"/>
                </a:solidFill>
                <a:ea typeface="ＭＳ Ｐゴシック" pitchFamily="34" charset="-128"/>
              </a:rPr>
              <a:t>as dédiée au LPWA</a:t>
            </a:r>
          </a:p>
          <a:p>
            <a:pPr marL="285750" indent="-285750" eaLnBrk="1" hangingPunct="1">
              <a:buFont typeface="Arial" pitchFamily="34" charset="0"/>
              <a:buChar char="•"/>
              <a:defRPr/>
            </a:pPr>
            <a:r>
              <a:rPr lang="fr-FR" sz="1200" dirty="0" smtClean="0">
                <a:solidFill>
                  <a:schemeClr val="tx1"/>
                </a:solidFill>
                <a:ea typeface="ＭＳ Ｐゴシック" pitchFamily="34" charset="-128"/>
              </a:rPr>
              <a:t>Ne peut écouter et recevoir en même temps</a:t>
            </a:r>
          </a:p>
          <a:p>
            <a:pPr marL="285750" indent="-285750" eaLnBrk="1" hangingPunct="1">
              <a:buFont typeface="Arial" pitchFamily="34" charset="0"/>
              <a:buChar char="•"/>
              <a:defRPr/>
            </a:pPr>
            <a:r>
              <a:rPr lang="fr-FR" sz="1200" dirty="0" smtClean="0">
                <a:solidFill>
                  <a:schemeClr val="tx1"/>
                </a:solidFill>
                <a:ea typeface="ＭＳ Ｐゴシック" pitchFamily="34" charset="-128"/>
              </a:rPr>
              <a:t>Contraintes réglementaires (duty cycle)</a:t>
            </a:r>
          </a:p>
          <a:p>
            <a:pPr marL="557213" lvl="3" indent="-285750" eaLnBrk="1" hangingPunct="1">
              <a:buFont typeface="Arial" panose="020B0604020202020204" pitchFamily="34" charset="0"/>
              <a:buChar char="•"/>
              <a:defRPr/>
            </a:pPr>
            <a:r>
              <a:rPr lang="fr-FR" sz="1000" dirty="0" smtClean="0">
                <a:ea typeface="ＭＳ Ｐゴシック" pitchFamily="34" charset="-128"/>
              </a:rPr>
              <a:t>Les Objets ne peuvent émettre que 36s/heure à une puissance max de 25mW</a:t>
            </a:r>
          </a:p>
          <a:p>
            <a:pPr marL="557213" lvl="3" indent="-285750" eaLnBrk="1" hangingPunct="1">
              <a:buFont typeface="Arial" panose="020B0604020202020204" pitchFamily="34" charset="0"/>
              <a:buChar char="•"/>
              <a:defRPr/>
            </a:pPr>
            <a:r>
              <a:rPr lang="fr-FR" sz="1000" dirty="0" smtClean="0">
                <a:ea typeface="ＭＳ Ｐゴシック" pitchFamily="34" charset="-128"/>
              </a:rPr>
              <a:t>Les </a:t>
            </a:r>
            <a:r>
              <a:rPr lang="fr-FR" sz="1000" dirty="0" err="1" smtClean="0">
                <a:ea typeface="ＭＳ Ｐゴシック" pitchFamily="34" charset="-128"/>
              </a:rPr>
              <a:t>Gateways</a:t>
            </a:r>
            <a:r>
              <a:rPr lang="fr-FR" sz="1000" dirty="0" smtClean="0">
                <a:ea typeface="ＭＳ Ｐゴシック" pitchFamily="34" charset="-128"/>
              </a:rPr>
              <a:t> ne peuvent émettre que 6 minutes/heure à une puissance max de 500mW</a:t>
            </a:r>
            <a:endParaRPr lang="fr-FR" sz="1000" dirty="0">
              <a:ea typeface="ＭＳ Ｐゴシック" pitchFamily="34" charset="-128"/>
            </a:endParaRPr>
          </a:p>
          <a:p>
            <a:pPr eaLnBrk="1" hangingPunct="1">
              <a:lnSpc>
                <a:spcPct val="100000"/>
              </a:lnSpc>
              <a:defRPr/>
            </a:pPr>
            <a:endParaRPr lang="fr-FR" dirty="0" smtClean="0">
              <a:ea typeface="ＭＳ Ｐゴシック" pitchFamily="34" charset="-128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60fd420e2f369681ff7d579defce549328791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3_OBS16-9">
  <a:themeElements>
    <a:clrScheme name="Personnalisé 5">
      <a:dk1>
        <a:srgbClr val="333333"/>
      </a:dk1>
      <a:lt1>
        <a:srgbClr val="FFFFFF"/>
      </a:lt1>
      <a:dk2>
        <a:srgbClr val="000000"/>
      </a:dk2>
      <a:lt2>
        <a:srgbClr val="FF6600"/>
      </a:lt2>
      <a:accent1>
        <a:srgbClr val="A5A5A5"/>
      </a:accent1>
      <a:accent2>
        <a:srgbClr val="4BB4E6"/>
      </a:accent2>
      <a:accent3>
        <a:srgbClr val="FAB900"/>
      </a:accent3>
      <a:accent4>
        <a:srgbClr val="9164CD"/>
      </a:accent4>
      <a:accent5>
        <a:srgbClr val="50BE87"/>
      </a:accent5>
      <a:accent6>
        <a:srgbClr val="FFB4E6"/>
      </a:accent6>
      <a:hlink>
        <a:srgbClr val="FF6600"/>
      </a:hlink>
      <a:folHlink>
        <a:srgbClr val="FF6600"/>
      </a:folHlink>
    </a:clrScheme>
    <a:fontScheme name="Personnalisé 1">
      <a:majorFont>
        <a:latin typeface="Helvetica 75 Bold"/>
        <a:ea typeface=""/>
        <a:cs typeface=""/>
      </a:majorFont>
      <a:minorFont>
        <a:latin typeface="Helvetica 55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DDDDD"/>
        </a:solidFill>
        <a:ln w="9525" algn="ctr">
          <a:noFill/>
          <a:round/>
          <a:headEnd/>
          <a:tailEnd/>
        </a:ln>
        <a:effectLst/>
      </a:spPr>
      <a:bodyPr lIns="0" tIns="0" rIns="0" bIns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000" b="0" i="0" u="none" strike="noStrike" kern="0" cap="none" spc="0" normalizeH="0" baseline="0" noProof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+mn-lt"/>
          </a:defRPr>
        </a:defPPr>
      </a:lstStyle>
    </a:spDef>
    <a:lnDef>
      <a:spPr>
        <a:noFill/>
        <a:ln w="9525" cap="flat" cmpd="sng" algn="ctr">
          <a:solidFill>
            <a:srgbClr val="000000">
              <a:lumMod val="65000"/>
              <a:lumOff val="35000"/>
            </a:srgbClr>
          </a:solidFill>
          <a:prstDash val="dash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bg1"/>
            </a:solidFill>
          </a:defRPr>
        </a:defPPr>
      </a:lstStyle>
    </a:txDef>
  </a:objectDefaults>
  <a:extraClrSchemeLst>
    <a:extraClrScheme>
      <a:clrScheme name="6_Orange Business Services ppt template_aug 2006 1">
        <a:dk1>
          <a:srgbClr val="333333"/>
        </a:dk1>
        <a:lt1>
          <a:srgbClr val="FFFFFF"/>
        </a:lt1>
        <a:dk2>
          <a:srgbClr val="000000"/>
        </a:dk2>
        <a:lt2>
          <a:srgbClr val="FF6600"/>
        </a:lt2>
        <a:accent1>
          <a:srgbClr val="000000"/>
        </a:accent1>
        <a:accent2>
          <a:srgbClr val="FFFFFF"/>
        </a:accent2>
        <a:accent3>
          <a:srgbClr val="AAAAAA"/>
        </a:accent3>
        <a:accent4>
          <a:srgbClr val="DADADA"/>
        </a:accent4>
        <a:accent5>
          <a:srgbClr val="AAAAAA"/>
        </a:accent5>
        <a:accent6>
          <a:srgbClr val="E7E7E7"/>
        </a:accent6>
        <a:hlink>
          <a:srgbClr val="FF6600"/>
        </a:hlink>
        <a:folHlink>
          <a:srgbClr val="FF66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Orange Business Services ppt template_aug 2006 2">
        <a:dk1>
          <a:srgbClr val="000000"/>
        </a:dk1>
        <a:lt1>
          <a:srgbClr val="FFFFFF"/>
        </a:lt1>
        <a:dk2>
          <a:srgbClr val="FF6600"/>
        </a:dk2>
        <a:lt2>
          <a:srgbClr val="DDDDDD"/>
        </a:lt2>
        <a:accent1>
          <a:srgbClr val="000000"/>
        </a:accent1>
        <a:accent2>
          <a:srgbClr val="FFFFFF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E7E7E7"/>
        </a:accent6>
        <a:hlink>
          <a:srgbClr val="FF66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4_OBS16-9">
  <a:themeElements>
    <a:clrScheme name="Personnalisé 5">
      <a:dk1>
        <a:srgbClr val="333333"/>
      </a:dk1>
      <a:lt1>
        <a:srgbClr val="FFFFFF"/>
      </a:lt1>
      <a:dk2>
        <a:srgbClr val="000000"/>
      </a:dk2>
      <a:lt2>
        <a:srgbClr val="FF6600"/>
      </a:lt2>
      <a:accent1>
        <a:srgbClr val="A5A5A5"/>
      </a:accent1>
      <a:accent2>
        <a:srgbClr val="4BB4E6"/>
      </a:accent2>
      <a:accent3>
        <a:srgbClr val="FAB900"/>
      </a:accent3>
      <a:accent4>
        <a:srgbClr val="9164CD"/>
      </a:accent4>
      <a:accent5>
        <a:srgbClr val="50BE87"/>
      </a:accent5>
      <a:accent6>
        <a:srgbClr val="FFB4E6"/>
      </a:accent6>
      <a:hlink>
        <a:srgbClr val="FF6600"/>
      </a:hlink>
      <a:folHlink>
        <a:srgbClr val="FF6600"/>
      </a:folHlink>
    </a:clrScheme>
    <a:fontScheme name="Personnalisé 1">
      <a:majorFont>
        <a:latin typeface="Helvetica 75 Bold"/>
        <a:ea typeface=""/>
        <a:cs typeface=""/>
      </a:majorFont>
      <a:minorFont>
        <a:latin typeface="Helvetica 55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DDDDD"/>
        </a:solidFill>
        <a:ln w="9525" algn="ctr">
          <a:noFill/>
          <a:round/>
          <a:headEnd/>
          <a:tailEnd/>
        </a:ln>
        <a:effectLst/>
      </a:spPr>
      <a:bodyPr lIns="0" tIns="0" rIns="0" bIns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000" b="0" i="0" u="none" strike="noStrike" kern="0" cap="none" spc="0" normalizeH="0" baseline="0" noProof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+mn-lt"/>
          </a:defRPr>
        </a:defPPr>
      </a:lstStyle>
    </a:spDef>
    <a:lnDef>
      <a:spPr>
        <a:noFill/>
        <a:ln w="9525" cap="flat" cmpd="sng" algn="ctr">
          <a:solidFill>
            <a:srgbClr val="000000">
              <a:lumMod val="65000"/>
              <a:lumOff val="35000"/>
            </a:srgbClr>
          </a:solidFill>
          <a:prstDash val="dash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bg1"/>
            </a:solidFill>
          </a:defRPr>
        </a:defPPr>
      </a:lstStyle>
    </a:txDef>
  </a:objectDefaults>
  <a:extraClrSchemeLst>
    <a:extraClrScheme>
      <a:clrScheme name="6_Orange Business Services ppt template_aug 2006 1">
        <a:dk1>
          <a:srgbClr val="333333"/>
        </a:dk1>
        <a:lt1>
          <a:srgbClr val="FFFFFF"/>
        </a:lt1>
        <a:dk2>
          <a:srgbClr val="000000"/>
        </a:dk2>
        <a:lt2>
          <a:srgbClr val="FF6600"/>
        </a:lt2>
        <a:accent1>
          <a:srgbClr val="000000"/>
        </a:accent1>
        <a:accent2>
          <a:srgbClr val="FFFFFF"/>
        </a:accent2>
        <a:accent3>
          <a:srgbClr val="AAAAAA"/>
        </a:accent3>
        <a:accent4>
          <a:srgbClr val="DADADA"/>
        </a:accent4>
        <a:accent5>
          <a:srgbClr val="AAAAAA"/>
        </a:accent5>
        <a:accent6>
          <a:srgbClr val="E7E7E7"/>
        </a:accent6>
        <a:hlink>
          <a:srgbClr val="FF6600"/>
        </a:hlink>
        <a:folHlink>
          <a:srgbClr val="FF66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Orange Business Services ppt template_aug 2006 2">
        <a:dk1>
          <a:srgbClr val="000000"/>
        </a:dk1>
        <a:lt1>
          <a:srgbClr val="FFFFFF"/>
        </a:lt1>
        <a:dk2>
          <a:srgbClr val="FF6600"/>
        </a:dk2>
        <a:lt2>
          <a:srgbClr val="DDDDDD"/>
        </a:lt2>
        <a:accent1>
          <a:srgbClr val="000000"/>
        </a:accent1>
        <a:accent2>
          <a:srgbClr val="FFFFFF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E7E7E7"/>
        </a:accent6>
        <a:hlink>
          <a:srgbClr val="FF66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5_OBS16-9">
  <a:themeElements>
    <a:clrScheme name="Personnalisé 5">
      <a:dk1>
        <a:srgbClr val="333333"/>
      </a:dk1>
      <a:lt1>
        <a:srgbClr val="FFFFFF"/>
      </a:lt1>
      <a:dk2>
        <a:srgbClr val="000000"/>
      </a:dk2>
      <a:lt2>
        <a:srgbClr val="FF6600"/>
      </a:lt2>
      <a:accent1>
        <a:srgbClr val="A5A5A5"/>
      </a:accent1>
      <a:accent2>
        <a:srgbClr val="4BB4E6"/>
      </a:accent2>
      <a:accent3>
        <a:srgbClr val="FAB900"/>
      </a:accent3>
      <a:accent4>
        <a:srgbClr val="9164CD"/>
      </a:accent4>
      <a:accent5>
        <a:srgbClr val="50BE87"/>
      </a:accent5>
      <a:accent6>
        <a:srgbClr val="FFB4E6"/>
      </a:accent6>
      <a:hlink>
        <a:srgbClr val="FF6600"/>
      </a:hlink>
      <a:folHlink>
        <a:srgbClr val="FF6600"/>
      </a:folHlink>
    </a:clrScheme>
    <a:fontScheme name="Personnalisé 1">
      <a:majorFont>
        <a:latin typeface="Helvetica 75 Bold"/>
        <a:ea typeface=""/>
        <a:cs typeface=""/>
      </a:majorFont>
      <a:minorFont>
        <a:latin typeface="Helvetica 55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DDDDD"/>
        </a:solidFill>
        <a:ln w="9525" algn="ctr">
          <a:noFill/>
          <a:round/>
          <a:headEnd/>
          <a:tailEnd/>
        </a:ln>
        <a:effectLst/>
      </a:spPr>
      <a:bodyPr lIns="0" tIns="0" rIns="0" bIns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000" b="0" i="0" u="none" strike="noStrike" kern="0" cap="none" spc="0" normalizeH="0" baseline="0" noProof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+mn-lt"/>
          </a:defRPr>
        </a:defPPr>
      </a:lstStyle>
    </a:spDef>
    <a:lnDef>
      <a:spPr>
        <a:noFill/>
        <a:ln w="9525" cap="flat" cmpd="sng" algn="ctr">
          <a:solidFill>
            <a:srgbClr val="000000">
              <a:lumMod val="65000"/>
              <a:lumOff val="35000"/>
            </a:srgbClr>
          </a:solidFill>
          <a:prstDash val="dash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bg1"/>
            </a:solidFill>
          </a:defRPr>
        </a:defPPr>
      </a:lstStyle>
    </a:txDef>
  </a:objectDefaults>
  <a:extraClrSchemeLst>
    <a:extraClrScheme>
      <a:clrScheme name="6_Orange Business Services ppt template_aug 2006 1">
        <a:dk1>
          <a:srgbClr val="333333"/>
        </a:dk1>
        <a:lt1>
          <a:srgbClr val="FFFFFF"/>
        </a:lt1>
        <a:dk2>
          <a:srgbClr val="000000"/>
        </a:dk2>
        <a:lt2>
          <a:srgbClr val="FF6600"/>
        </a:lt2>
        <a:accent1>
          <a:srgbClr val="000000"/>
        </a:accent1>
        <a:accent2>
          <a:srgbClr val="FFFFFF"/>
        </a:accent2>
        <a:accent3>
          <a:srgbClr val="AAAAAA"/>
        </a:accent3>
        <a:accent4>
          <a:srgbClr val="DADADA"/>
        </a:accent4>
        <a:accent5>
          <a:srgbClr val="AAAAAA"/>
        </a:accent5>
        <a:accent6>
          <a:srgbClr val="E7E7E7"/>
        </a:accent6>
        <a:hlink>
          <a:srgbClr val="FF6600"/>
        </a:hlink>
        <a:folHlink>
          <a:srgbClr val="FF66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Orange Business Services ppt template_aug 2006 2">
        <a:dk1>
          <a:srgbClr val="000000"/>
        </a:dk1>
        <a:lt1>
          <a:srgbClr val="FFFFFF"/>
        </a:lt1>
        <a:dk2>
          <a:srgbClr val="FF6600"/>
        </a:dk2>
        <a:lt2>
          <a:srgbClr val="DDDDDD"/>
        </a:lt2>
        <a:accent1>
          <a:srgbClr val="000000"/>
        </a:accent1>
        <a:accent2>
          <a:srgbClr val="FFFFFF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E7E7E7"/>
        </a:accent6>
        <a:hlink>
          <a:srgbClr val="FF66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6_OBS16-9">
  <a:themeElements>
    <a:clrScheme name="Personnalisé 5">
      <a:dk1>
        <a:srgbClr val="333333"/>
      </a:dk1>
      <a:lt1>
        <a:srgbClr val="FFFFFF"/>
      </a:lt1>
      <a:dk2>
        <a:srgbClr val="000000"/>
      </a:dk2>
      <a:lt2>
        <a:srgbClr val="FF6600"/>
      </a:lt2>
      <a:accent1>
        <a:srgbClr val="A5A5A5"/>
      </a:accent1>
      <a:accent2>
        <a:srgbClr val="4BB4E6"/>
      </a:accent2>
      <a:accent3>
        <a:srgbClr val="FAB900"/>
      </a:accent3>
      <a:accent4>
        <a:srgbClr val="9164CD"/>
      </a:accent4>
      <a:accent5>
        <a:srgbClr val="50BE87"/>
      </a:accent5>
      <a:accent6>
        <a:srgbClr val="FFB4E6"/>
      </a:accent6>
      <a:hlink>
        <a:srgbClr val="FF6600"/>
      </a:hlink>
      <a:folHlink>
        <a:srgbClr val="FF6600"/>
      </a:folHlink>
    </a:clrScheme>
    <a:fontScheme name="Personnalisé 1">
      <a:majorFont>
        <a:latin typeface="Helvetica 75 Bold"/>
        <a:ea typeface=""/>
        <a:cs typeface=""/>
      </a:majorFont>
      <a:minorFont>
        <a:latin typeface="Helvetica 55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DDDDD"/>
        </a:solidFill>
        <a:ln w="9525" algn="ctr">
          <a:noFill/>
          <a:round/>
          <a:headEnd/>
          <a:tailEnd/>
        </a:ln>
        <a:effectLst/>
      </a:spPr>
      <a:bodyPr lIns="0" tIns="0" rIns="0" bIns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000" b="0" i="0" u="none" strike="noStrike" kern="0" cap="none" spc="0" normalizeH="0" baseline="0" noProof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+mn-lt"/>
          </a:defRPr>
        </a:defPPr>
      </a:lstStyle>
    </a:spDef>
    <a:lnDef>
      <a:spPr>
        <a:noFill/>
        <a:ln w="9525" cap="flat" cmpd="sng" algn="ctr">
          <a:solidFill>
            <a:srgbClr val="000000">
              <a:lumMod val="65000"/>
              <a:lumOff val="35000"/>
            </a:srgbClr>
          </a:solidFill>
          <a:prstDash val="dash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bg1"/>
            </a:solidFill>
          </a:defRPr>
        </a:defPPr>
      </a:lstStyle>
    </a:txDef>
  </a:objectDefaults>
  <a:extraClrSchemeLst>
    <a:extraClrScheme>
      <a:clrScheme name="6_Orange Business Services ppt template_aug 2006 1">
        <a:dk1>
          <a:srgbClr val="333333"/>
        </a:dk1>
        <a:lt1>
          <a:srgbClr val="FFFFFF"/>
        </a:lt1>
        <a:dk2>
          <a:srgbClr val="000000"/>
        </a:dk2>
        <a:lt2>
          <a:srgbClr val="FF6600"/>
        </a:lt2>
        <a:accent1>
          <a:srgbClr val="000000"/>
        </a:accent1>
        <a:accent2>
          <a:srgbClr val="FFFFFF"/>
        </a:accent2>
        <a:accent3>
          <a:srgbClr val="AAAAAA"/>
        </a:accent3>
        <a:accent4>
          <a:srgbClr val="DADADA"/>
        </a:accent4>
        <a:accent5>
          <a:srgbClr val="AAAAAA"/>
        </a:accent5>
        <a:accent6>
          <a:srgbClr val="E7E7E7"/>
        </a:accent6>
        <a:hlink>
          <a:srgbClr val="FF6600"/>
        </a:hlink>
        <a:folHlink>
          <a:srgbClr val="FF66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Orange Business Services ppt template_aug 2006 2">
        <a:dk1>
          <a:srgbClr val="000000"/>
        </a:dk1>
        <a:lt1>
          <a:srgbClr val="FFFFFF"/>
        </a:lt1>
        <a:dk2>
          <a:srgbClr val="FF6600"/>
        </a:dk2>
        <a:lt2>
          <a:srgbClr val="DDDDDD"/>
        </a:lt2>
        <a:accent1>
          <a:srgbClr val="000000"/>
        </a:accent1>
        <a:accent2>
          <a:srgbClr val="FFFFFF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E7E7E7"/>
        </a:accent6>
        <a:hlink>
          <a:srgbClr val="FF66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english_powerpoint_template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range_PPTTemplate_v3.potx" id="{7EFB1CC4-B630-4DC5-B88F-B33ED10FA70B}" vid="{E661C32F-4836-4DD1-B604-E27281C607A6}"/>
    </a:ext>
  </a:extLst>
</a:theme>
</file>

<file path=ppt/theme/theme15.xml><?xml version="1.0" encoding="utf-8"?>
<a:theme xmlns:a="http://schemas.openxmlformats.org/drawingml/2006/main" name="1_english_powerpoint_template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range_PPTTemplate_v3.potx" id="{7EFB1CC4-B630-4DC5-B88F-B33ED10FA70B}" vid="{E661C32F-4836-4DD1-B604-E27281C607A6}"/>
    </a:ext>
  </a:extLst>
</a:theme>
</file>

<file path=ppt/theme/theme16.xml><?xml version="1.0" encoding="utf-8"?>
<a:theme xmlns:a="http://schemas.openxmlformats.org/drawingml/2006/main" name="1_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3_english_powerpoint_template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range_PPTTemplate_v3.potx" id="{7EFB1CC4-B630-4DC5-B88F-B33ED10FA70B}" vid="{E661C32F-4836-4DD1-B604-E27281C607A6}"/>
    </a:ext>
  </a:extLst>
</a:theme>
</file>

<file path=ppt/theme/theme18.xml><?xml version="1.0" encoding="utf-8"?>
<a:theme xmlns:a="http://schemas.openxmlformats.org/drawingml/2006/main" name="1_OBSFR_template_Beta[1]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ffice Classique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range_PPTTemplate_v3.potx" id="{7EFB1CC4-B630-4DC5-B88F-B33ED10FA70B}" vid="{E661C32F-4836-4DD1-B604-E27281C607A6}"/>
    </a:ext>
  </a:extLst>
</a:theme>
</file>

<file path=ppt/theme/theme19.xml><?xml version="1.0" encoding="utf-8"?>
<a:theme xmlns:a="http://schemas.openxmlformats.org/drawingml/2006/main" name="OBS16-9 (2)">
  <a:themeElements>
    <a:clrScheme name="Personnalisé 5">
      <a:dk1>
        <a:srgbClr val="333333"/>
      </a:dk1>
      <a:lt1>
        <a:srgbClr val="FFFFFF"/>
      </a:lt1>
      <a:dk2>
        <a:srgbClr val="000000"/>
      </a:dk2>
      <a:lt2>
        <a:srgbClr val="FF6600"/>
      </a:lt2>
      <a:accent1>
        <a:srgbClr val="A5A5A5"/>
      </a:accent1>
      <a:accent2>
        <a:srgbClr val="4BB4E6"/>
      </a:accent2>
      <a:accent3>
        <a:srgbClr val="FAB900"/>
      </a:accent3>
      <a:accent4>
        <a:srgbClr val="9164CD"/>
      </a:accent4>
      <a:accent5>
        <a:srgbClr val="50BE87"/>
      </a:accent5>
      <a:accent6>
        <a:srgbClr val="FFB4E6"/>
      </a:accent6>
      <a:hlink>
        <a:srgbClr val="FF6600"/>
      </a:hlink>
      <a:folHlink>
        <a:srgbClr val="FF6600"/>
      </a:folHlink>
    </a:clrScheme>
    <a:fontScheme name="Personnalisé 1">
      <a:majorFont>
        <a:latin typeface="Helvetica 75 Bold"/>
        <a:ea typeface=""/>
        <a:cs typeface=""/>
      </a:majorFont>
      <a:minorFont>
        <a:latin typeface="Helvetica 55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noFill/>
        </a:ln>
      </a:spPr>
      <a:bodyPr rtlCol="0" anchor="ctr"/>
      <a:lstStyle>
        <a:defPPr algn="ctr">
          <a:defRPr sz="14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0" cmpd="sng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bg1"/>
            </a:solidFill>
          </a:defRPr>
        </a:defPPr>
      </a:lstStyle>
    </a:txDef>
  </a:objectDefaults>
  <a:extraClrSchemeLst>
    <a:extraClrScheme>
      <a:clrScheme name="6_Orange Business Services ppt template_aug 2006 1">
        <a:dk1>
          <a:srgbClr val="333333"/>
        </a:dk1>
        <a:lt1>
          <a:srgbClr val="FFFFFF"/>
        </a:lt1>
        <a:dk2>
          <a:srgbClr val="000000"/>
        </a:dk2>
        <a:lt2>
          <a:srgbClr val="FF6600"/>
        </a:lt2>
        <a:accent1>
          <a:srgbClr val="000000"/>
        </a:accent1>
        <a:accent2>
          <a:srgbClr val="FFFFFF"/>
        </a:accent2>
        <a:accent3>
          <a:srgbClr val="AAAAAA"/>
        </a:accent3>
        <a:accent4>
          <a:srgbClr val="DADADA"/>
        </a:accent4>
        <a:accent5>
          <a:srgbClr val="AAAAAA"/>
        </a:accent5>
        <a:accent6>
          <a:srgbClr val="E7E7E7"/>
        </a:accent6>
        <a:hlink>
          <a:srgbClr val="FF6600"/>
        </a:hlink>
        <a:folHlink>
          <a:srgbClr val="FF66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Orange Business Services ppt template_aug 2006 2">
        <a:dk1>
          <a:srgbClr val="000000"/>
        </a:dk1>
        <a:lt1>
          <a:srgbClr val="FFFFFF"/>
        </a:lt1>
        <a:dk2>
          <a:srgbClr val="FF6600"/>
        </a:dk2>
        <a:lt2>
          <a:srgbClr val="DDDDDD"/>
        </a:lt2>
        <a:accent1>
          <a:srgbClr val="000000"/>
        </a:accent1>
        <a:accent2>
          <a:srgbClr val="FFFFFF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E7E7E7"/>
        </a:accent6>
        <a:hlink>
          <a:srgbClr val="FF66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tmp_AvirerORA_template_EN_beta_v4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range_PPTTemplate_v3.potx" id="{7EFB1CC4-B630-4DC5-B88F-B33ED10FA70B}" vid="{E661C32F-4836-4DD1-B604-E27281C607A6}"/>
    </a:ext>
  </a:extLst>
</a:theme>
</file>

<file path=ppt/theme/theme20.xml><?xml version="1.0" encoding="utf-8"?>
<a:theme xmlns:a="http://schemas.openxmlformats.org/drawingml/2006/main" name="1_orange_presentationbasique">
  <a:themeElements>
    <a:clrScheme name="OAB">
      <a:dk1>
        <a:srgbClr val="000000"/>
      </a:dk1>
      <a:lt1>
        <a:srgbClr val="FFFFFF"/>
      </a:lt1>
      <a:dk2>
        <a:srgbClr val="595959"/>
      </a:dk2>
      <a:lt2>
        <a:srgbClr val="FFFFFF"/>
      </a:lt2>
      <a:accent1>
        <a:srgbClr val="FF6600"/>
      </a:accent1>
      <a:accent2>
        <a:srgbClr val="4BB4E6"/>
      </a:accent2>
      <a:accent3>
        <a:srgbClr val="9164CD"/>
      </a:accent3>
      <a:accent4>
        <a:srgbClr val="50BE87"/>
      </a:accent4>
      <a:accent5>
        <a:srgbClr val="FFB4E6"/>
      </a:accent5>
      <a:accent6>
        <a:srgbClr val="FFDC00"/>
      </a:accent6>
      <a:hlink>
        <a:srgbClr val="5F5F5F"/>
      </a:hlink>
      <a:folHlink>
        <a:srgbClr val="919191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range_PPTTemplate_v3.potx" id="{7EFB1CC4-B630-4DC5-B88F-B33ED10FA70B}" vid="{E661C32F-4836-4DD1-B604-E27281C607A6}"/>
    </a:ext>
  </a:extLst>
</a:theme>
</file>

<file path=ppt/theme/theme21.xml><?xml version="1.0" encoding="utf-8"?>
<a:theme xmlns:a="http://schemas.openxmlformats.org/drawingml/2006/main" name="2_orange_presentationbasique">
  <a:themeElements>
    <a:clrScheme name="OAB">
      <a:dk1>
        <a:srgbClr val="000000"/>
      </a:dk1>
      <a:lt1>
        <a:srgbClr val="FFFFFF"/>
      </a:lt1>
      <a:dk2>
        <a:srgbClr val="595959"/>
      </a:dk2>
      <a:lt2>
        <a:srgbClr val="FFFFFF"/>
      </a:lt2>
      <a:accent1>
        <a:srgbClr val="FF6600"/>
      </a:accent1>
      <a:accent2>
        <a:srgbClr val="4BB4E6"/>
      </a:accent2>
      <a:accent3>
        <a:srgbClr val="9164CD"/>
      </a:accent3>
      <a:accent4>
        <a:srgbClr val="50BE87"/>
      </a:accent4>
      <a:accent5>
        <a:srgbClr val="FFB4E6"/>
      </a:accent5>
      <a:accent6>
        <a:srgbClr val="FFDC00"/>
      </a:accent6>
      <a:hlink>
        <a:srgbClr val="5F5F5F"/>
      </a:hlink>
      <a:folHlink>
        <a:srgbClr val="919191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range_PPTTemplate_v3.potx" id="{7EFB1CC4-B630-4DC5-B88F-B33ED10FA70B}" vid="{E661C32F-4836-4DD1-B604-E27281C607A6}"/>
    </a:ext>
  </a:extLst>
</a:theme>
</file>

<file path=ppt/theme/theme22.xml><?xml version="1.0" encoding="utf-8"?>
<a:theme xmlns:a="http://schemas.openxmlformats.org/drawingml/2006/main" name="3_orange_presentationbasique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range_PPTTemplate_v3.potx" id="{7EFB1CC4-B630-4DC5-B88F-B33ED10FA70B}" vid="{E661C32F-4836-4DD1-B604-E27281C607A6}"/>
    </a:ext>
  </a:extLst>
</a:theme>
</file>

<file path=ppt/theme/theme23.xml><?xml version="1.0" encoding="utf-8"?>
<a:theme xmlns:a="http://schemas.openxmlformats.org/drawingml/2006/main" name="4_orange_presentationbasique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range_PPTTemplate_v3.potx" id="{7EFB1CC4-B630-4DC5-B88F-B33ED10FA70B}" vid="{E661C32F-4836-4DD1-B604-E27281C607A6}"/>
    </a:ext>
  </a:extLst>
</a:theme>
</file>

<file path=ppt/theme/theme24.xml><?xml version="1.0" encoding="utf-8"?>
<a:theme xmlns:a="http://schemas.openxmlformats.org/drawingml/2006/main" name="5_orange_presentationbasique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range_PPTTemplate_v3.potx" id="{7EFB1CC4-B630-4DC5-B88F-B33ED10FA70B}" vid="{E661C32F-4836-4DD1-B604-E27281C607A6}"/>
    </a:ext>
  </a:extLst>
</a:theme>
</file>

<file path=ppt/theme/theme25.xml><?xml version="1.0" encoding="utf-8"?>
<a:theme xmlns:a="http://schemas.openxmlformats.org/drawingml/2006/main" name="1_couleurs charte 2015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range_PPTTemplate_v3.potx" id="{7EFB1CC4-B630-4DC5-B88F-B33ED10FA70B}" vid="{E661C32F-4836-4DD1-B604-E27281C607A6}"/>
    </a:ext>
  </a:extLst>
</a:theme>
</file>

<file path=ppt/theme/theme26.xml><?xml version="1.0" encoding="utf-8"?>
<a:theme xmlns:a="http://schemas.openxmlformats.org/drawingml/2006/main" name="2_tmp_AvirerORA_template_EN_beta_v4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range_PPTTemplate_v3.potx" id="{7EFB1CC4-B630-4DC5-B88F-B33ED10FA70B}" vid="{E661C32F-4836-4DD1-B604-E27281C607A6}"/>
    </a:ext>
  </a:extLst>
</a:theme>
</file>

<file path=ppt/theme/theme27.xml><?xml version="1.0" encoding="utf-8"?>
<a:theme xmlns:a="http://schemas.openxmlformats.org/drawingml/2006/main" name="2_couleurs charte 2015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range_PPTTemplate_v3.potx" id="{7EFB1CC4-B630-4DC5-B88F-B33ED10FA70B}" vid="{E661C32F-4836-4DD1-B604-E27281C607A6}"/>
    </a:ext>
  </a:extLst>
</a:theme>
</file>

<file path=ppt/theme/theme28.xml><?xml version="1.0" encoding="utf-8"?>
<a:theme xmlns:a="http://schemas.openxmlformats.org/drawingml/2006/main" name="3_tmp_AvirerORA_template_EN_beta_v4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range_PPTTemplate_v3.potx" id="{7EFB1CC4-B630-4DC5-B88F-B33ED10FA70B}" vid="{E661C32F-4836-4DD1-B604-E27281C607A6}"/>
    </a:ext>
  </a:extLst>
</a:theme>
</file>

<file path=ppt/theme/theme29.xml><?xml version="1.0" encoding="utf-8"?>
<a:theme xmlns:a="http://schemas.openxmlformats.org/drawingml/2006/main" name="4_tmp_AvirerORA_template_EN_beta_v4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range_PPTTemplate_v3.potx" id="{7EFB1CC4-B630-4DC5-B88F-B33ED10FA70B}" vid="{E661C32F-4836-4DD1-B604-E27281C607A6}"/>
    </a:ext>
  </a:extLst>
</a:theme>
</file>

<file path=ppt/theme/theme3.xml><?xml version="1.0" encoding="utf-8"?>
<a:theme xmlns:a="http://schemas.openxmlformats.org/drawingml/2006/main" name="OBS16-9">
  <a:themeElements>
    <a:clrScheme name="Personnalisé 5">
      <a:dk1>
        <a:srgbClr val="333333"/>
      </a:dk1>
      <a:lt1>
        <a:srgbClr val="FFFFFF"/>
      </a:lt1>
      <a:dk2>
        <a:srgbClr val="000000"/>
      </a:dk2>
      <a:lt2>
        <a:srgbClr val="FF6600"/>
      </a:lt2>
      <a:accent1>
        <a:srgbClr val="A5A5A5"/>
      </a:accent1>
      <a:accent2>
        <a:srgbClr val="4BB4E6"/>
      </a:accent2>
      <a:accent3>
        <a:srgbClr val="FAB900"/>
      </a:accent3>
      <a:accent4>
        <a:srgbClr val="9164CD"/>
      </a:accent4>
      <a:accent5>
        <a:srgbClr val="50BE87"/>
      </a:accent5>
      <a:accent6>
        <a:srgbClr val="FFB4E6"/>
      </a:accent6>
      <a:hlink>
        <a:srgbClr val="FF6600"/>
      </a:hlink>
      <a:folHlink>
        <a:srgbClr val="FF6600"/>
      </a:folHlink>
    </a:clrScheme>
    <a:fontScheme name="Personnalisé 1">
      <a:majorFont>
        <a:latin typeface="Helvetica 75 Bold"/>
        <a:ea typeface=""/>
        <a:cs typeface=""/>
      </a:majorFont>
      <a:minorFont>
        <a:latin typeface="Helvetica 55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DDDDD"/>
        </a:solidFill>
        <a:ln w="9525" algn="ctr">
          <a:noFill/>
          <a:round/>
          <a:headEnd/>
          <a:tailEnd/>
        </a:ln>
        <a:effectLst/>
      </a:spPr>
      <a:bodyPr lIns="0" tIns="0" rIns="0" bIns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000" b="0" i="0" u="none" strike="noStrike" kern="0" cap="none" spc="0" normalizeH="0" baseline="0" noProof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+mn-lt"/>
          </a:defRPr>
        </a:defPPr>
      </a:lstStyle>
    </a:spDef>
    <a:lnDef>
      <a:spPr>
        <a:noFill/>
        <a:ln w="9525" cap="flat" cmpd="sng" algn="ctr">
          <a:solidFill>
            <a:srgbClr val="000000">
              <a:lumMod val="65000"/>
              <a:lumOff val="35000"/>
            </a:srgbClr>
          </a:solidFill>
          <a:prstDash val="dash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bg1"/>
            </a:solidFill>
          </a:defRPr>
        </a:defPPr>
      </a:lstStyle>
    </a:txDef>
  </a:objectDefaults>
  <a:extraClrSchemeLst>
    <a:extraClrScheme>
      <a:clrScheme name="6_Orange Business Services ppt template_aug 2006 1">
        <a:dk1>
          <a:srgbClr val="333333"/>
        </a:dk1>
        <a:lt1>
          <a:srgbClr val="FFFFFF"/>
        </a:lt1>
        <a:dk2>
          <a:srgbClr val="000000"/>
        </a:dk2>
        <a:lt2>
          <a:srgbClr val="FF6600"/>
        </a:lt2>
        <a:accent1>
          <a:srgbClr val="000000"/>
        </a:accent1>
        <a:accent2>
          <a:srgbClr val="FFFFFF"/>
        </a:accent2>
        <a:accent3>
          <a:srgbClr val="AAAAAA"/>
        </a:accent3>
        <a:accent4>
          <a:srgbClr val="DADADA"/>
        </a:accent4>
        <a:accent5>
          <a:srgbClr val="AAAAAA"/>
        </a:accent5>
        <a:accent6>
          <a:srgbClr val="E7E7E7"/>
        </a:accent6>
        <a:hlink>
          <a:srgbClr val="FF6600"/>
        </a:hlink>
        <a:folHlink>
          <a:srgbClr val="FF66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Orange Business Services ppt template_aug 2006 2">
        <a:dk1>
          <a:srgbClr val="000000"/>
        </a:dk1>
        <a:lt1>
          <a:srgbClr val="FFFFFF"/>
        </a:lt1>
        <a:dk2>
          <a:srgbClr val="FF6600"/>
        </a:dk2>
        <a:lt2>
          <a:srgbClr val="DDDDDD"/>
        </a:lt2>
        <a:accent1>
          <a:srgbClr val="000000"/>
        </a:accent1>
        <a:accent2>
          <a:srgbClr val="FFFFFF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E7E7E7"/>
        </a:accent6>
        <a:hlink>
          <a:srgbClr val="FF66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0.xml><?xml version="1.0" encoding="utf-8"?>
<a:theme xmlns:a="http://schemas.openxmlformats.org/drawingml/2006/main" name="5_tmp_AvirerORA_template_EN_beta_v4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range_PPTTemplate_v3.potx" id="{7EFB1CC4-B630-4DC5-B88F-B33ED10FA70B}" vid="{E661C32F-4836-4DD1-B604-E27281C607A6}"/>
    </a:ext>
  </a:extLst>
</a:theme>
</file>

<file path=ppt/theme/theme31.xml><?xml version="1.0" encoding="utf-8"?>
<a:theme xmlns:a="http://schemas.openxmlformats.org/drawingml/2006/main" name="6_tmp_AvirerORA_template_EN_beta_v4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range_PPTTemplate_v3.potx" id="{7EFB1CC4-B630-4DC5-B88F-B33ED10FA70B}" vid="{E661C32F-4836-4DD1-B604-E27281C607A6}"/>
    </a:ext>
  </a:extLst>
</a:theme>
</file>

<file path=ppt/theme/theme32.xml><?xml version="1.0" encoding="utf-8"?>
<a:theme xmlns:a="http://schemas.openxmlformats.org/drawingml/2006/main" name="1_OBS16-9 (2)">
  <a:themeElements>
    <a:clrScheme name="Personnalisé 5">
      <a:dk1>
        <a:srgbClr val="333333"/>
      </a:dk1>
      <a:lt1>
        <a:srgbClr val="FFFFFF"/>
      </a:lt1>
      <a:dk2>
        <a:srgbClr val="000000"/>
      </a:dk2>
      <a:lt2>
        <a:srgbClr val="FF6600"/>
      </a:lt2>
      <a:accent1>
        <a:srgbClr val="A5A5A5"/>
      </a:accent1>
      <a:accent2>
        <a:srgbClr val="4BB4E6"/>
      </a:accent2>
      <a:accent3>
        <a:srgbClr val="FAB900"/>
      </a:accent3>
      <a:accent4>
        <a:srgbClr val="9164CD"/>
      </a:accent4>
      <a:accent5>
        <a:srgbClr val="50BE87"/>
      </a:accent5>
      <a:accent6>
        <a:srgbClr val="FFB4E6"/>
      </a:accent6>
      <a:hlink>
        <a:srgbClr val="FF6600"/>
      </a:hlink>
      <a:folHlink>
        <a:srgbClr val="FF6600"/>
      </a:folHlink>
    </a:clrScheme>
    <a:fontScheme name="Personnalisé 1">
      <a:majorFont>
        <a:latin typeface="Helvetica 75 Bold"/>
        <a:ea typeface=""/>
        <a:cs typeface=""/>
      </a:majorFont>
      <a:minorFont>
        <a:latin typeface="Helvetica 55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noFill/>
        </a:ln>
      </a:spPr>
      <a:bodyPr rtlCol="0" anchor="ctr"/>
      <a:lstStyle>
        <a:defPPr algn="ctr">
          <a:defRPr sz="14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0" cmpd="sng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bg1"/>
            </a:solidFill>
          </a:defRPr>
        </a:defPPr>
      </a:lstStyle>
    </a:txDef>
  </a:objectDefaults>
  <a:extraClrSchemeLst>
    <a:extraClrScheme>
      <a:clrScheme name="6_Orange Business Services ppt template_aug 2006 1">
        <a:dk1>
          <a:srgbClr val="333333"/>
        </a:dk1>
        <a:lt1>
          <a:srgbClr val="FFFFFF"/>
        </a:lt1>
        <a:dk2>
          <a:srgbClr val="000000"/>
        </a:dk2>
        <a:lt2>
          <a:srgbClr val="FF6600"/>
        </a:lt2>
        <a:accent1>
          <a:srgbClr val="000000"/>
        </a:accent1>
        <a:accent2>
          <a:srgbClr val="FFFFFF"/>
        </a:accent2>
        <a:accent3>
          <a:srgbClr val="AAAAAA"/>
        </a:accent3>
        <a:accent4>
          <a:srgbClr val="DADADA"/>
        </a:accent4>
        <a:accent5>
          <a:srgbClr val="AAAAAA"/>
        </a:accent5>
        <a:accent6>
          <a:srgbClr val="E7E7E7"/>
        </a:accent6>
        <a:hlink>
          <a:srgbClr val="FF6600"/>
        </a:hlink>
        <a:folHlink>
          <a:srgbClr val="FF66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Orange Business Services ppt template_aug 2006 2">
        <a:dk1>
          <a:srgbClr val="000000"/>
        </a:dk1>
        <a:lt1>
          <a:srgbClr val="FFFFFF"/>
        </a:lt1>
        <a:dk2>
          <a:srgbClr val="FF6600"/>
        </a:dk2>
        <a:lt2>
          <a:srgbClr val="DDDDDD"/>
        </a:lt2>
        <a:accent1>
          <a:srgbClr val="000000"/>
        </a:accent1>
        <a:accent2>
          <a:srgbClr val="FFFFFF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E7E7E7"/>
        </a:accent6>
        <a:hlink>
          <a:srgbClr val="FF66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3.xml><?xml version="1.0" encoding="utf-8"?>
<a:theme xmlns:a="http://schemas.openxmlformats.org/drawingml/2006/main" name="7_tmp_AvirerORA_template_EN_beta_v4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range_PPTTemplate_v3.potx" id="{7EFB1CC4-B630-4DC5-B88F-B33ED10FA70B}" vid="{E661C32F-4836-4DD1-B604-E27281C607A6}"/>
    </a:ext>
  </a:extLst>
</a:theme>
</file>

<file path=ppt/theme/theme34.xml><?xml version="1.0" encoding="utf-8"?>
<a:theme xmlns:a="http://schemas.openxmlformats.org/drawingml/2006/main" name="7_orange_presentationbasique">
  <a:themeElements>
    <a:clrScheme name="OAB">
      <a:dk1>
        <a:srgbClr val="000000"/>
      </a:dk1>
      <a:lt1>
        <a:srgbClr val="FFFFFF"/>
      </a:lt1>
      <a:dk2>
        <a:srgbClr val="595959"/>
      </a:dk2>
      <a:lt2>
        <a:srgbClr val="FFFFFF"/>
      </a:lt2>
      <a:accent1>
        <a:srgbClr val="FF6600"/>
      </a:accent1>
      <a:accent2>
        <a:srgbClr val="4BB4E6"/>
      </a:accent2>
      <a:accent3>
        <a:srgbClr val="9164CD"/>
      </a:accent3>
      <a:accent4>
        <a:srgbClr val="50BE87"/>
      </a:accent4>
      <a:accent5>
        <a:srgbClr val="FFB4E6"/>
      </a:accent5>
      <a:accent6>
        <a:srgbClr val="FFDC00"/>
      </a:accent6>
      <a:hlink>
        <a:srgbClr val="5F5F5F"/>
      </a:hlink>
      <a:folHlink>
        <a:srgbClr val="919191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range_PPTTemplate_v3.potx" id="{7EFB1CC4-B630-4DC5-B88F-B33ED10FA70B}" vid="{E661C32F-4836-4DD1-B604-E27281C607A6}"/>
    </a:ext>
  </a:extLst>
</a:theme>
</file>

<file path=ppt/theme/theme35.xml><?xml version="1.0" encoding="utf-8"?>
<a:theme xmlns:a="http://schemas.openxmlformats.org/drawingml/2006/main" name="4_business_services_V6_small">
  <a:themeElements>
    <a:clrScheme name="4_business_services_V6_small 2">
      <a:dk1>
        <a:srgbClr val="000000"/>
      </a:dk1>
      <a:lt1>
        <a:srgbClr val="FFFFFF"/>
      </a:lt1>
      <a:dk2>
        <a:srgbClr val="FF6600"/>
      </a:dk2>
      <a:lt2>
        <a:srgbClr val="DDDDDD"/>
      </a:lt2>
      <a:accent1>
        <a:srgbClr val="000000"/>
      </a:accent1>
      <a:accent2>
        <a:srgbClr val="FFFFFF"/>
      </a:accent2>
      <a:accent3>
        <a:srgbClr val="FFFFFF"/>
      </a:accent3>
      <a:accent4>
        <a:srgbClr val="000000"/>
      </a:accent4>
      <a:accent5>
        <a:srgbClr val="AAAAAA"/>
      </a:accent5>
      <a:accent6>
        <a:srgbClr val="E7E7E7"/>
      </a:accent6>
      <a:hlink>
        <a:srgbClr val="FF6600"/>
      </a:hlink>
      <a:folHlink>
        <a:srgbClr val="FF6600"/>
      </a:folHlink>
    </a:clrScheme>
    <a:fontScheme name="4_business_services_V6_small">
      <a:majorFont>
        <a:latin typeface="Helvetica 65 Medium"/>
        <a:ea typeface=""/>
        <a:cs typeface=""/>
      </a:majorFont>
      <a:minorFont>
        <a:latin typeface="Helvetica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4_business_services_V6_small 1">
        <a:dk1>
          <a:srgbClr val="333333"/>
        </a:dk1>
        <a:lt1>
          <a:srgbClr val="FFFFFF"/>
        </a:lt1>
        <a:dk2>
          <a:srgbClr val="000000"/>
        </a:dk2>
        <a:lt2>
          <a:srgbClr val="FF6600"/>
        </a:lt2>
        <a:accent1>
          <a:srgbClr val="000000"/>
        </a:accent1>
        <a:accent2>
          <a:srgbClr val="FFFFFF"/>
        </a:accent2>
        <a:accent3>
          <a:srgbClr val="AAAAAA"/>
        </a:accent3>
        <a:accent4>
          <a:srgbClr val="DADADA"/>
        </a:accent4>
        <a:accent5>
          <a:srgbClr val="AAAAAA"/>
        </a:accent5>
        <a:accent6>
          <a:srgbClr val="E7E7E7"/>
        </a:accent6>
        <a:hlink>
          <a:srgbClr val="FF6600"/>
        </a:hlink>
        <a:folHlink>
          <a:srgbClr val="FF66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business_services_V6_small 2">
        <a:dk1>
          <a:srgbClr val="000000"/>
        </a:dk1>
        <a:lt1>
          <a:srgbClr val="FFFFFF"/>
        </a:lt1>
        <a:dk2>
          <a:srgbClr val="FF6600"/>
        </a:dk2>
        <a:lt2>
          <a:srgbClr val="DDDDDD"/>
        </a:lt2>
        <a:accent1>
          <a:srgbClr val="000000"/>
        </a:accent1>
        <a:accent2>
          <a:srgbClr val="FFFFFF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E7E7E7"/>
        </a:accent6>
        <a:hlink>
          <a:srgbClr val="FF66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6.xml><?xml version="1.0" encoding="utf-8"?>
<a:theme xmlns:a="http://schemas.openxmlformats.org/drawingml/2006/main" name="8_tmp_AvirerORA_template_EN_beta_v4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range_PPTTemplate_v3.potx" id="{7EFB1CC4-B630-4DC5-B88F-B33ED10FA70B}" vid="{E661C32F-4836-4DD1-B604-E27281C607A6}"/>
    </a:ext>
  </a:extLst>
</a:theme>
</file>

<file path=ppt/theme/theme37.xml><?xml version="1.0" encoding="utf-8"?>
<a:theme xmlns:a="http://schemas.openxmlformats.org/drawingml/2006/main" name="9_tmp_AvirerORA_template_EN_beta_v4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range_PPTTemplate_v3.potx" id="{7EFB1CC4-B630-4DC5-B88F-B33ED10FA70B}" vid="{E661C32F-4836-4DD1-B604-E27281C607A6}"/>
    </a:ext>
  </a:extLst>
</a:theme>
</file>

<file path=ppt/theme/theme38.xml><?xml version="1.0" encoding="utf-8"?>
<a:theme xmlns:a="http://schemas.openxmlformats.org/drawingml/2006/main" name="1_blank">
  <a:themeElements>
    <a:clrScheme name="Orange 2015 Black BG">
      <a:dk1>
        <a:srgbClr val="FFFFFF"/>
      </a:dk1>
      <a:lt1>
        <a:srgbClr val="000000"/>
      </a:lt1>
      <a:dk2>
        <a:srgbClr val="FF7900"/>
      </a:dk2>
      <a:lt2>
        <a:srgbClr val="595959"/>
      </a:lt2>
      <a:accent1>
        <a:srgbClr val="4BB4E6"/>
      </a:accent1>
      <a:accent2>
        <a:srgbClr val="A885D8"/>
      </a:accent2>
      <a:accent3>
        <a:srgbClr val="50BE87"/>
      </a:accent3>
      <a:accent4>
        <a:srgbClr val="FFB4E6"/>
      </a:accent4>
      <a:accent5>
        <a:srgbClr val="FFD200"/>
      </a:accent5>
      <a:accent6>
        <a:srgbClr val="8F8F8F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range_PPTTemplate_v3.potx" id="{7EFB1CC4-B630-4DC5-B88F-B33ED10FA70B}" vid="{E661C32F-4836-4DD1-B604-E27281C607A6}"/>
    </a:ext>
  </a:extLst>
</a:theme>
</file>

<file path=ppt/theme/theme39.xml><?xml version="1.0" encoding="utf-8"?>
<a:theme xmlns:a="http://schemas.openxmlformats.org/drawingml/2006/main" name="4_OFR_template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range_PPTTemplate_v3.potx" id="{7EFB1CC4-B630-4DC5-B88F-B33ED10FA70B}" vid="{E661C32F-4836-4DD1-B604-E27281C607A6}"/>
    </a:ext>
  </a:extLst>
</a:theme>
</file>

<file path=ppt/theme/theme4.xml><?xml version="1.0" encoding="utf-8"?>
<a:theme xmlns:a="http://schemas.openxmlformats.org/drawingml/2006/main" name="1_OBS16-9">
  <a:themeElements>
    <a:clrScheme name="Personnalisé 5">
      <a:dk1>
        <a:srgbClr val="333333"/>
      </a:dk1>
      <a:lt1>
        <a:srgbClr val="FFFFFF"/>
      </a:lt1>
      <a:dk2>
        <a:srgbClr val="000000"/>
      </a:dk2>
      <a:lt2>
        <a:srgbClr val="FF6600"/>
      </a:lt2>
      <a:accent1>
        <a:srgbClr val="A5A5A5"/>
      </a:accent1>
      <a:accent2>
        <a:srgbClr val="4BB4E6"/>
      </a:accent2>
      <a:accent3>
        <a:srgbClr val="FAB900"/>
      </a:accent3>
      <a:accent4>
        <a:srgbClr val="9164CD"/>
      </a:accent4>
      <a:accent5>
        <a:srgbClr val="50BE87"/>
      </a:accent5>
      <a:accent6>
        <a:srgbClr val="FFB4E6"/>
      </a:accent6>
      <a:hlink>
        <a:srgbClr val="FF6600"/>
      </a:hlink>
      <a:folHlink>
        <a:srgbClr val="FF6600"/>
      </a:folHlink>
    </a:clrScheme>
    <a:fontScheme name="Personnalisé 1">
      <a:majorFont>
        <a:latin typeface="Helvetica 75 Bold"/>
        <a:ea typeface=""/>
        <a:cs typeface=""/>
      </a:majorFont>
      <a:minorFont>
        <a:latin typeface="Helvetica 55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DDDDD"/>
        </a:solidFill>
        <a:ln w="9525" algn="ctr">
          <a:noFill/>
          <a:round/>
          <a:headEnd/>
          <a:tailEnd/>
        </a:ln>
        <a:effectLst/>
      </a:spPr>
      <a:bodyPr lIns="0" tIns="0" rIns="0" bIns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000" b="0" i="0" u="none" strike="noStrike" kern="0" cap="none" spc="0" normalizeH="0" baseline="0" noProof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+mn-lt"/>
          </a:defRPr>
        </a:defPPr>
      </a:lstStyle>
    </a:spDef>
    <a:lnDef>
      <a:spPr>
        <a:noFill/>
        <a:ln w="9525" cap="flat" cmpd="sng" algn="ctr">
          <a:solidFill>
            <a:srgbClr val="000000">
              <a:lumMod val="65000"/>
              <a:lumOff val="35000"/>
            </a:srgbClr>
          </a:solidFill>
          <a:prstDash val="dash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bg1"/>
            </a:solidFill>
          </a:defRPr>
        </a:defPPr>
      </a:lstStyle>
    </a:txDef>
  </a:objectDefaults>
  <a:extraClrSchemeLst>
    <a:extraClrScheme>
      <a:clrScheme name="6_Orange Business Services ppt template_aug 2006 1">
        <a:dk1>
          <a:srgbClr val="333333"/>
        </a:dk1>
        <a:lt1>
          <a:srgbClr val="FFFFFF"/>
        </a:lt1>
        <a:dk2>
          <a:srgbClr val="000000"/>
        </a:dk2>
        <a:lt2>
          <a:srgbClr val="FF6600"/>
        </a:lt2>
        <a:accent1>
          <a:srgbClr val="000000"/>
        </a:accent1>
        <a:accent2>
          <a:srgbClr val="FFFFFF"/>
        </a:accent2>
        <a:accent3>
          <a:srgbClr val="AAAAAA"/>
        </a:accent3>
        <a:accent4>
          <a:srgbClr val="DADADA"/>
        </a:accent4>
        <a:accent5>
          <a:srgbClr val="AAAAAA"/>
        </a:accent5>
        <a:accent6>
          <a:srgbClr val="E7E7E7"/>
        </a:accent6>
        <a:hlink>
          <a:srgbClr val="FF6600"/>
        </a:hlink>
        <a:folHlink>
          <a:srgbClr val="FF66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Orange Business Services ppt template_aug 2006 2">
        <a:dk1>
          <a:srgbClr val="000000"/>
        </a:dk1>
        <a:lt1>
          <a:srgbClr val="FFFFFF"/>
        </a:lt1>
        <a:dk2>
          <a:srgbClr val="FF6600"/>
        </a:dk2>
        <a:lt2>
          <a:srgbClr val="DDDDDD"/>
        </a:lt2>
        <a:accent1>
          <a:srgbClr val="000000"/>
        </a:accent1>
        <a:accent2>
          <a:srgbClr val="FFFFFF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E7E7E7"/>
        </a:accent6>
        <a:hlink>
          <a:srgbClr val="FF66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0.xml><?xml version="1.0" encoding="utf-8"?>
<a:theme xmlns:a="http://schemas.openxmlformats.org/drawingml/2006/main" name="4_OFR_template(OrangeConsulting)">
  <a:themeElements>
    <a:clrScheme name="Custom 1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9164CD"/>
      </a:accent2>
      <a:accent3>
        <a:srgbClr val="4BB4E6"/>
      </a:accent3>
      <a:accent4>
        <a:srgbClr val="FFDC00"/>
      </a:accent4>
      <a:accent5>
        <a:srgbClr val="50BE87"/>
      </a:accent5>
      <a:accent6>
        <a:srgbClr val="FFB4E6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range_PPTTemplate_v3.potx" id="{7EFB1CC4-B630-4DC5-B88F-B33ED10FA70B}" vid="{E661C32F-4836-4DD1-B604-E27281C607A6}"/>
    </a:ext>
  </a:extLst>
</a:theme>
</file>

<file path=ppt/theme/theme41.xml><?xml version="1.0" encoding="utf-8"?>
<a:theme xmlns:a="http://schemas.openxmlformats.org/drawingml/2006/main" name="10_tmp_AvirerORA_template_EN_beta_v4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range_PPTTemplate_v3.potx" id="{7EFB1CC4-B630-4DC5-B88F-B33ED10FA70B}" vid="{E661C32F-4836-4DD1-B604-E27281C607A6}"/>
    </a:ext>
  </a:extLst>
</a:theme>
</file>

<file path=ppt/theme/theme42.xml><?xml version="1.0" encoding="utf-8"?>
<a:theme xmlns:a="http://schemas.openxmlformats.org/drawingml/2006/main" name="Orange16-9">
  <a:themeElements>
    <a:clrScheme name="Personnalisé 1">
      <a:dk1>
        <a:srgbClr val="333333"/>
      </a:dk1>
      <a:lt1>
        <a:srgbClr val="FFFFFF"/>
      </a:lt1>
      <a:dk2>
        <a:srgbClr val="000000"/>
      </a:dk2>
      <a:lt2>
        <a:srgbClr val="FF6600"/>
      </a:lt2>
      <a:accent1>
        <a:srgbClr val="8F8F8F"/>
      </a:accent1>
      <a:accent2>
        <a:srgbClr val="4BB4E6"/>
      </a:accent2>
      <a:accent3>
        <a:srgbClr val="FFDC00"/>
      </a:accent3>
      <a:accent4>
        <a:srgbClr val="9164CD"/>
      </a:accent4>
      <a:accent5>
        <a:srgbClr val="50BE87"/>
      </a:accent5>
      <a:accent6>
        <a:srgbClr val="FFB4E6"/>
      </a:accent6>
      <a:hlink>
        <a:srgbClr val="FF6600"/>
      </a:hlink>
      <a:folHlink>
        <a:srgbClr val="FF66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55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9525">
          <a:noFill/>
          <a:miter lim="800000"/>
        </a:ln>
      </a:spPr>
      <a:bodyPr rtlCol="0" anchor="ctr"/>
      <a:lstStyle>
        <a:defPPr algn="ctr">
          <a:defRPr dirty="0" err="1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400" dirty="0" err="1" smtClean="0">
            <a:solidFill>
              <a:schemeClr val="tx2"/>
            </a:solidFill>
            <a:latin typeface="Helvetica 55 Roman" panose="020B0604020202020204" pitchFamily="2" charset="0"/>
          </a:defRPr>
        </a:defPPr>
      </a:lstStyle>
    </a:txDef>
  </a:objectDefaults>
  <a:extraClrSchemeLst>
    <a:extraClrScheme>
      <a:clrScheme name="5_Orange Business Services ppt template_aug 2006 1">
        <a:dk1>
          <a:srgbClr val="333333"/>
        </a:dk1>
        <a:lt1>
          <a:srgbClr val="FFFFFF"/>
        </a:lt1>
        <a:dk2>
          <a:srgbClr val="000000"/>
        </a:dk2>
        <a:lt2>
          <a:srgbClr val="FF6600"/>
        </a:lt2>
        <a:accent1>
          <a:srgbClr val="000000"/>
        </a:accent1>
        <a:accent2>
          <a:srgbClr val="FFFFFF"/>
        </a:accent2>
        <a:accent3>
          <a:srgbClr val="AAAAAA"/>
        </a:accent3>
        <a:accent4>
          <a:srgbClr val="DADADA"/>
        </a:accent4>
        <a:accent5>
          <a:srgbClr val="AAAAAA"/>
        </a:accent5>
        <a:accent6>
          <a:srgbClr val="E7E7E7"/>
        </a:accent6>
        <a:hlink>
          <a:srgbClr val="FF6600"/>
        </a:hlink>
        <a:folHlink>
          <a:srgbClr val="FF66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Orange Business Services ppt template_aug 2006 2">
        <a:dk1>
          <a:srgbClr val="000000"/>
        </a:dk1>
        <a:lt1>
          <a:srgbClr val="FFFFFF"/>
        </a:lt1>
        <a:dk2>
          <a:srgbClr val="FF6600"/>
        </a:dk2>
        <a:lt2>
          <a:srgbClr val="DDDDDD"/>
        </a:lt2>
        <a:accent1>
          <a:srgbClr val="000000"/>
        </a:accent1>
        <a:accent2>
          <a:srgbClr val="FFFFFF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E7E7E7"/>
        </a:accent6>
        <a:hlink>
          <a:srgbClr val="FF66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3.xml><?xml version="1.0" encoding="utf-8"?>
<a:theme xmlns:a="http://schemas.openxmlformats.org/drawingml/2006/main" name="7_OBS16-9">
  <a:themeElements>
    <a:clrScheme name="Personnalisé 5">
      <a:dk1>
        <a:srgbClr val="333333"/>
      </a:dk1>
      <a:lt1>
        <a:srgbClr val="FFFFFF"/>
      </a:lt1>
      <a:dk2>
        <a:srgbClr val="000000"/>
      </a:dk2>
      <a:lt2>
        <a:srgbClr val="FF6600"/>
      </a:lt2>
      <a:accent1>
        <a:srgbClr val="A5A5A5"/>
      </a:accent1>
      <a:accent2>
        <a:srgbClr val="4BB4E6"/>
      </a:accent2>
      <a:accent3>
        <a:srgbClr val="FAB900"/>
      </a:accent3>
      <a:accent4>
        <a:srgbClr val="9164CD"/>
      </a:accent4>
      <a:accent5>
        <a:srgbClr val="50BE87"/>
      </a:accent5>
      <a:accent6>
        <a:srgbClr val="FFB4E6"/>
      </a:accent6>
      <a:hlink>
        <a:srgbClr val="FF6600"/>
      </a:hlink>
      <a:folHlink>
        <a:srgbClr val="FF6600"/>
      </a:folHlink>
    </a:clrScheme>
    <a:fontScheme name="Personnalisé 1">
      <a:majorFont>
        <a:latin typeface="Helvetica 75 Bold"/>
        <a:ea typeface=""/>
        <a:cs typeface=""/>
      </a:majorFont>
      <a:minorFont>
        <a:latin typeface="Helvetica 55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DDDDD"/>
        </a:solidFill>
        <a:ln w="9525" algn="ctr">
          <a:noFill/>
          <a:round/>
          <a:headEnd/>
          <a:tailEnd/>
        </a:ln>
        <a:effectLst/>
      </a:spPr>
      <a:bodyPr lIns="0" tIns="0" rIns="0" bIns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000" b="0" i="0" u="none" strike="noStrike" kern="0" cap="none" spc="0" normalizeH="0" baseline="0" noProof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+mn-lt"/>
          </a:defRPr>
        </a:defPPr>
      </a:lstStyle>
    </a:spDef>
    <a:lnDef>
      <a:spPr>
        <a:noFill/>
        <a:ln w="9525" cap="flat" cmpd="sng" algn="ctr">
          <a:solidFill>
            <a:srgbClr val="000000">
              <a:lumMod val="65000"/>
              <a:lumOff val="35000"/>
            </a:srgbClr>
          </a:solidFill>
          <a:prstDash val="dash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bg1"/>
            </a:solidFill>
          </a:defRPr>
        </a:defPPr>
      </a:lstStyle>
    </a:txDef>
  </a:objectDefaults>
  <a:extraClrSchemeLst>
    <a:extraClrScheme>
      <a:clrScheme name="6_Orange Business Services ppt template_aug 2006 1">
        <a:dk1>
          <a:srgbClr val="333333"/>
        </a:dk1>
        <a:lt1>
          <a:srgbClr val="FFFFFF"/>
        </a:lt1>
        <a:dk2>
          <a:srgbClr val="000000"/>
        </a:dk2>
        <a:lt2>
          <a:srgbClr val="FF6600"/>
        </a:lt2>
        <a:accent1>
          <a:srgbClr val="000000"/>
        </a:accent1>
        <a:accent2>
          <a:srgbClr val="FFFFFF"/>
        </a:accent2>
        <a:accent3>
          <a:srgbClr val="AAAAAA"/>
        </a:accent3>
        <a:accent4>
          <a:srgbClr val="DADADA"/>
        </a:accent4>
        <a:accent5>
          <a:srgbClr val="AAAAAA"/>
        </a:accent5>
        <a:accent6>
          <a:srgbClr val="E7E7E7"/>
        </a:accent6>
        <a:hlink>
          <a:srgbClr val="FF6600"/>
        </a:hlink>
        <a:folHlink>
          <a:srgbClr val="FF66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Orange Business Services ppt template_aug 2006 2">
        <a:dk1>
          <a:srgbClr val="000000"/>
        </a:dk1>
        <a:lt1>
          <a:srgbClr val="FFFFFF"/>
        </a:lt1>
        <a:dk2>
          <a:srgbClr val="FF6600"/>
        </a:dk2>
        <a:lt2>
          <a:srgbClr val="DDDDDD"/>
        </a:lt2>
        <a:accent1>
          <a:srgbClr val="000000"/>
        </a:accent1>
        <a:accent2>
          <a:srgbClr val="FFFFFF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E7E7E7"/>
        </a:accent6>
        <a:hlink>
          <a:srgbClr val="FF66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4.xml><?xml version="1.0" encoding="utf-8"?>
<a:theme xmlns:a="http://schemas.openxmlformats.org/drawingml/2006/main" name="8_OBS16-9">
  <a:themeElements>
    <a:clrScheme name="Personnalisé 5">
      <a:dk1>
        <a:srgbClr val="333333"/>
      </a:dk1>
      <a:lt1>
        <a:srgbClr val="FFFFFF"/>
      </a:lt1>
      <a:dk2>
        <a:srgbClr val="000000"/>
      </a:dk2>
      <a:lt2>
        <a:srgbClr val="FF6600"/>
      </a:lt2>
      <a:accent1>
        <a:srgbClr val="A5A5A5"/>
      </a:accent1>
      <a:accent2>
        <a:srgbClr val="4BB4E6"/>
      </a:accent2>
      <a:accent3>
        <a:srgbClr val="FAB900"/>
      </a:accent3>
      <a:accent4>
        <a:srgbClr val="9164CD"/>
      </a:accent4>
      <a:accent5>
        <a:srgbClr val="50BE87"/>
      </a:accent5>
      <a:accent6>
        <a:srgbClr val="FFB4E6"/>
      </a:accent6>
      <a:hlink>
        <a:srgbClr val="FF6600"/>
      </a:hlink>
      <a:folHlink>
        <a:srgbClr val="FF6600"/>
      </a:folHlink>
    </a:clrScheme>
    <a:fontScheme name="Personnalisé 1">
      <a:majorFont>
        <a:latin typeface="Helvetica 75 Bold"/>
        <a:ea typeface=""/>
        <a:cs typeface=""/>
      </a:majorFont>
      <a:minorFont>
        <a:latin typeface="Helvetica 55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DDDDD"/>
        </a:solidFill>
        <a:ln w="9525" algn="ctr">
          <a:noFill/>
          <a:round/>
          <a:headEnd/>
          <a:tailEnd/>
        </a:ln>
        <a:effectLst/>
      </a:spPr>
      <a:bodyPr lIns="0" tIns="0" rIns="0" bIns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000" b="0" i="0" u="none" strike="noStrike" kern="0" cap="none" spc="0" normalizeH="0" baseline="0" noProof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+mn-lt"/>
          </a:defRPr>
        </a:defPPr>
      </a:lstStyle>
    </a:spDef>
    <a:lnDef>
      <a:spPr>
        <a:noFill/>
        <a:ln w="9525" cap="flat" cmpd="sng" algn="ctr">
          <a:solidFill>
            <a:srgbClr val="000000">
              <a:lumMod val="65000"/>
              <a:lumOff val="35000"/>
            </a:srgbClr>
          </a:solidFill>
          <a:prstDash val="dash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bg1"/>
            </a:solidFill>
          </a:defRPr>
        </a:defPPr>
      </a:lstStyle>
    </a:txDef>
  </a:objectDefaults>
  <a:extraClrSchemeLst>
    <a:extraClrScheme>
      <a:clrScheme name="6_Orange Business Services ppt template_aug 2006 1">
        <a:dk1>
          <a:srgbClr val="333333"/>
        </a:dk1>
        <a:lt1>
          <a:srgbClr val="FFFFFF"/>
        </a:lt1>
        <a:dk2>
          <a:srgbClr val="000000"/>
        </a:dk2>
        <a:lt2>
          <a:srgbClr val="FF6600"/>
        </a:lt2>
        <a:accent1>
          <a:srgbClr val="000000"/>
        </a:accent1>
        <a:accent2>
          <a:srgbClr val="FFFFFF"/>
        </a:accent2>
        <a:accent3>
          <a:srgbClr val="AAAAAA"/>
        </a:accent3>
        <a:accent4>
          <a:srgbClr val="DADADA"/>
        </a:accent4>
        <a:accent5>
          <a:srgbClr val="AAAAAA"/>
        </a:accent5>
        <a:accent6>
          <a:srgbClr val="E7E7E7"/>
        </a:accent6>
        <a:hlink>
          <a:srgbClr val="FF6600"/>
        </a:hlink>
        <a:folHlink>
          <a:srgbClr val="FF66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Orange Business Services ppt template_aug 2006 2">
        <a:dk1>
          <a:srgbClr val="000000"/>
        </a:dk1>
        <a:lt1>
          <a:srgbClr val="FFFFFF"/>
        </a:lt1>
        <a:dk2>
          <a:srgbClr val="FF6600"/>
        </a:dk2>
        <a:lt2>
          <a:srgbClr val="DDDDDD"/>
        </a:lt2>
        <a:accent1>
          <a:srgbClr val="000000"/>
        </a:accent1>
        <a:accent2>
          <a:srgbClr val="FFFFFF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E7E7E7"/>
        </a:accent6>
        <a:hlink>
          <a:srgbClr val="FF66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5.xml><?xml version="1.0" encoding="utf-8"?>
<a:theme xmlns:a="http://schemas.openxmlformats.org/drawingml/2006/main" name="OFR Outils et elements utiles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ORA_Template_Beta_external_110816.potx" id="{096397F8-02DF-40E4-AEB9-88A0052F30F0}" vid="{AA36791E-F7D8-46B6-BCF9-C51758B3B430}"/>
    </a:ext>
  </a:extLst>
</a:theme>
</file>

<file path=ppt/theme/theme46.xml><?xml version="1.0" encoding="utf-8"?>
<a:theme xmlns:a="http://schemas.openxmlformats.org/drawingml/2006/main" name="3_couleurs charte 2015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range_PPTTemplate_v3.potx" id="{7EFB1CC4-B630-4DC5-B88F-B33ED10FA70B}" vid="{E661C32F-4836-4DD1-B604-E27281C607A6}"/>
    </a:ext>
  </a:extLst>
</a:theme>
</file>

<file path=ppt/theme/theme47.xml><?xml version="1.0" encoding="utf-8"?>
<a:theme xmlns:a="http://schemas.openxmlformats.org/drawingml/2006/main" name="orange_presentationbasique">
  <a:themeElements>
    <a:clrScheme name="OAB">
      <a:dk1>
        <a:srgbClr val="000000"/>
      </a:dk1>
      <a:lt1>
        <a:srgbClr val="FFFFFF"/>
      </a:lt1>
      <a:dk2>
        <a:srgbClr val="595959"/>
      </a:dk2>
      <a:lt2>
        <a:srgbClr val="FFFFFF"/>
      </a:lt2>
      <a:accent1>
        <a:srgbClr val="FF6600"/>
      </a:accent1>
      <a:accent2>
        <a:srgbClr val="4BB4E6"/>
      </a:accent2>
      <a:accent3>
        <a:srgbClr val="9164CD"/>
      </a:accent3>
      <a:accent4>
        <a:srgbClr val="50BE87"/>
      </a:accent4>
      <a:accent5>
        <a:srgbClr val="FFB4E6"/>
      </a:accent5>
      <a:accent6>
        <a:srgbClr val="FFDC00"/>
      </a:accent6>
      <a:hlink>
        <a:srgbClr val="5F5F5F"/>
      </a:hlink>
      <a:folHlink>
        <a:srgbClr val="919191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range_PPTTemplate_v3.potx" id="{7EFB1CC4-B630-4DC5-B88F-B33ED10FA70B}" vid="{E661C32F-4836-4DD1-B604-E27281C607A6}"/>
    </a:ext>
  </a:extLst>
</a:theme>
</file>

<file path=ppt/theme/theme48.xml><?xml version="1.0" encoding="utf-8"?>
<a:theme xmlns:a="http://schemas.openxmlformats.org/drawingml/2006/main" name="9_OBS16-9">
  <a:themeElements>
    <a:clrScheme name="Personnalisé 5">
      <a:dk1>
        <a:srgbClr val="333333"/>
      </a:dk1>
      <a:lt1>
        <a:srgbClr val="FFFFFF"/>
      </a:lt1>
      <a:dk2>
        <a:srgbClr val="000000"/>
      </a:dk2>
      <a:lt2>
        <a:srgbClr val="FF6600"/>
      </a:lt2>
      <a:accent1>
        <a:srgbClr val="A5A5A5"/>
      </a:accent1>
      <a:accent2>
        <a:srgbClr val="4BB4E6"/>
      </a:accent2>
      <a:accent3>
        <a:srgbClr val="FAB900"/>
      </a:accent3>
      <a:accent4>
        <a:srgbClr val="9164CD"/>
      </a:accent4>
      <a:accent5>
        <a:srgbClr val="50BE87"/>
      </a:accent5>
      <a:accent6>
        <a:srgbClr val="FFB4E6"/>
      </a:accent6>
      <a:hlink>
        <a:srgbClr val="FF6600"/>
      </a:hlink>
      <a:folHlink>
        <a:srgbClr val="FF6600"/>
      </a:folHlink>
    </a:clrScheme>
    <a:fontScheme name="Personnalisé 1">
      <a:majorFont>
        <a:latin typeface="Helvetica 75 Bold"/>
        <a:ea typeface=""/>
        <a:cs typeface=""/>
      </a:majorFont>
      <a:minorFont>
        <a:latin typeface="Helvetica 55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DDDDD"/>
        </a:solidFill>
        <a:ln w="9525" algn="ctr">
          <a:noFill/>
          <a:round/>
          <a:headEnd/>
          <a:tailEnd/>
        </a:ln>
        <a:effectLst/>
      </a:spPr>
      <a:bodyPr lIns="0" tIns="0" rIns="0" bIns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000" b="0" i="0" u="none" strike="noStrike" kern="0" cap="none" spc="0" normalizeH="0" baseline="0" noProof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+mn-lt"/>
          </a:defRPr>
        </a:defPPr>
      </a:lstStyle>
    </a:spDef>
    <a:lnDef>
      <a:spPr>
        <a:noFill/>
        <a:ln w="9525" cap="flat" cmpd="sng" algn="ctr">
          <a:solidFill>
            <a:srgbClr val="000000">
              <a:lumMod val="65000"/>
              <a:lumOff val="35000"/>
            </a:srgbClr>
          </a:solidFill>
          <a:prstDash val="dash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bg1"/>
            </a:solidFill>
          </a:defRPr>
        </a:defPPr>
      </a:lstStyle>
    </a:txDef>
  </a:objectDefaults>
  <a:extraClrSchemeLst>
    <a:extraClrScheme>
      <a:clrScheme name="6_Orange Business Services ppt template_aug 2006 1">
        <a:dk1>
          <a:srgbClr val="333333"/>
        </a:dk1>
        <a:lt1>
          <a:srgbClr val="FFFFFF"/>
        </a:lt1>
        <a:dk2>
          <a:srgbClr val="000000"/>
        </a:dk2>
        <a:lt2>
          <a:srgbClr val="FF6600"/>
        </a:lt2>
        <a:accent1>
          <a:srgbClr val="000000"/>
        </a:accent1>
        <a:accent2>
          <a:srgbClr val="FFFFFF"/>
        </a:accent2>
        <a:accent3>
          <a:srgbClr val="AAAAAA"/>
        </a:accent3>
        <a:accent4>
          <a:srgbClr val="DADADA"/>
        </a:accent4>
        <a:accent5>
          <a:srgbClr val="AAAAAA"/>
        </a:accent5>
        <a:accent6>
          <a:srgbClr val="E7E7E7"/>
        </a:accent6>
        <a:hlink>
          <a:srgbClr val="FF6600"/>
        </a:hlink>
        <a:folHlink>
          <a:srgbClr val="FF66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Orange Business Services ppt template_aug 2006 2">
        <a:dk1>
          <a:srgbClr val="000000"/>
        </a:dk1>
        <a:lt1>
          <a:srgbClr val="FFFFFF"/>
        </a:lt1>
        <a:dk2>
          <a:srgbClr val="FF6600"/>
        </a:dk2>
        <a:lt2>
          <a:srgbClr val="DDDDDD"/>
        </a:lt2>
        <a:accent1>
          <a:srgbClr val="000000"/>
        </a:accent1>
        <a:accent2>
          <a:srgbClr val="FFFFFF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E7E7E7"/>
        </a:accent6>
        <a:hlink>
          <a:srgbClr val="FF66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9.xml><?xml version="1.0" encoding="utf-8"?>
<a:theme xmlns:a="http://schemas.openxmlformats.org/drawingml/2006/main" name="10_OBS16-9">
  <a:themeElements>
    <a:clrScheme name="Personnalisé 5">
      <a:dk1>
        <a:srgbClr val="333333"/>
      </a:dk1>
      <a:lt1>
        <a:srgbClr val="FFFFFF"/>
      </a:lt1>
      <a:dk2>
        <a:srgbClr val="000000"/>
      </a:dk2>
      <a:lt2>
        <a:srgbClr val="FF6600"/>
      </a:lt2>
      <a:accent1>
        <a:srgbClr val="A5A5A5"/>
      </a:accent1>
      <a:accent2>
        <a:srgbClr val="4BB4E6"/>
      </a:accent2>
      <a:accent3>
        <a:srgbClr val="FAB900"/>
      </a:accent3>
      <a:accent4>
        <a:srgbClr val="9164CD"/>
      </a:accent4>
      <a:accent5>
        <a:srgbClr val="50BE87"/>
      </a:accent5>
      <a:accent6>
        <a:srgbClr val="FFB4E6"/>
      </a:accent6>
      <a:hlink>
        <a:srgbClr val="FF6600"/>
      </a:hlink>
      <a:folHlink>
        <a:srgbClr val="FF6600"/>
      </a:folHlink>
    </a:clrScheme>
    <a:fontScheme name="Personnalisé 1">
      <a:majorFont>
        <a:latin typeface="Helvetica 75 Bold"/>
        <a:ea typeface=""/>
        <a:cs typeface=""/>
      </a:majorFont>
      <a:minorFont>
        <a:latin typeface="Helvetica 55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DDDDD"/>
        </a:solidFill>
        <a:ln w="9525" algn="ctr">
          <a:noFill/>
          <a:round/>
          <a:headEnd/>
          <a:tailEnd/>
        </a:ln>
        <a:effectLst/>
      </a:spPr>
      <a:bodyPr lIns="0" tIns="0" rIns="0" bIns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000" b="0" i="0" u="none" strike="noStrike" kern="0" cap="none" spc="0" normalizeH="0" baseline="0" noProof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+mn-lt"/>
          </a:defRPr>
        </a:defPPr>
      </a:lstStyle>
    </a:spDef>
    <a:lnDef>
      <a:spPr>
        <a:noFill/>
        <a:ln w="9525" cap="flat" cmpd="sng" algn="ctr">
          <a:solidFill>
            <a:srgbClr val="000000">
              <a:lumMod val="65000"/>
              <a:lumOff val="35000"/>
            </a:srgbClr>
          </a:solidFill>
          <a:prstDash val="dash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bg1"/>
            </a:solidFill>
          </a:defRPr>
        </a:defPPr>
      </a:lstStyle>
    </a:txDef>
  </a:objectDefaults>
  <a:extraClrSchemeLst>
    <a:extraClrScheme>
      <a:clrScheme name="6_Orange Business Services ppt template_aug 2006 1">
        <a:dk1>
          <a:srgbClr val="333333"/>
        </a:dk1>
        <a:lt1>
          <a:srgbClr val="FFFFFF"/>
        </a:lt1>
        <a:dk2>
          <a:srgbClr val="000000"/>
        </a:dk2>
        <a:lt2>
          <a:srgbClr val="FF6600"/>
        </a:lt2>
        <a:accent1>
          <a:srgbClr val="000000"/>
        </a:accent1>
        <a:accent2>
          <a:srgbClr val="FFFFFF"/>
        </a:accent2>
        <a:accent3>
          <a:srgbClr val="AAAAAA"/>
        </a:accent3>
        <a:accent4>
          <a:srgbClr val="DADADA"/>
        </a:accent4>
        <a:accent5>
          <a:srgbClr val="AAAAAA"/>
        </a:accent5>
        <a:accent6>
          <a:srgbClr val="E7E7E7"/>
        </a:accent6>
        <a:hlink>
          <a:srgbClr val="FF6600"/>
        </a:hlink>
        <a:folHlink>
          <a:srgbClr val="FF66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Orange Business Services ppt template_aug 2006 2">
        <a:dk1>
          <a:srgbClr val="000000"/>
        </a:dk1>
        <a:lt1>
          <a:srgbClr val="FFFFFF"/>
        </a:lt1>
        <a:dk2>
          <a:srgbClr val="FF6600"/>
        </a:dk2>
        <a:lt2>
          <a:srgbClr val="DDDDDD"/>
        </a:lt2>
        <a:accent1>
          <a:srgbClr val="000000"/>
        </a:accent1>
        <a:accent2>
          <a:srgbClr val="FFFFFF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E7E7E7"/>
        </a:accent6>
        <a:hlink>
          <a:srgbClr val="FF66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OBS16-9">
  <a:themeElements>
    <a:clrScheme name="Personnalisé 5">
      <a:dk1>
        <a:srgbClr val="333333"/>
      </a:dk1>
      <a:lt1>
        <a:srgbClr val="FFFFFF"/>
      </a:lt1>
      <a:dk2>
        <a:srgbClr val="000000"/>
      </a:dk2>
      <a:lt2>
        <a:srgbClr val="FF6600"/>
      </a:lt2>
      <a:accent1>
        <a:srgbClr val="A5A5A5"/>
      </a:accent1>
      <a:accent2>
        <a:srgbClr val="4BB4E6"/>
      </a:accent2>
      <a:accent3>
        <a:srgbClr val="FAB900"/>
      </a:accent3>
      <a:accent4>
        <a:srgbClr val="9164CD"/>
      </a:accent4>
      <a:accent5>
        <a:srgbClr val="50BE87"/>
      </a:accent5>
      <a:accent6>
        <a:srgbClr val="FFB4E6"/>
      </a:accent6>
      <a:hlink>
        <a:srgbClr val="FF6600"/>
      </a:hlink>
      <a:folHlink>
        <a:srgbClr val="FF6600"/>
      </a:folHlink>
    </a:clrScheme>
    <a:fontScheme name="Personnalisé 1">
      <a:majorFont>
        <a:latin typeface="Helvetica 75 Bold"/>
        <a:ea typeface=""/>
        <a:cs typeface=""/>
      </a:majorFont>
      <a:minorFont>
        <a:latin typeface="Helvetica 55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DDDDD"/>
        </a:solidFill>
        <a:ln w="9525" algn="ctr">
          <a:noFill/>
          <a:round/>
          <a:headEnd/>
          <a:tailEnd/>
        </a:ln>
        <a:effectLst/>
      </a:spPr>
      <a:bodyPr lIns="0" tIns="0" rIns="0" bIns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000" b="0" i="0" u="none" strike="noStrike" kern="0" cap="none" spc="0" normalizeH="0" baseline="0" noProof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+mn-lt"/>
          </a:defRPr>
        </a:defPPr>
      </a:lstStyle>
    </a:spDef>
    <a:lnDef>
      <a:spPr>
        <a:noFill/>
        <a:ln w="9525" cap="flat" cmpd="sng" algn="ctr">
          <a:solidFill>
            <a:srgbClr val="000000">
              <a:lumMod val="65000"/>
              <a:lumOff val="35000"/>
            </a:srgbClr>
          </a:solidFill>
          <a:prstDash val="dash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bg1"/>
            </a:solidFill>
          </a:defRPr>
        </a:defPPr>
      </a:lstStyle>
    </a:txDef>
  </a:objectDefaults>
  <a:extraClrSchemeLst>
    <a:extraClrScheme>
      <a:clrScheme name="6_Orange Business Services ppt template_aug 2006 1">
        <a:dk1>
          <a:srgbClr val="333333"/>
        </a:dk1>
        <a:lt1>
          <a:srgbClr val="FFFFFF"/>
        </a:lt1>
        <a:dk2>
          <a:srgbClr val="000000"/>
        </a:dk2>
        <a:lt2>
          <a:srgbClr val="FF6600"/>
        </a:lt2>
        <a:accent1>
          <a:srgbClr val="000000"/>
        </a:accent1>
        <a:accent2>
          <a:srgbClr val="FFFFFF"/>
        </a:accent2>
        <a:accent3>
          <a:srgbClr val="AAAAAA"/>
        </a:accent3>
        <a:accent4>
          <a:srgbClr val="DADADA"/>
        </a:accent4>
        <a:accent5>
          <a:srgbClr val="AAAAAA"/>
        </a:accent5>
        <a:accent6>
          <a:srgbClr val="E7E7E7"/>
        </a:accent6>
        <a:hlink>
          <a:srgbClr val="FF6600"/>
        </a:hlink>
        <a:folHlink>
          <a:srgbClr val="FF66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Orange Business Services ppt template_aug 2006 2">
        <a:dk1>
          <a:srgbClr val="000000"/>
        </a:dk1>
        <a:lt1>
          <a:srgbClr val="FFFFFF"/>
        </a:lt1>
        <a:dk2>
          <a:srgbClr val="FF6600"/>
        </a:dk2>
        <a:lt2>
          <a:srgbClr val="DDDDDD"/>
        </a:lt2>
        <a:accent1>
          <a:srgbClr val="000000"/>
        </a:accent1>
        <a:accent2>
          <a:srgbClr val="FFFFFF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E7E7E7"/>
        </a:accent6>
        <a:hlink>
          <a:srgbClr val="FF66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0.xml><?xml version="1.0" encoding="utf-8"?>
<a:theme xmlns:a="http://schemas.openxmlformats.org/drawingml/2006/main" name="1_OBSFR_template_Beta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range_PPTTemplate_v3.potx" id="{7EFB1CC4-B630-4DC5-B88F-B33ED10FA70B}" vid="{E661C32F-4836-4DD1-B604-E27281C607A6}"/>
    </a:ext>
  </a:extLst>
</a:theme>
</file>

<file path=ppt/theme/theme51.xml><?xml version="1.0" encoding="utf-8"?>
<a:theme xmlns:a="http://schemas.openxmlformats.org/drawingml/2006/main" name="6_orange_presentationbasique">
  <a:themeElements>
    <a:clrScheme name="OAB">
      <a:dk1>
        <a:srgbClr val="000000"/>
      </a:dk1>
      <a:lt1>
        <a:srgbClr val="FFFFFF"/>
      </a:lt1>
      <a:dk2>
        <a:srgbClr val="595959"/>
      </a:dk2>
      <a:lt2>
        <a:srgbClr val="FFFFFF"/>
      </a:lt2>
      <a:accent1>
        <a:srgbClr val="FF6600"/>
      </a:accent1>
      <a:accent2>
        <a:srgbClr val="4BB4E6"/>
      </a:accent2>
      <a:accent3>
        <a:srgbClr val="9164CD"/>
      </a:accent3>
      <a:accent4>
        <a:srgbClr val="50BE87"/>
      </a:accent4>
      <a:accent5>
        <a:srgbClr val="FFB4E6"/>
      </a:accent5>
      <a:accent6>
        <a:srgbClr val="FFDC00"/>
      </a:accent6>
      <a:hlink>
        <a:srgbClr val="5F5F5F"/>
      </a:hlink>
      <a:folHlink>
        <a:srgbClr val="919191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range_PPTTemplate_v3.potx" id="{7EFB1CC4-B630-4DC5-B88F-B33ED10FA70B}" vid="{E661C32F-4836-4DD1-B604-E27281C607A6}"/>
    </a:ext>
  </a:extLst>
</a:theme>
</file>

<file path=ppt/theme/theme52.xml><?xml version="1.0" encoding="utf-8"?>
<a:theme xmlns:a="http://schemas.openxmlformats.org/drawingml/2006/main" name="8_orange_presentationbasique">
  <a:themeElements>
    <a:clrScheme name="OAB">
      <a:dk1>
        <a:srgbClr val="000000"/>
      </a:dk1>
      <a:lt1>
        <a:srgbClr val="FFFFFF"/>
      </a:lt1>
      <a:dk2>
        <a:srgbClr val="595959"/>
      </a:dk2>
      <a:lt2>
        <a:srgbClr val="FFFFFF"/>
      </a:lt2>
      <a:accent1>
        <a:srgbClr val="FF6600"/>
      </a:accent1>
      <a:accent2>
        <a:srgbClr val="4BB4E6"/>
      </a:accent2>
      <a:accent3>
        <a:srgbClr val="9164CD"/>
      </a:accent3>
      <a:accent4>
        <a:srgbClr val="50BE87"/>
      </a:accent4>
      <a:accent5>
        <a:srgbClr val="FFB4E6"/>
      </a:accent5>
      <a:accent6>
        <a:srgbClr val="FFDC00"/>
      </a:accent6>
      <a:hlink>
        <a:srgbClr val="5F5F5F"/>
      </a:hlink>
      <a:folHlink>
        <a:srgbClr val="919191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range_PPTTemplate_v3.potx" id="{7EFB1CC4-B630-4DC5-B88F-B33ED10FA70B}" vid="{E661C32F-4836-4DD1-B604-E27281C607A6}"/>
    </a:ext>
  </a:extLst>
</a:theme>
</file>

<file path=ppt/theme/theme53.xml><?xml version="1.0" encoding="utf-8"?>
<a:theme xmlns:a="http://schemas.openxmlformats.org/drawingml/2006/main" name="9_orange_presentationbasique">
  <a:themeElements>
    <a:clrScheme name="OAB">
      <a:dk1>
        <a:srgbClr val="000000"/>
      </a:dk1>
      <a:lt1>
        <a:srgbClr val="FFFFFF"/>
      </a:lt1>
      <a:dk2>
        <a:srgbClr val="595959"/>
      </a:dk2>
      <a:lt2>
        <a:srgbClr val="FFFFFF"/>
      </a:lt2>
      <a:accent1>
        <a:srgbClr val="FF6600"/>
      </a:accent1>
      <a:accent2>
        <a:srgbClr val="4BB4E6"/>
      </a:accent2>
      <a:accent3>
        <a:srgbClr val="9164CD"/>
      </a:accent3>
      <a:accent4>
        <a:srgbClr val="50BE87"/>
      </a:accent4>
      <a:accent5>
        <a:srgbClr val="FFB4E6"/>
      </a:accent5>
      <a:accent6>
        <a:srgbClr val="FFDC00"/>
      </a:accent6>
      <a:hlink>
        <a:srgbClr val="5F5F5F"/>
      </a:hlink>
      <a:folHlink>
        <a:srgbClr val="919191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range_PPTTemplate_v3.potx" id="{7EFB1CC4-B630-4DC5-B88F-B33ED10FA70B}" vid="{E661C32F-4836-4DD1-B604-E27281C607A6}"/>
    </a:ext>
  </a:extLst>
</a:theme>
</file>

<file path=ppt/theme/theme54.xml><?xml version="1.0" encoding="utf-8"?>
<a:theme xmlns:a="http://schemas.openxmlformats.org/drawingml/2006/main" name="10_orange_presentationbasique">
  <a:themeElements>
    <a:clrScheme name="OAB">
      <a:dk1>
        <a:srgbClr val="000000"/>
      </a:dk1>
      <a:lt1>
        <a:srgbClr val="FFFFFF"/>
      </a:lt1>
      <a:dk2>
        <a:srgbClr val="595959"/>
      </a:dk2>
      <a:lt2>
        <a:srgbClr val="FFFFFF"/>
      </a:lt2>
      <a:accent1>
        <a:srgbClr val="FF6600"/>
      </a:accent1>
      <a:accent2>
        <a:srgbClr val="4BB4E6"/>
      </a:accent2>
      <a:accent3>
        <a:srgbClr val="9164CD"/>
      </a:accent3>
      <a:accent4>
        <a:srgbClr val="50BE87"/>
      </a:accent4>
      <a:accent5>
        <a:srgbClr val="FFB4E6"/>
      </a:accent5>
      <a:accent6>
        <a:srgbClr val="FFDC00"/>
      </a:accent6>
      <a:hlink>
        <a:srgbClr val="5F5F5F"/>
      </a:hlink>
      <a:folHlink>
        <a:srgbClr val="919191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range_PPTTemplate_v3.potx" id="{7EFB1CC4-B630-4DC5-B88F-B33ED10FA70B}" vid="{E661C32F-4836-4DD1-B604-E27281C607A6}"/>
    </a:ext>
  </a:extLst>
</a:theme>
</file>

<file path=ppt/theme/theme55.xml><?xml version="1.0" encoding="utf-8"?>
<a:theme xmlns:a="http://schemas.openxmlformats.org/drawingml/2006/main" name="11_OBS16-9">
  <a:themeElements>
    <a:clrScheme name="Personnalisé 5">
      <a:dk1>
        <a:srgbClr val="333333"/>
      </a:dk1>
      <a:lt1>
        <a:srgbClr val="FFFFFF"/>
      </a:lt1>
      <a:dk2>
        <a:srgbClr val="000000"/>
      </a:dk2>
      <a:lt2>
        <a:srgbClr val="FF6600"/>
      </a:lt2>
      <a:accent1>
        <a:srgbClr val="A5A5A5"/>
      </a:accent1>
      <a:accent2>
        <a:srgbClr val="4BB4E6"/>
      </a:accent2>
      <a:accent3>
        <a:srgbClr val="FAB900"/>
      </a:accent3>
      <a:accent4>
        <a:srgbClr val="9164CD"/>
      </a:accent4>
      <a:accent5>
        <a:srgbClr val="50BE87"/>
      </a:accent5>
      <a:accent6>
        <a:srgbClr val="FFB4E6"/>
      </a:accent6>
      <a:hlink>
        <a:srgbClr val="FF6600"/>
      </a:hlink>
      <a:folHlink>
        <a:srgbClr val="FF6600"/>
      </a:folHlink>
    </a:clrScheme>
    <a:fontScheme name="Personnalisé 1">
      <a:majorFont>
        <a:latin typeface="Helvetica 75 Bold"/>
        <a:ea typeface=""/>
        <a:cs typeface=""/>
      </a:majorFont>
      <a:minorFont>
        <a:latin typeface="Helvetica 55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DDDDD"/>
        </a:solidFill>
        <a:ln w="9525" algn="ctr">
          <a:noFill/>
          <a:round/>
          <a:headEnd/>
          <a:tailEnd/>
        </a:ln>
        <a:effectLst/>
      </a:spPr>
      <a:bodyPr lIns="0" tIns="0" rIns="0" bIns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000" b="0" i="0" u="none" strike="noStrike" kern="0" cap="none" spc="0" normalizeH="0" baseline="0" noProof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+mn-lt"/>
          </a:defRPr>
        </a:defPPr>
      </a:lstStyle>
    </a:spDef>
    <a:lnDef>
      <a:spPr>
        <a:noFill/>
        <a:ln w="9525" cap="flat" cmpd="sng" algn="ctr">
          <a:solidFill>
            <a:srgbClr val="000000">
              <a:lumMod val="65000"/>
              <a:lumOff val="35000"/>
            </a:srgbClr>
          </a:solidFill>
          <a:prstDash val="dash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>
          <a:defRPr dirty="0" err="1" smtClean="0">
            <a:solidFill>
              <a:schemeClr val="bg1"/>
            </a:solidFill>
          </a:defRPr>
        </a:defPPr>
      </a:lstStyle>
    </a:txDef>
  </a:objectDefaults>
  <a:extraClrSchemeLst>
    <a:extraClrScheme>
      <a:clrScheme name="6_Orange Business Services ppt template_aug 2006 1">
        <a:dk1>
          <a:srgbClr val="333333"/>
        </a:dk1>
        <a:lt1>
          <a:srgbClr val="FFFFFF"/>
        </a:lt1>
        <a:dk2>
          <a:srgbClr val="000000"/>
        </a:dk2>
        <a:lt2>
          <a:srgbClr val="FF6600"/>
        </a:lt2>
        <a:accent1>
          <a:srgbClr val="000000"/>
        </a:accent1>
        <a:accent2>
          <a:srgbClr val="FFFFFF"/>
        </a:accent2>
        <a:accent3>
          <a:srgbClr val="AAAAAA"/>
        </a:accent3>
        <a:accent4>
          <a:srgbClr val="DADADA"/>
        </a:accent4>
        <a:accent5>
          <a:srgbClr val="AAAAAA"/>
        </a:accent5>
        <a:accent6>
          <a:srgbClr val="E7E7E7"/>
        </a:accent6>
        <a:hlink>
          <a:srgbClr val="FF6600"/>
        </a:hlink>
        <a:folHlink>
          <a:srgbClr val="FF66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6_Orange Business Services ppt template_aug 2006 2">
        <a:dk1>
          <a:srgbClr val="000000"/>
        </a:dk1>
        <a:lt1>
          <a:srgbClr val="FFFFFF"/>
        </a:lt1>
        <a:dk2>
          <a:srgbClr val="FF6600"/>
        </a:dk2>
        <a:lt2>
          <a:srgbClr val="DDDDDD"/>
        </a:lt2>
        <a:accent1>
          <a:srgbClr val="000000"/>
        </a:accent1>
        <a:accent2>
          <a:srgbClr val="FFFFFF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E7E7E7"/>
        </a:accent6>
        <a:hlink>
          <a:srgbClr val="FF66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6.xml><?xml version="1.0" encoding="utf-8"?>
<a:theme xmlns:a="http://schemas.openxmlformats.org/drawingml/2006/main" name="1_OFR Outils et elements utiles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RA_Template_Beta_external_110816.potx" id="{096397F8-02DF-40E4-AEB9-88A0052F30F0}" vid="{AA36791E-F7D8-46B6-BCF9-C51758B3B430}"/>
    </a:ext>
  </a:extLst>
</a:theme>
</file>

<file path=ppt/theme/theme57.xml><?xml version="1.0" encoding="utf-8"?>
<a:theme xmlns:a="http://schemas.openxmlformats.org/drawingml/2006/main" name="2_blank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OFR_OBS-template_external.potx" id="{8E63A4C0-0D5B-4AB0-9B17-28650E3A1109}" vid="{213D95EF-7056-43E0-9767-0E799F788926}"/>
    </a:ext>
  </a:extLst>
</a:theme>
</file>

<file path=ppt/theme/theme58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9.xml><?xml version="1.0" encoding="utf-8"?>
<a:theme xmlns:a="http://schemas.openxmlformats.org/drawingml/2006/main" name="OFR_template_external">
  <a:themeElements>
    <a:clrScheme name="Orange BLK Core">
      <a:dk1>
        <a:srgbClr val="FFFFFF"/>
      </a:dk1>
      <a:lt1>
        <a:srgbClr val="000000"/>
      </a:lt1>
      <a:dk2>
        <a:srgbClr val="8F8F8F"/>
      </a:dk2>
      <a:lt2>
        <a:srgbClr val="FF7900"/>
      </a:lt2>
      <a:accent1>
        <a:srgbClr val="FF7900"/>
      </a:accent1>
      <a:accent2>
        <a:srgbClr val="FFFFFF"/>
      </a:accent2>
      <a:accent3>
        <a:srgbClr val="595959"/>
      </a:accent3>
      <a:accent4>
        <a:srgbClr val="8F8F8F"/>
      </a:accent4>
      <a:accent5>
        <a:srgbClr val="D6D6D6"/>
      </a:accent5>
      <a:accent6>
        <a:srgbClr val="595959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R_OBS-template_external.potx" id="{8E63A4C0-0D5B-4AB0-9B17-28650E3A1109}" vid="{213D95EF-7056-43E0-9767-0E799F788926}"/>
    </a:ext>
  </a:extLst>
</a:theme>
</file>

<file path=ppt/theme/theme6.xml><?xml version="1.0" encoding="utf-8"?>
<a:theme xmlns:a="http://schemas.openxmlformats.org/drawingml/2006/main" name="3_OFR_template(OrangeConsulting)">
  <a:themeElements>
    <a:clrScheme name="Custom 1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9164CD"/>
      </a:accent2>
      <a:accent3>
        <a:srgbClr val="4BB4E6"/>
      </a:accent3>
      <a:accent4>
        <a:srgbClr val="FFDC00"/>
      </a:accent4>
      <a:accent5>
        <a:srgbClr val="50BE87"/>
      </a:accent5>
      <a:accent6>
        <a:srgbClr val="FFB4E6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range_PPTTemplate_v3.potx" id="{7EFB1CC4-B630-4DC5-B88F-B33ED10FA70B}" vid="{E661C32F-4836-4DD1-B604-E27281C607A6}"/>
    </a:ext>
  </a:extLst>
</a:theme>
</file>

<file path=ppt/theme/theme6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1_OFR_template(OrangeConsulting)">
  <a:themeElements>
    <a:clrScheme name="Custom 1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9164CD"/>
      </a:accent2>
      <a:accent3>
        <a:srgbClr val="4BB4E6"/>
      </a:accent3>
      <a:accent4>
        <a:srgbClr val="FFDC00"/>
      </a:accent4>
      <a:accent5>
        <a:srgbClr val="50BE87"/>
      </a:accent5>
      <a:accent6>
        <a:srgbClr val="FFB4E6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range_PPTTemplate_v3.potx" id="{7EFB1CC4-B630-4DC5-B88F-B33ED10FA70B}" vid="{E661C32F-4836-4DD1-B604-E27281C607A6}"/>
    </a:ext>
  </a:extLst>
</a:theme>
</file>

<file path=ppt/theme/theme8.xml><?xml version="1.0" encoding="utf-8"?>
<a:theme xmlns:a="http://schemas.openxmlformats.org/drawingml/2006/main" name="OBSFR_template_Beta[1]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range_PPTTemplate_v3.potx" id="{7EFB1CC4-B630-4DC5-B88F-B33ED10FA70B}" vid="{E661C32F-4836-4DD1-B604-E27281C607A6}"/>
    </a:ext>
  </a:extLst>
</a:theme>
</file>

<file path=ppt/theme/theme9.xml><?xml version="1.0" encoding="utf-8"?>
<a:theme xmlns:a="http://schemas.openxmlformats.org/drawingml/2006/main" name="couleurs charte 2015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range_PPTTemplate_v3.potx" id="{7EFB1CC4-B630-4DC5-B88F-B33ED10FA70B}" vid="{E661C32F-4836-4DD1-B604-E27281C607A6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3689F6A969AB449B11794B473A2EDAB" ma:contentTypeVersion="1" ma:contentTypeDescription="Create a new document." ma:contentTypeScope="" ma:versionID="e645475f141bcda14d76ce5541711127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a447206dab0015f8b9f8924535193e8c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0882EDA-D88D-44C2-BBD7-C0B1E6D02509}">
  <ds:schemaRefs>
    <ds:schemaRef ds:uri="http://purl.org/dc/elements/1.1/"/>
    <ds:schemaRef ds:uri="http://purl.org/dc/terms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schemas.microsoft.com/office/2006/documentManagement/types"/>
    <ds:schemaRef ds:uri="http://schemas.microsoft.com/sharepoint/v3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4300BB69-EC0F-4FA1-B9CC-048B37FEC74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A2BA239-254C-4FF0-BD1B-9E4DB634EF8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range_presentationbasique</Template>
  <TotalTime>36342</TotalTime>
  <Words>610</Words>
  <Application>Microsoft Office PowerPoint</Application>
  <PresentationFormat>Affichage à l'écran (16:9)</PresentationFormat>
  <Paragraphs>94</Paragraphs>
  <Slides>8</Slides>
  <Notes>4</Notes>
  <HiddenSlides>0</HiddenSlides>
  <MMClips>0</MMClips>
  <ScaleCrop>false</ScaleCrop>
  <HeadingPairs>
    <vt:vector size="6" baseType="variant">
      <vt:variant>
        <vt:lpstr>Thème</vt:lpstr>
      </vt:variant>
      <vt:variant>
        <vt:i4>59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8</vt:i4>
      </vt:variant>
    </vt:vector>
  </HeadingPairs>
  <TitlesOfParts>
    <vt:vector size="68" baseType="lpstr">
      <vt:lpstr>Thème Office</vt:lpstr>
      <vt:lpstr>1_tmp_AvirerORA_template_EN_beta_v4</vt:lpstr>
      <vt:lpstr>OBS16-9</vt:lpstr>
      <vt:lpstr>1_OBS16-9</vt:lpstr>
      <vt:lpstr>2_OBS16-9</vt:lpstr>
      <vt:lpstr>3_OFR_template(OrangeConsulting)</vt:lpstr>
      <vt:lpstr>1_OFR_template(OrangeConsulting)</vt:lpstr>
      <vt:lpstr>OBSFR_template_Beta[1]</vt:lpstr>
      <vt:lpstr>couleurs charte 2015</vt:lpstr>
      <vt:lpstr>3_OBS16-9</vt:lpstr>
      <vt:lpstr>4_OBS16-9</vt:lpstr>
      <vt:lpstr>5_OBS16-9</vt:lpstr>
      <vt:lpstr>6_OBS16-9</vt:lpstr>
      <vt:lpstr>english_powerpoint_template</vt:lpstr>
      <vt:lpstr>1_english_powerpoint_template</vt:lpstr>
      <vt:lpstr>1_Thème Office</vt:lpstr>
      <vt:lpstr>3_english_powerpoint_template</vt:lpstr>
      <vt:lpstr>1_OBSFR_template_Beta[1]</vt:lpstr>
      <vt:lpstr>OBS16-9 (2)</vt:lpstr>
      <vt:lpstr>1_orange_presentationbasique</vt:lpstr>
      <vt:lpstr>2_orange_presentationbasique</vt:lpstr>
      <vt:lpstr>3_orange_presentationbasique</vt:lpstr>
      <vt:lpstr>4_orange_presentationbasique</vt:lpstr>
      <vt:lpstr>5_orange_presentationbasique</vt:lpstr>
      <vt:lpstr>1_couleurs charte 2015</vt:lpstr>
      <vt:lpstr>2_tmp_AvirerORA_template_EN_beta_v4</vt:lpstr>
      <vt:lpstr>2_couleurs charte 2015</vt:lpstr>
      <vt:lpstr>3_tmp_AvirerORA_template_EN_beta_v4</vt:lpstr>
      <vt:lpstr>4_tmp_AvirerORA_template_EN_beta_v4</vt:lpstr>
      <vt:lpstr>5_tmp_AvirerORA_template_EN_beta_v4</vt:lpstr>
      <vt:lpstr>6_tmp_AvirerORA_template_EN_beta_v4</vt:lpstr>
      <vt:lpstr>1_OBS16-9 (2)</vt:lpstr>
      <vt:lpstr>7_tmp_AvirerORA_template_EN_beta_v4</vt:lpstr>
      <vt:lpstr>7_orange_presentationbasique</vt:lpstr>
      <vt:lpstr>4_business_services_V6_small</vt:lpstr>
      <vt:lpstr>8_tmp_AvirerORA_template_EN_beta_v4</vt:lpstr>
      <vt:lpstr>9_tmp_AvirerORA_template_EN_beta_v4</vt:lpstr>
      <vt:lpstr>1_blank</vt:lpstr>
      <vt:lpstr>4_OFR_template</vt:lpstr>
      <vt:lpstr>4_OFR_template(OrangeConsulting)</vt:lpstr>
      <vt:lpstr>10_tmp_AvirerORA_template_EN_beta_v4</vt:lpstr>
      <vt:lpstr>Orange16-9</vt:lpstr>
      <vt:lpstr>7_OBS16-9</vt:lpstr>
      <vt:lpstr>8_OBS16-9</vt:lpstr>
      <vt:lpstr>OFR Outils et elements utiles</vt:lpstr>
      <vt:lpstr>3_couleurs charte 2015</vt:lpstr>
      <vt:lpstr>orange_presentationbasique</vt:lpstr>
      <vt:lpstr>9_OBS16-9</vt:lpstr>
      <vt:lpstr>10_OBS16-9</vt:lpstr>
      <vt:lpstr>1_OBSFR_template_Beta</vt:lpstr>
      <vt:lpstr>6_orange_presentationbasique</vt:lpstr>
      <vt:lpstr>8_orange_presentationbasique</vt:lpstr>
      <vt:lpstr>9_orange_presentationbasique</vt:lpstr>
      <vt:lpstr>10_orange_presentationbasique</vt:lpstr>
      <vt:lpstr>11_OBS16-9</vt:lpstr>
      <vt:lpstr>1_OFR Outils et elements utiles</vt:lpstr>
      <vt:lpstr>2_blank</vt:lpstr>
      <vt:lpstr>2_Office Theme</vt:lpstr>
      <vt:lpstr>OFR_template_external</vt:lpstr>
      <vt:lpstr>Diapositive think-cell</vt:lpstr>
      <vt:lpstr>Présentation PowerPoint</vt:lpstr>
      <vt:lpstr>Présentation PowerPoint</vt:lpstr>
      <vt:lpstr>Tarifs </vt:lpstr>
      <vt:lpstr>Présentation PowerPoint</vt:lpstr>
      <vt:lpstr>Présentation PowerPoint</vt:lpstr>
      <vt:lpstr>Présentation PowerPoint</vt:lpstr>
      <vt:lpstr>Vinci Autoroutes</vt:lpstr>
      <vt:lpstr>Les caractéristiques d’un réseau LoRa®</vt:lpstr>
    </vt:vector>
  </TitlesOfParts>
  <Company>ORANGE FT Grou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REGINENSI Nadine DEF/DMVE</dc:creator>
  <cp:lastModifiedBy>RICHET Francois IMT/PSI</cp:lastModifiedBy>
  <cp:revision>428</cp:revision>
  <cp:lastPrinted>2018-02-27T10:46:06Z</cp:lastPrinted>
  <dcterms:created xsi:type="dcterms:W3CDTF">2016-04-11T09:14:09Z</dcterms:created>
  <dcterms:modified xsi:type="dcterms:W3CDTF">2019-02-19T11:31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3689F6A969AB449B11794B473A2EDAB</vt:lpwstr>
  </property>
  <property fmtid="{D5CDD505-2E9C-101B-9397-08002B2CF9AE}" pid="3" name="_AdHocReviewCycleID">
    <vt:i4>1732084478</vt:i4>
  </property>
  <property fmtid="{D5CDD505-2E9C-101B-9397-08002B2CF9AE}" pid="4" name="_NewReviewCycle">
    <vt:lpwstr/>
  </property>
  <property fmtid="{D5CDD505-2E9C-101B-9397-08002B2CF9AE}" pid="5" name="_EmailSubject">
    <vt:lpwstr>(LoRa) : NanoGW</vt:lpwstr>
  </property>
  <property fmtid="{D5CDD505-2E9C-101B-9397-08002B2CF9AE}" pid="6" name="_AuthorEmail">
    <vt:lpwstr>gilles.guedj@orange.com</vt:lpwstr>
  </property>
  <property fmtid="{D5CDD505-2E9C-101B-9397-08002B2CF9AE}" pid="7" name="_AuthorEmailDisplayName">
    <vt:lpwstr>GUEDJ Gilles OF/BU MOBILE</vt:lpwstr>
  </property>
  <property fmtid="{D5CDD505-2E9C-101B-9397-08002B2CF9AE}" pid="8" name="_PreviousAdHocReviewCycleID">
    <vt:i4>-496573984</vt:i4>
  </property>
</Properties>
</file>